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68.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8.xml" ContentType="application/vnd.openxmlformats-officedocument.them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0.xml" ContentType="application/vnd.openxmlformats-officedocument.them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1.xml" ContentType="application/vnd.openxmlformats-officedocument.them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heme/theme12.xml" ContentType="application/vnd.openxmlformats-officedocument.theme+xml"/>
  <Override PartName="/ppt/tags/tag5.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734" r:id="rId5"/>
    <p:sldMasterId id="2147483855" r:id="rId6"/>
    <p:sldMasterId id="2147483796" r:id="rId7"/>
    <p:sldMasterId id="2147484207" r:id="rId8"/>
    <p:sldMasterId id="2147484225" r:id="rId9"/>
    <p:sldMasterId id="2147484227" r:id="rId10"/>
    <p:sldMasterId id="2147484249" r:id="rId11"/>
    <p:sldMasterId id="2147483847" r:id="rId12"/>
    <p:sldMasterId id="2147484573" r:id="rId13"/>
    <p:sldMasterId id="2147483981" r:id="rId14"/>
  </p:sldMasterIdLst>
  <p:notesMasterIdLst>
    <p:notesMasterId r:id="rId52"/>
  </p:notesMasterIdLst>
  <p:sldIdLst>
    <p:sldId id="9329" r:id="rId15"/>
    <p:sldId id="2118499815" r:id="rId16"/>
    <p:sldId id="723" r:id="rId17"/>
    <p:sldId id="2118499816" r:id="rId18"/>
    <p:sldId id="2118499831" r:id="rId19"/>
    <p:sldId id="9335" r:id="rId20"/>
    <p:sldId id="2147470428" r:id="rId21"/>
    <p:sldId id="2147483150" r:id="rId22"/>
    <p:sldId id="2147483151" r:id="rId23"/>
    <p:sldId id="2147474166" r:id="rId24"/>
    <p:sldId id="2147483149" r:id="rId25"/>
    <p:sldId id="2147474167" r:id="rId26"/>
    <p:sldId id="2147483137" r:id="rId27"/>
    <p:sldId id="2147483138" r:id="rId28"/>
    <p:sldId id="2147483139" r:id="rId29"/>
    <p:sldId id="2147483140" r:id="rId30"/>
    <p:sldId id="2147483141" r:id="rId31"/>
    <p:sldId id="2147483142" r:id="rId32"/>
    <p:sldId id="2147483143" r:id="rId33"/>
    <p:sldId id="2147483144" r:id="rId34"/>
    <p:sldId id="2147483145" r:id="rId35"/>
    <p:sldId id="2147483146" r:id="rId36"/>
    <p:sldId id="2147483147" r:id="rId37"/>
    <p:sldId id="2147483152" r:id="rId38"/>
    <p:sldId id="2147483153" r:id="rId39"/>
    <p:sldId id="2147483154" r:id="rId40"/>
    <p:sldId id="2147483155" r:id="rId41"/>
    <p:sldId id="2147483136" r:id="rId42"/>
    <p:sldId id="2147483156" r:id="rId43"/>
    <p:sldId id="2147474169" r:id="rId44"/>
    <p:sldId id="2147483135" r:id="rId45"/>
    <p:sldId id="2118499836" r:id="rId46"/>
    <p:sldId id="2147474170" r:id="rId47"/>
    <p:sldId id="2147483095" r:id="rId48"/>
    <p:sldId id="2147483100" r:id="rId49"/>
    <p:sldId id="2147483101" r:id="rId50"/>
    <p:sldId id="2147483102"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A273E403-3507-10D9-7E15-A5B3B12C6DDE}" name="Bonachela Guhmann Pablo" initials="BP" userId="S::pablo.bonachelaguhmann_elia.be#ext#@entsoe00.onmicrosoft.com::2bce5da9-66cd-435d-a319-91633bb7fe70" providerId="AD"/>
  <p188:author id="{EF23822B-956E-8843-C5D7-3B2E2F9B76E4}" name="Sneha Manohara" initials="SM" userId="S::smanohara@entsoe.eu::d2dd72d3-cfe1-4938-aa62-b4243e42299d" providerId="AD"/>
  <p188:author id="{E596C32B-3F84-9BEC-6458-5F1E891F66A5}" name="Henrik Hillner" initials="HH" userId="S::hhillner1@entsoe.eu::ef7aec4e-ce79-4771-86a8-daa366fa95ed" providerId="AD"/>
  <p188:author id="{815D7848-EA4B-F579-EAB1-473F6B01F193}" name="Vesela Stefanova" initials="VS" userId="S::vstefanova@entsoe.eu::91477d81-4fa1-451f-848a-59e4a0e0defe" providerId="AD"/>
  <p188:author id="{0ECE8DB2-6AD9-C972-702F-4FBE821ABC79}" name="Lazaros Exizidis" initials="LE" userId="S::lexizidis@entsoe.eu::93c52743-18e6-4fc5-98f7-a14714090822" providerId="AD"/>
  <p188:author id="{574E2EBD-2B21-BF1D-197F-2C79EF829BA4}" name="Habir Paré Nsangou" initials="HN" userId="S::habir.pare_coreso.eu#ext#@entsoe00.onmicrosoft.com::0404f6c9-493e-4a28-8ac7-96c8e1d1b44c" providerId="AD"/>
  <p188:author id="{FC78BDED-F062-441D-7EB2-DD548B519FB0}" name="Encabo Caceres, Ines" initials="IE" userId="S::ines.encabo@ree.es::28dadf34-e4fc-41dc-b0c6-e55df01a68d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uen Yee Shan Cherry" initials="YYSC" lastIdx="9" clrIdx="0">
    <p:extLst>
      <p:ext uri="{19B8F6BF-5375-455C-9EA6-DF929625EA0E}">
        <p15:presenceInfo xmlns:p15="http://schemas.microsoft.com/office/powerpoint/2012/main" userId="S::Cherry.Yuen@swissgrid.ch::27b3b394-9fa9-462a-ab69-c793d67162d2" providerId="AD"/>
      </p:ext>
    </p:extLst>
  </p:cmAuthor>
  <p:cmAuthor id="2" name="Bosch, Marius" initials="BM" lastIdx="2" clrIdx="1">
    <p:extLst>
      <p:ext uri="{19B8F6BF-5375-455C-9EA6-DF929625EA0E}">
        <p15:presenceInfo xmlns:p15="http://schemas.microsoft.com/office/powerpoint/2012/main" userId="S::Marius.Bosch@umlaut.com::fc66ad8e-5bcc-4444-8fe1-e8dabc77b3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0A17E8-8A02-4757-20B5-480CFE2E1237}" v="49" dt="2026-02-24T12:49:27.554"/>
    <p1510:client id="{448DC49F-0A38-255A-A65F-2654BB4FD304}" v="2" dt="2026-02-24T14:39:27.545"/>
    <p1510:client id="{4F01C963-44D2-139D-38A7-CF067E2BDC0F}" v="2" dt="2026-02-23T14:26:24.666"/>
    <p1510:client id="{57B168F6-0546-41F2-82B9-94BB6C11D9F3}" v="10" dt="2026-02-24T12:48:31.458"/>
    <p1510:client id="{AA7569D4-DE4E-209F-C097-1BD192244B57}" v="6" dt="2026-02-23T11:13:07.139"/>
    <p1510:client id="{BECB2D6C-E0A3-0694-0787-CB53CC90842E}" v="23" dt="2026-02-24T15:00:07.888"/>
    <p1510:client id="{CA42C3DA-A994-F3AE-CB5A-D999DC7870B4}" v="64" dt="2026-02-23T10:10:23.281"/>
    <p1510:client id="{EE01AD24-4BA7-0E36-3478-7F663CB563FB}" v="2" dt="2026-02-23T09:55:23.7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2" d="100"/>
          <a:sy n="72" d="100"/>
        </p:scale>
        <p:origin x="43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microsoft.com/office/2018/10/relationships/authors" Target="author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8.xml.rels><?xml version="1.0" encoding="UTF-8" standalone="yes"?>
<Relationships xmlns="http://schemas.openxmlformats.org/package/2006/relationships"><Relationship Id="rId1" Type="http://schemas.openxmlformats.org/officeDocument/2006/relationships/hyperlink" Target="https://eepublicdownloads.blob.core.windows.net/public-cdn-container/clean-documents/Reports/2025/252711_WVP_2025_Biennial_report_on_Probabilistic_Risk_Assessment_final.pdf" TargetMode="External"/></Relationships>
</file>

<file path=ppt/diagrams/_rels/drawing8.xml.rels><?xml version="1.0" encoding="UTF-8" standalone="yes"?>
<Relationships xmlns="http://schemas.openxmlformats.org/package/2006/relationships"><Relationship Id="rId1" Type="http://schemas.openxmlformats.org/officeDocument/2006/relationships/hyperlink" Target="https://eepublicdownloads.blob.core.windows.net/public-cdn-container/clean-documents/Reports/2025/252711_WVP_2025_Biennial_report_on_Probabilistic_Risk_Assessment_final.pdf" TargetMode="Externa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8C1767B-8B0C-4990-A844-BADEB0081E3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48A7757-1614-45C4-B449-1D508C64EBE4}">
      <dgm:prSet phldrT="[Text]" custT="1"/>
      <dgm:spPr/>
      <dgm:t>
        <a:bodyPr/>
        <a:lstStyle/>
        <a:p>
          <a:endParaRPr lang="en-US" sz="2100">
            <a:latin typeface="Trebuchet MS" panose="020B0603020202020204" pitchFamily="34" charset="0"/>
            <a:cs typeface="Arial" panose="020B0604020202020204" pitchFamily="34" charset="0"/>
          </a:endParaRPr>
        </a:p>
      </dgm:t>
    </dgm:pt>
    <dgm:pt modelId="{69F21E63-6EF0-4D5A-A099-9C47C2874F99}" type="parTrans" cxnId="{7A0AEDFE-14B2-4B3A-BD90-9ED3ED537752}">
      <dgm:prSet/>
      <dgm:spPr/>
      <dgm:t>
        <a:bodyPr/>
        <a:lstStyle/>
        <a:p>
          <a:endParaRPr lang="en-US" sz="2100">
            <a:latin typeface="Trebuchet MS" panose="020B0603020202020204" pitchFamily="34" charset="0"/>
            <a:cs typeface="Arial" panose="020B0604020202020204" pitchFamily="34" charset="0"/>
          </a:endParaRPr>
        </a:p>
      </dgm:t>
    </dgm:pt>
    <dgm:pt modelId="{C3F4F952-8A94-4405-99E3-9073714FC5B5}" type="sibTrans" cxnId="{7A0AEDFE-14B2-4B3A-BD90-9ED3ED537752}">
      <dgm:prSet/>
      <dgm:spPr/>
      <dgm:t>
        <a:bodyPr/>
        <a:lstStyle/>
        <a:p>
          <a:endParaRPr lang="en-US" sz="2100">
            <a:latin typeface="Trebuchet MS" panose="020B0603020202020204" pitchFamily="34" charset="0"/>
            <a:cs typeface="Arial" panose="020B0604020202020204" pitchFamily="34" charset="0"/>
          </a:endParaRPr>
        </a:p>
      </dgm:t>
    </dgm:pt>
    <dgm:pt modelId="{BB37B9CD-D4E8-4164-ADF9-4A6B12E63FA5}">
      <dgm:prSet phldrT="[Text]" custT="1"/>
      <dgm:spPr/>
      <dgm:t>
        <a:bodyPr/>
        <a:lstStyle/>
        <a:p>
          <a:pPr rtl="0">
            <a:buNone/>
          </a:pPr>
          <a:r>
            <a:rPr lang="en-US" sz="2100" kern="1200">
              <a:solidFill>
                <a:schemeClr val="tx1"/>
              </a:solidFill>
              <a:latin typeface="Trebuchet MS"/>
              <a:ea typeface="+mn-ea"/>
              <a:cs typeface="+mn-cs"/>
            </a:rPr>
            <a:t>PRA Biennial report 2025 published in December - </a:t>
          </a:r>
          <a:r>
            <a:rPr lang="en-US" sz="2100" kern="1200">
              <a:solidFill>
                <a:schemeClr val="tx1"/>
              </a:solidFill>
              <a:latin typeface="Trebuchet MS"/>
              <a:ea typeface="+mn-ea"/>
              <a:cs typeface="+mn-cs"/>
              <a:hlinkClick xmlns:r="http://schemas.openxmlformats.org/officeDocument/2006/relationships" r:id="rId1"/>
            </a:rPr>
            <a:t>link</a:t>
          </a:r>
          <a:endParaRPr lang="en-US" sz="2100" kern="1200">
            <a:solidFill>
              <a:srgbClr val="FFFFFF">
                <a:lumMod val="65000"/>
              </a:srgbClr>
            </a:solidFill>
            <a:latin typeface="Trebuchet MS"/>
            <a:ea typeface="+mn-ea"/>
            <a:cs typeface="+mn-cs"/>
            <a:hlinkClick xmlns:r="http://schemas.openxmlformats.org/officeDocument/2006/relationships" r:id="rId1"/>
          </a:endParaRPr>
        </a:p>
      </dgm:t>
    </dgm:pt>
    <dgm:pt modelId="{32FBE2EB-4B0D-48FE-BCEB-C00EE1347E96}" type="parTrans" cxnId="{74EC1D57-48AF-4824-A902-A271E7A9E36F}">
      <dgm:prSet/>
      <dgm:spPr/>
      <dgm:t>
        <a:bodyPr/>
        <a:lstStyle/>
        <a:p>
          <a:endParaRPr lang="en-US" sz="2100">
            <a:latin typeface="Trebuchet MS" panose="020B0603020202020204" pitchFamily="34" charset="0"/>
            <a:cs typeface="Arial" panose="020B0604020202020204" pitchFamily="34" charset="0"/>
          </a:endParaRPr>
        </a:p>
      </dgm:t>
    </dgm:pt>
    <dgm:pt modelId="{A9897B4F-8028-45B9-9972-A8B0DD4347B8}" type="sibTrans" cxnId="{74EC1D57-48AF-4824-A902-A271E7A9E36F}">
      <dgm:prSet/>
      <dgm:spPr/>
      <dgm:t>
        <a:bodyPr/>
        <a:lstStyle/>
        <a:p>
          <a:endParaRPr lang="en-US" sz="2100">
            <a:latin typeface="Trebuchet MS" panose="020B0603020202020204" pitchFamily="34" charset="0"/>
            <a:cs typeface="Arial" panose="020B0604020202020204" pitchFamily="34" charset="0"/>
          </a:endParaRPr>
        </a:p>
      </dgm:t>
    </dgm:pt>
    <dgm:pt modelId="{582E7A10-E1DF-42B1-A8E2-EEE67299CDAF}">
      <dgm:prSet phldrT="[Text]" custT="1"/>
      <dgm:spPr/>
      <dgm:t>
        <a:bodyPr/>
        <a:lstStyle/>
        <a:p>
          <a:pPr>
            <a:buNone/>
          </a:pPr>
          <a:br>
            <a:rPr lang="en-US" sz="2500" kern="1200">
              <a:solidFill>
                <a:schemeClr val="tx1"/>
              </a:solidFill>
              <a:latin typeface="Trebuchet MS"/>
              <a:ea typeface="+mn-ea"/>
              <a:cs typeface="+mn-cs"/>
            </a:rPr>
          </a:br>
          <a:endParaRPr lang="en-US" sz="2500" kern="1200">
            <a:solidFill>
              <a:schemeClr val="tx1"/>
            </a:solidFill>
            <a:latin typeface="Trebuchet MS"/>
            <a:ea typeface="+mn-ea"/>
            <a:cs typeface="+mn-cs"/>
          </a:endParaRPr>
        </a:p>
      </dgm:t>
    </dgm:pt>
    <dgm:pt modelId="{F3A8B096-5D09-425A-B35F-DE0EF18651D9}" type="parTrans" cxnId="{81B83D78-A58F-4C47-9B33-750E86AA2B14}">
      <dgm:prSet/>
      <dgm:spPr/>
      <dgm:t>
        <a:bodyPr/>
        <a:lstStyle/>
        <a:p>
          <a:endParaRPr lang="en-GB"/>
        </a:p>
      </dgm:t>
    </dgm:pt>
    <dgm:pt modelId="{54FF7B56-D6BF-4780-A6F5-FDC9A7A1A2EF}" type="sibTrans" cxnId="{81B83D78-A58F-4C47-9B33-750E86AA2B14}">
      <dgm:prSet/>
      <dgm:spPr/>
      <dgm:t>
        <a:bodyPr/>
        <a:lstStyle/>
        <a:p>
          <a:endParaRPr lang="en-GB"/>
        </a:p>
      </dgm:t>
    </dgm:pt>
    <dgm:pt modelId="{01AEB73C-D5C4-4ACA-A396-72DE29A5854F}" type="pres">
      <dgm:prSet presAssocID="{18C1767B-8B0C-4990-A844-BADEB0081E39}" presName="vert0" presStyleCnt="0">
        <dgm:presLayoutVars>
          <dgm:dir/>
          <dgm:animOne val="branch"/>
          <dgm:animLvl val="lvl"/>
        </dgm:presLayoutVars>
      </dgm:prSet>
      <dgm:spPr/>
    </dgm:pt>
    <dgm:pt modelId="{BB5721E1-0413-46CA-8047-12F87E8FE2E5}" type="pres">
      <dgm:prSet presAssocID="{A48A7757-1614-45C4-B449-1D508C64EBE4}" presName="thickLine" presStyleLbl="alignNode1" presStyleIdx="0" presStyleCnt="2"/>
      <dgm:spPr/>
    </dgm:pt>
    <dgm:pt modelId="{2C6286D7-AD99-48D6-AC85-7602E9E3E4AD}" type="pres">
      <dgm:prSet presAssocID="{A48A7757-1614-45C4-B449-1D508C64EBE4}" presName="horz1" presStyleCnt="0"/>
      <dgm:spPr/>
    </dgm:pt>
    <dgm:pt modelId="{13ACDE90-999D-4AD3-BB15-789BF18E9A52}" type="pres">
      <dgm:prSet presAssocID="{A48A7757-1614-45C4-B449-1D508C64EBE4}" presName="tx1" presStyleLbl="revTx" presStyleIdx="0" presStyleCnt="3"/>
      <dgm:spPr/>
    </dgm:pt>
    <dgm:pt modelId="{9EF9D648-805F-4301-8ED1-7ECFDD2478B5}" type="pres">
      <dgm:prSet presAssocID="{A48A7757-1614-45C4-B449-1D508C64EBE4}" presName="vert1" presStyleCnt="0"/>
      <dgm:spPr/>
    </dgm:pt>
    <dgm:pt modelId="{0B395275-5FE9-4535-BAC6-99D83818ECF9}" type="pres">
      <dgm:prSet presAssocID="{BB37B9CD-D4E8-4164-ADF9-4A6B12E63FA5}" presName="vertSpace2a" presStyleCnt="0"/>
      <dgm:spPr/>
    </dgm:pt>
    <dgm:pt modelId="{831877E8-7472-4E6E-A606-A7542F36DC79}" type="pres">
      <dgm:prSet presAssocID="{BB37B9CD-D4E8-4164-ADF9-4A6B12E63FA5}" presName="horz2" presStyleCnt="0"/>
      <dgm:spPr/>
    </dgm:pt>
    <dgm:pt modelId="{5BB04596-C576-4E26-83C6-D3AB424B0629}" type="pres">
      <dgm:prSet presAssocID="{BB37B9CD-D4E8-4164-ADF9-4A6B12E63FA5}" presName="horzSpace2" presStyleCnt="0"/>
      <dgm:spPr/>
    </dgm:pt>
    <dgm:pt modelId="{6C012BBA-B3B7-4D55-A460-4823E7CE3FA6}" type="pres">
      <dgm:prSet presAssocID="{BB37B9CD-D4E8-4164-ADF9-4A6B12E63FA5}" presName="tx2" presStyleLbl="revTx" presStyleIdx="1" presStyleCnt="3" custLinFactNeighborY="2563"/>
      <dgm:spPr/>
    </dgm:pt>
    <dgm:pt modelId="{54FEF236-9A42-40DC-A997-45FFACE1290F}" type="pres">
      <dgm:prSet presAssocID="{BB37B9CD-D4E8-4164-ADF9-4A6B12E63FA5}" presName="vert2" presStyleCnt="0"/>
      <dgm:spPr/>
    </dgm:pt>
    <dgm:pt modelId="{5649E1A3-4F9A-42D6-844E-C192C1782A11}" type="pres">
      <dgm:prSet presAssocID="{BB37B9CD-D4E8-4164-ADF9-4A6B12E63FA5}" presName="thinLine2b" presStyleLbl="callout" presStyleIdx="0" presStyleCnt="1" custLinFactY="180407" custLinFactNeighborX="-288" custLinFactNeighborY="200000"/>
      <dgm:spPr/>
    </dgm:pt>
    <dgm:pt modelId="{7CD3D85D-92A4-40DE-9A64-C2CE393E1577}" type="pres">
      <dgm:prSet presAssocID="{BB37B9CD-D4E8-4164-ADF9-4A6B12E63FA5}" presName="vertSpace2b" presStyleCnt="0"/>
      <dgm:spPr/>
    </dgm:pt>
    <dgm:pt modelId="{E33437B4-C038-441E-8049-71D5C0BAD35D}" type="pres">
      <dgm:prSet presAssocID="{582E7A10-E1DF-42B1-A8E2-EEE67299CDAF}" presName="thickLine" presStyleLbl="alignNode1" presStyleIdx="1" presStyleCnt="2"/>
      <dgm:spPr/>
    </dgm:pt>
    <dgm:pt modelId="{E8B43378-0E8C-44CE-9F5C-42CA0E0FFB8C}" type="pres">
      <dgm:prSet presAssocID="{582E7A10-E1DF-42B1-A8E2-EEE67299CDAF}" presName="horz1" presStyleCnt="0"/>
      <dgm:spPr/>
    </dgm:pt>
    <dgm:pt modelId="{A24EE796-8E31-4029-BB07-1707E4EAD426}" type="pres">
      <dgm:prSet presAssocID="{582E7A10-E1DF-42B1-A8E2-EEE67299CDAF}" presName="tx1" presStyleLbl="revTx" presStyleIdx="2" presStyleCnt="3"/>
      <dgm:spPr/>
    </dgm:pt>
    <dgm:pt modelId="{62DAA91A-09CD-4AB0-B13D-4D771BE269C7}" type="pres">
      <dgm:prSet presAssocID="{582E7A10-E1DF-42B1-A8E2-EEE67299CDAF}" presName="vert1" presStyleCnt="0"/>
      <dgm:spPr/>
    </dgm:pt>
  </dgm:ptLst>
  <dgm:cxnLst>
    <dgm:cxn modelId="{8A107A3C-F8D7-4C99-B8A0-53C2CC3BFF44}" type="presOf" srcId="{582E7A10-E1DF-42B1-A8E2-EEE67299CDAF}" destId="{A24EE796-8E31-4029-BB07-1707E4EAD426}" srcOrd="0" destOrd="0" presId="urn:microsoft.com/office/officeart/2008/layout/LinedList"/>
    <dgm:cxn modelId="{74EC1D57-48AF-4824-A902-A271E7A9E36F}" srcId="{A48A7757-1614-45C4-B449-1D508C64EBE4}" destId="{BB37B9CD-D4E8-4164-ADF9-4A6B12E63FA5}" srcOrd="0" destOrd="0" parTransId="{32FBE2EB-4B0D-48FE-BCEB-C00EE1347E96}" sibTransId="{A9897B4F-8028-45B9-9972-A8B0DD4347B8}"/>
    <dgm:cxn modelId="{81B83D78-A58F-4C47-9B33-750E86AA2B14}" srcId="{18C1767B-8B0C-4990-A844-BADEB0081E39}" destId="{582E7A10-E1DF-42B1-A8E2-EEE67299CDAF}" srcOrd="1" destOrd="0" parTransId="{F3A8B096-5D09-425A-B35F-DE0EF18651D9}" sibTransId="{54FF7B56-D6BF-4780-A6F5-FDC9A7A1A2EF}"/>
    <dgm:cxn modelId="{01BD61AC-CDD9-4AAD-90A5-FC28B9220271}" type="presOf" srcId="{A48A7757-1614-45C4-B449-1D508C64EBE4}" destId="{13ACDE90-999D-4AD3-BB15-789BF18E9A52}" srcOrd="0" destOrd="0" presId="urn:microsoft.com/office/officeart/2008/layout/LinedList"/>
    <dgm:cxn modelId="{D2408DC3-22D2-496E-A075-3E37150318F9}" type="presOf" srcId="{18C1767B-8B0C-4990-A844-BADEB0081E39}" destId="{01AEB73C-D5C4-4ACA-A396-72DE29A5854F}" srcOrd="0" destOrd="0" presId="urn:microsoft.com/office/officeart/2008/layout/LinedList"/>
    <dgm:cxn modelId="{7E9FBDF5-5CA5-4E44-8F94-120909B42B9F}" type="presOf" srcId="{BB37B9CD-D4E8-4164-ADF9-4A6B12E63FA5}" destId="{6C012BBA-B3B7-4D55-A460-4823E7CE3FA6}" srcOrd="0" destOrd="0" presId="urn:microsoft.com/office/officeart/2008/layout/LinedList"/>
    <dgm:cxn modelId="{7A0AEDFE-14B2-4B3A-BD90-9ED3ED537752}" srcId="{18C1767B-8B0C-4990-A844-BADEB0081E39}" destId="{A48A7757-1614-45C4-B449-1D508C64EBE4}" srcOrd="0" destOrd="0" parTransId="{69F21E63-6EF0-4D5A-A099-9C47C2874F99}" sibTransId="{C3F4F952-8A94-4405-99E3-9073714FC5B5}"/>
    <dgm:cxn modelId="{7428E12C-BA74-4488-8838-C44958EEA46C}" type="presParOf" srcId="{01AEB73C-D5C4-4ACA-A396-72DE29A5854F}" destId="{BB5721E1-0413-46CA-8047-12F87E8FE2E5}" srcOrd="0" destOrd="0" presId="urn:microsoft.com/office/officeart/2008/layout/LinedList"/>
    <dgm:cxn modelId="{BC4257BD-50D0-4BF3-A50D-B4EFA4A89AB1}" type="presParOf" srcId="{01AEB73C-D5C4-4ACA-A396-72DE29A5854F}" destId="{2C6286D7-AD99-48D6-AC85-7602E9E3E4AD}" srcOrd="1" destOrd="0" presId="urn:microsoft.com/office/officeart/2008/layout/LinedList"/>
    <dgm:cxn modelId="{FE1C05F5-CC8A-475F-AE69-8CB5C111A128}" type="presParOf" srcId="{2C6286D7-AD99-48D6-AC85-7602E9E3E4AD}" destId="{13ACDE90-999D-4AD3-BB15-789BF18E9A52}" srcOrd="0" destOrd="0" presId="urn:microsoft.com/office/officeart/2008/layout/LinedList"/>
    <dgm:cxn modelId="{37A79454-257E-4F41-B01F-32FE40776F99}" type="presParOf" srcId="{2C6286D7-AD99-48D6-AC85-7602E9E3E4AD}" destId="{9EF9D648-805F-4301-8ED1-7ECFDD2478B5}" srcOrd="1" destOrd="0" presId="urn:microsoft.com/office/officeart/2008/layout/LinedList"/>
    <dgm:cxn modelId="{732CD56B-9B5D-4113-866E-C4F1D30A10C0}" type="presParOf" srcId="{9EF9D648-805F-4301-8ED1-7ECFDD2478B5}" destId="{0B395275-5FE9-4535-BAC6-99D83818ECF9}" srcOrd="0" destOrd="0" presId="urn:microsoft.com/office/officeart/2008/layout/LinedList"/>
    <dgm:cxn modelId="{42E6DE3E-098F-4DF4-B1DA-0F7473F4FC94}" type="presParOf" srcId="{9EF9D648-805F-4301-8ED1-7ECFDD2478B5}" destId="{831877E8-7472-4E6E-A606-A7542F36DC79}" srcOrd="1" destOrd="0" presId="urn:microsoft.com/office/officeart/2008/layout/LinedList"/>
    <dgm:cxn modelId="{4A52B440-282C-41A7-8044-78893BB9503B}" type="presParOf" srcId="{831877E8-7472-4E6E-A606-A7542F36DC79}" destId="{5BB04596-C576-4E26-83C6-D3AB424B0629}" srcOrd="0" destOrd="0" presId="urn:microsoft.com/office/officeart/2008/layout/LinedList"/>
    <dgm:cxn modelId="{88972190-9450-45EF-B5E6-CCB52D296389}" type="presParOf" srcId="{831877E8-7472-4E6E-A606-A7542F36DC79}" destId="{6C012BBA-B3B7-4D55-A460-4823E7CE3FA6}" srcOrd="1" destOrd="0" presId="urn:microsoft.com/office/officeart/2008/layout/LinedList"/>
    <dgm:cxn modelId="{196A040D-5196-4374-A90A-7BFF4649FACD}" type="presParOf" srcId="{831877E8-7472-4E6E-A606-A7542F36DC79}" destId="{54FEF236-9A42-40DC-A997-45FFACE1290F}" srcOrd="2" destOrd="0" presId="urn:microsoft.com/office/officeart/2008/layout/LinedList"/>
    <dgm:cxn modelId="{AC7D0CAD-772F-4FCE-B738-3788BA564809}" type="presParOf" srcId="{9EF9D648-805F-4301-8ED1-7ECFDD2478B5}" destId="{5649E1A3-4F9A-42D6-844E-C192C1782A11}" srcOrd="2" destOrd="0" presId="urn:microsoft.com/office/officeart/2008/layout/LinedList"/>
    <dgm:cxn modelId="{495EA4D2-5543-4258-9067-2933737006BB}" type="presParOf" srcId="{9EF9D648-805F-4301-8ED1-7ECFDD2478B5}" destId="{7CD3D85D-92A4-40DE-9A64-C2CE393E1577}" srcOrd="3" destOrd="0" presId="urn:microsoft.com/office/officeart/2008/layout/LinedList"/>
    <dgm:cxn modelId="{F7DCEC05-A69B-42D4-B941-33784737C922}" type="presParOf" srcId="{01AEB73C-D5C4-4ACA-A396-72DE29A5854F}" destId="{E33437B4-C038-441E-8049-71D5C0BAD35D}" srcOrd="2" destOrd="0" presId="urn:microsoft.com/office/officeart/2008/layout/LinedList"/>
    <dgm:cxn modelId="{209691CB-F43F-472F-BEC7-496B71D03B70}" type="presParOf" srcId="{01AEB73C-D5C4-4ACA-A396-72DE29A5854F}" destId="{E8B43378-0E8C-44CE-9F5C-42CA0E0FFB8C}" srcOrd="3" destOrd="0" presId="urn:microsoft.com/office/officeart/2008/layout/LinedList"/>
    <dgm:cxn modelId="{8F4B344E-FBCB-4113-8909-221C720377A3}" type="presParOf" srcId="{E8B43378-0E8C-44CE-9F5C-42CA0E0FFB8C}" destId="{A24EE796-8E31-4029-BB07-1707E4EAD426}" srcOrd="0" destOrd="0" presId="urn:microsoft.com/office/officeart/2008/layout/LinedList"/>
    <dgm:cxn modelId="{6531775B-2B25-401E-B8C2-2E561C75690F}" type="presParOf" srcId="{E8B43378-0E8C-44CE-9F5C-42CA0E0FFB8C}" destId="{62DAA91A-09CD-4AB0-B13D-4D771BE269C7}"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1AC2BFE-F947-49EB-8F05-468DFEF5D34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515E5F1-0939-4F02-89EC-32BD383184AF}">
      <dgm:prSet phldrT="[Text]" custT="1"/>
      <dgm:spPr/>
      <dgm:t>
        <a:bodyPr/>
        <a:lstStyle/>
        <a:p>
          <a:r>
            <a:rPr lang="en-GB" sz="2400">
              <a:latin typeface="Calibri"/>
              <a:ea typeface="Calibri"/>
              <a:cs typeface="Calibri"/>
            </a:rPr>
            <a:t>Additions being worked at</a:t>
          </a:r>
        </a:p>
      </dgm:t>
    </dgm:pt>
    <dgm:pt modelId="{5347B349-7703-4CE7-AADF-1DC2A837F791}" type="parTrans" cxnId="{DE5357AD-5C55-4F91-B08F-678116808C4C}">
      <dgm:prSet/>
      <dgm:spPr/>
      <dgm:t>
        <a:bodyPr/>
        <a:lstStyle/>
        <a:p>
          <a:endParaRPr lang="en-US"/>
        </a:p>
      </dgm:t>
    </dgm:pt>
    <dgm:pt modelId="{75F17882-FF30-48F7-A204-24F850FF519C}" type="sibTrans" cxnId="{DE5357AD-5C55-4F91-B08F-678116808C4C}">
      <dgm:prSet/>
      <dgm:spPr/>
      <dgm:t>
        <a:bodyPr/>
        <a:lstStyle/>
        <a:p>
          <a:endParaRPr lang="en-US"/>
        </a:p>
      </dgm:t>
    </dgm:pt>
    <dgm:pt modelId="{6DEDB285-DAC5-481F-AE42-F4A09FEE7DD0}">
      <dgm:prSet phldrT="[Text]" custT="1"/>
      <dgm:spPr/>
      <dgm:t>
        <a:bodyPr/>
        <a:lstStyle/>
        <a:p>
          <a:r>
            <a:rPr lang="en-GB" sz="2400">
              <a:latin typeface="Calibri"/>
              <a:ea typeface="Calibri"/>
              <a:cs typeface="Calibri"/>
            </a:rPr>
            <a:t>Oscillations</a:t>
          </a:r>
        </a:p>
      </dgm:t>
    </dgm:pt>
    <dgm:pt modelId="{3AE01508-54BE-48E3-8940-D249E1A75A96}" type="parTrans" cxnId="{0C079ABD-8A84-41DC-B884-EC39AF1B74D4}">
      <dgm:prSet/>
      <dgm:spPr/>
      <dgm:t>
        <a:bodyPr/>
        <a:lstStyle/>
        <a:p>
          <a:endParaRPr lang="en-US"/>
        </a:p>
      </dgm:t>
    </dgm:pt>
    <dgm:pt modelId="{CC55A5E3-2D80-40E4-93B7-00F0245075E0}" type="sibTrans" cxnId="{0C079ABD-8A84-41DC-B884-EC39AF1B74D4}">
      <dgm:prSet/>
      <dgm:spPr/>
      <dgm:t>
        <a:bodyPr/>
        <a:lstStyle/>
        <a:p>
          <a:endParaRPr lang="en-US"/>
        </a:p>
      </dgm:t>
    </dgm:pt>
    <dgm:pt modelId="{8884E0EB-E45C-4B20-BAB4-F57BA4FB5155}">
      <dgm:prSet phldrT="[Text]"/>
      <dgm:spPr/>
      <dgm:t>
        <a:bodyPr/>
        <a:lstStyle/>
        <a:p>
          <a:r>
            <a:rPr lang="en-GB">
              <a:latin typeface="Calibri"/>
              <a:ea typeface="Calibri"/>
              <a:cs typeface="Calibri"/>
            </a:rPr>
            <a:t>Improvements being worked on within the current methodology </a:t>
          </a:r>
        </a:p>
      </dgm:t>
    </dgm:pt>
    <dgm:pt modelId="{7A047458-AB8A-42FE-B9D0-CC77FFCBCBA9}" type="parTrans" cxnId="{87553D1E-C533-48BE-97F5-2583524ED1C3}">
      <dgm:prSet/>
      <dgm:spPr/>
      <dgm:t>
        <a:bodyPr/>
        <a:lstStyle/>
        <a:p>
          <a:endParaRPr lang="en-US"/>
        </a:p>
      </dgm:t>
    </dgm:pt>
    <dgm:pt modelId="{4ECF6322-3521-46F1-A22B-A75D04C28A72}" type="sibTrans" cxnId="{87553D1E-C533-48BE-97F5-2583524ED1C3}">
      <dgm:prSet/>
      <dgm:spPr/>
      <dgm:t>
        <a:bodyPr/>
        <a:lstStyle/>
        <a:p>
          <a:endParaRPr lang="en-US"/>
        </a:p>
      </dgm:t>
    </dgm:pt>
    <dgm:pt modelId="{BDF670AE-AB7A-4E05-A112-AD378475EC21}">
      <dgm:prSet phldrT="[Text]" custT="1"/>
      <dgm:spPr/>
      <dgm:t>
        <a:bodyPr/>
        <a:lstStyle/>
        <a:p>
          <a:r>
            <a:rPr lang="en-GB" sz="2400">
              <a:latin typeface="Calibri"/>
              <a:ea typeface="Calibri"/>
              <a:cs typeface="Calibri"/>
            </a:rPr>
            <a:t>Processes for recording ICS voltage violations</a:t>
          </a:r>
        </a:p>
      </dgm:t>
    </dgm:pt>
    <dgm:pt modelId="{75DC8CDB-F1AF-4928-B60A-F49628AD3A8D}" type="parTrans" cxnId="{6D873B8E-9FB1-42B4-B0BE-C27F70393860}">
      <dgm:prSet/>
      <dgm:spPr/>
      <dgm:t>
        <a:bodyPr/>
        <a:lstStyle/>
        <a:p>
          <a:endParaRPr lang="en-US"/>
        </a:p>
      </dgm:t>
    </dgm:pt>
    <dgm:pt modelId="{70D9E73C-E20C-470B-AFCA-1D031EB89A91}" type="sibTrans" cxnId="{6D873B8E-9FB1-42B4-B0BE-C27F70393860}">
      <dgm:prSet/>
      <dgm:spPr/>
      <dgm:t>
        <a:bodyPr/>
        <a:lstStyle/>
        <a:p>
          <a:endParaRPr lang="en-US"/>
        </a:p>
      </dgm:t>
    </dgm:pt>
    <dgm:pt modelId="{5EC667FE-45ED-46FE-BF42-137C59DBE046}">
      <dgm:prSet phldrT="[Text]" custT="1"/>
      <dgm:spPr/>
      <dgm:t>
        <a:bodyPr/>
        <a:lstStyle/>
        <a:p>
          <a:pPr rtl="0"/>
          <a:r>
            <a:rPr lang="en-GB" sz="2400">
              <a:latin typeface="Calibri"/>
            </a:rPr>
            <a:t>Assist Task Forces/SOGL </a:t>
          </a:r>
          <a:r>
            <a:rPr lang="en-GB" sz="2400">
              <a:latin typeface="Calibri"/>
              <a:ea typeface="Calibri"/>
              <a:cs typeface="Calibri"/>
            </a:rPr>
            <a:t>2.0</a:t>
          </a:r>
        </a:p>
      </dgm:t>
    </dgm:pt>
    <dgm:pt modelId="{2AC22B4B-586F-4132-B3B8-F5172672D3BD}" type="parTrans" cxnId="{946D099B-B2ED-4F8E-BFE0-D1C5CC34F1B9}">
      <dgm:prSet/>
      <dgm:spPr/>
      <dgm:t>
        <a:bodyPr/>
        <a:lstStyle/>
        <a:p>
          <a:endParaRPr lang="en-US"/>
        </a:p>
      </dgm:t>
    </dgm:pt>
    <dgm:pt modelId="{0CEBEF96-2144-4D2E-B6E9-A22CC9EA7005}" type="sibTrans" cxnId="{946D099B-B2ED-4F8E-BFE0-D1C5CC34F1B9}">
      <dgm:prSet/>
      <dgm:spPr/>
      <dgm:t>
        <a:bodyPr/>
        <a:lstStyle/>
        <a:p>
          <a:endParaRPr lang="en-US"/>
        </a:p>
      </dgm:t>
    </dgm:pt>
    <dgm:pt modelId="{C262E40F-95C3-4C22-B202-07FEA1CB2307}">
      <dgm:prSet phldrT="[Text]"/>
      <dgm:spPr/>
      <dgm:t>
        <a:bodyPr/>
        <a:lstStyle/>
        <a:p>
          <a:pPr rtl="0"/>
          <a:r>
            <a:rPr lang="en-GB" sz="1800">
              <a:latin typeface="Calibri"/>
              <a:ea typeface="Calibri"/>
              <a:cs typeface="Calibri"/>
            </a:rPr>
            <a:t>Consider establishing permanent monitoring of the implementation of recommendations from incident investigations</a:t>
          </a:r>
        </a:p>
      </dgm:t>
    </dgm:pt>
    <dgm:pt modelId="{6183309E-12AE-40CC-8167-5BFEC1F97BCB}" type="parTrans" cxnId="{4C7B8EF9-3756-4745-AEC0-595AE31C990C}">
      <dgm:prSet/>
      <dgm:spPr/>
      <dgm:t>
        <a:bodyPr/>
        <a:lstStyle/>
        <a:p>
          <a:endParaRPr lang="en-US"/>
        </a:p>
      </dgm:t>
    </dgm:pt>
    <dgm:pt modelId="{2981CA26-945E-4029-BA56-9DF178C03E2F}" type="sibTrans" cxnId="{4C7B8EF9-3756-4745-AEC0-595AE31C990C}">
      <dgm:prSet/>
      <dgm:spPr/>
      <dgm:t>
        <a:bodyPr/>
        <a:lstStyle/>
        <a:p>
          <a:endParaRPr lang="en-US"/>
        </a:p>
      </dgm:t>
    </dgm:pt>
    <dgm:pt modelId="{B203BF6C-EFEA-4399-A37F-0CAB2CB4DCE5}">
      <dgm:prSet phldr="0" custT="1"/>
      <dgm:spPr/>
      <dgm:t>
        <a:bodyPr/>
        <a:lstStyle/>
        <a:p>
          <a:pPr rtl="0"/>
          <a:r>
            <a:rPr lang="en-GB" sz="2400">
              <a:latin typeface="Calibri"/>
            </a:rPr>
            <a:t>Legally mandated requirements as they arise (recommendations)</a:t>
          </a:r>
        </a:p>
      </dgm:t>
    </dgm:pt>
    <dgm:pt modelId="{25903192-87C2-47B7-9807-1309C0809682}" type="parTrans" cxnId="{25A3D5ED-2D52-47B7-9A73-024F4A35F2F6}">
      <dgm:prSet/>
      <dgm:spPr/>
      <dgm:t>
        <a:bodyPr/>
        <a:lstStyle/>
        <a:p>
          <a:endParaRPr lang="en-US"/>
        </a:p>
      </dgm:t>
    </dgm:pt>
    <dgm:pt modelId="{1E3935C3-1CC6-4D21-A04D-FA9B9BDBFBFC}" type="sibTrans" cxnId="{25A3D5ED-2D52-47B7-9A73-024F4A35F2F6}">
      <dgm:prSet/>
      <dgm:spPr/>
      <dgm:t>
        <a:bodyPr/>
        <a:lstStyle/>
        <a:p>
          <a:endParaRPr lang="en-US"/>
        </a:p>
      </dgm:t>
    </dgm:pt>
    <dgm:pt modelId="{3F63DA93-CFEA-4A89-8D62-094C3818D0E9}">
      <dgm:prSet phldrT="[Text]"/>
      <dgm:spPr/>
      <dgm:t>
        <a:bodyPr/>
        <a:lstStyle/>
        <a:p>
          <a:pPr rtl="0"/>
          <a:r>
            <a:rPr lang="en-GB" sz="1800">
              <a:latin typeface="Calibri"/>
            </a:rPr>
            <a:t>Provision of real-time</a:t>
          </a:r>
          <a:r>
            <a:rPr lang="en-GB" sz="1800">
              <a:latin typeface="Calibri"/>
              <a:ea typeface="Calibri"/>
              <a:cs typeface="Calibri"/>
            </a:rPr>
            <a:t> snapshots</a:t>
          </a:r>
          <a:r>
            <a:rPr lang="en-GB" sz="1800">
              <a:latin typeface="Calibri"/>
            </a:rPr>
            <a:t> for incident investigations</a:t>
          </a:r>
          <a:endParaRPr lang="en-GB" sz="1800">
            <a:latin typeface="Calibri"/>
            <a:ea typeface="Calibri"/>
            <a:cs typeface="Calibri"/>
          </a:endParaRPr>
        </a:p>
      </dgm:t>
    </dgm:pt>
    <dgm:pt modelId="{589A3FA2-8E96-47AE-B3E2-7E1AA1CDCA87}" type="sibTrans" cxnId="{EBA373B7-3B86-464B-B567-EFC0EE86ED6F}">
      <dgm:prSet/>
      <dgm:spPr/>
      <dgm:t>
        <a:bodyPr/>
        <a:lstStyle/>
        <a:p>
          <a:endParaRPr lang="en-US"/>
        </a:p>
      </dgm:t>
    </dgm:pt>
    <dgm:pt modelId="{C52BB201-3FB3-4608-8CAA-D8BBCADCC36D}" type="parTrans" cxnId="{EBA373B7-3B86-464B-B567-EFC0EE86ED6F}">
      <dgm:prSet/>
      <dgm:spPr/>
      <dgm:t>
        <a:bodyPr/>
        <a:lstStyle/>
        <a:p>
          <a:endParaRPr lang="en-US"/>
        </a:p>
      </dgm:t>
    </dgm:pt>
    <dgm:pt modelId="{D352D168-2879-437F-9F4A-EFCE90499957}" type="pres">
      <dgm:prSet presAssocID="{A1AC2BFE-F947-49EB-8F05-468DFEF5D345}" presName="Name0" presStyleCnt="0">
        <dgm:presLayoutVars>
          <dgm:dir/>
          <dgm:animLvl val="lvl"/>
          <dgm:resizeHandles val="exact"/>
        </dgm:presLayoutVars>
      </dgm:prSet>
      <dgm:spPr/>
    </dgm:pt>
    <dgm:pt modelId="{996EB887-E785-4FF3-80EA-A507534DE13A}" type="pres">
      <dgm:prSet presAssocID="{A515E5F1-0939-4F02-89EC-32BD383184AF}" presName="composite" presStyleCnt="0"/>
      <dgm:spPr/>
    </dgm:pt>
    <dgm:pt modelId="{07A61C90-594B-4F8A-AF64-23277C4FF911}" type="pres">
      <dgm:prSet presAssocID="{A515E5F1-0939-4F02-89EC-32BD383184AF}" presName="parTx" presStyleLbl="alignNode1" presStyleIdx="0" presStyleCnt="3">
        <dgm:presLayoutVars>
          <dgm:chMax val="0"/>
          <dgm:chPref val="0"/>
          <dgm:bulletEnabled val="1"/>
        </dgm:presLayoutVars>
      </dgm:prSet>
      <dgm:spPr/>
    </dgm:pt>
    <dgm:pt modelId="{62148DDD-89A1-40FD-A5E4-E21968FFA871}" type="pres">
      <dgm:prSet presAssocID="{A515E5F1-0939-4F02-89EC-32BD383184AF}" presName="desTx" presStyleLbl="alignAccFollowNode1" presStyleIdx="0" presStyleCnt="3">
        <dgm:presLayoutVars>
          <dgm:bulletEnabled val="1"/>
        </dgm:presLayoutVars>
      </dgm:prSet>
      <dgm:spPr/>
    </dgm:pt>
    <dgm:pt modelId="{08EE1907-BD47-477F-BC27-3884F1A8F6E9}" type="pres">
      <dgm:prSet presAssocID="{75F17882-FF30-48F7-A204-24F850FF519C}" presName="space" presStyleCnt="0"/>
      <dgm:spPr/>
    </dgm:pt>
    <dgm:pt modelId="{023D0552-3F18-4A94-9436-F26E7462D917}" type="pres">
      <dgm:prSet presAssocID="{8884E0EB-E45C-4B20-BAB4-F57BA4FB5155}" presName="composite" presStyleCnt="0"/>
      <dgm:spPr/>
    </dgm:pt>
    <dgm:pt modelId="{C58F1935-9303-47FC-83DC-8DAC4DD9D867}" type="pres">
      <dgm:prSet presAssocID="{8884E0EB-E45C-4B20-BAB4-F57BA4FB5155}" presName="parTx" presStyleLbl="alignNode1" presStyleIdx="1" presStyleCnt="3">
        <dgm:presLayoutVars>
          <dgm:chMax val="0"/>
          <dgm:chPref val="0"/>
          <dgm:bulletEnabled val="1"/>
        </dgm:presLayoutVars>
      </dgm:prSet>
      <dgm:spPr/>
    </dgm:pt>
    <dgm:pt modelId="{3F50844D-EE83-4E48-9F0A-7C97BC7BBBE5}" type="pres">
      <dgm:prSet presAssocID="{8884E0EB-E45C-4B20-BAB4-F57BA4FB5155}" presName="desTx" presStyleLbl="alignAccFollowNode1" presStyleIdx="1" presStyleCnt="3">
        <dgm:presLayoutVars>
          <dgm:bulletEnabled val="1"/>
        </dgm:presLayoutVars>
      </dgm:prSet>
      <dgm:spPr/>
    </dgm:pt>
    <dgm:pt modelId="{B08BB68E-9633-43D1-8FB4-E42FF9370D5C}" type="pres">
      <dgm:prSet presAssocID="{4ECF6322-3521-46F1-A22B-A75D04C28A72}" presName="space" presStyleCnt="0"/>
      <dgm:spPr/>
    </dgm:pt>
    <dgm:pt modelId="{066A6AEA-168A-45C3-BC36-BDD9CBE12F5D}" type="pres">
      <dgm:prSet presAssocID="{5EC667FE-45ED-46FE-BF42-137C59DBE046}" presName="composite" presStyleCnt="0"/>
      <dgm:spPr/>
    </dgm:pt>
    <dgm:pt modelId="{093BB44A-E546-4AB4-9B9E-6B0163219FF4}" type="pres">
      <dgm:prSet presAssocID="{5EC667FE-45ED-46FE-BF42-137C59DBE046}" presName="parTx" presStyleLbl="alignNode1" presStyleIdx="2" presStyleCnt="3">
        <dgm:presLayoutVars>
          <dgm:chMax val="0"/>
          <dgm:chPref val="0"/>
          <dgm:bulletEnabled val="1"/>
        </dgm:presLayoutVars>
      </dgm:prSet>
      <dgm:spPr/>
    </dgm:pt>
    <dgm:pt modelId="{F3910A1D-01A0-490C-A1A6-9DCE4978223D}" type="pres">
      <dgm:prSet presAssocID="{5EC667FE-45ED-46FE-BF42-137C59DBE046}" presName="desTx" presStyleLbl="alignAccFollowNode1" presStyleIdx="2" presStyleCnt="3">
        <dgm:presLayoutVars>
          <dgm:bulletEnabled val="1"/>
        </dgm:presLayoutVars>
      </dgm:prSet>
      <dgm:spPr/>
    </dgm:pt>
  </dgm:ptLst>
  <dgm:cxnLst>
    <dgm:cxn modelId="{87553D1E-C533-48BE-97F5-2583524ED1C3}" srcId="{A1AC2BFE-F947-49EB-8F05-468DFEF5D345}" destId="{8884E0EB-E45C-4B20-BAB4-F57BA4FB5155}" srcOrd="1" destOrd="0" parTransId="{7A047458-AB8A-42FE-B9D0-CC77FFCBCBA9}" sibTransId="{4ECF6322-3521-46F1-A22B-A75D04C28A72}"/>
    <dgm:cxn modelId="{D50A2431-8D12-4632-A9C1-1FCE6AE7E629}" type="presOf" srcId="{3F63DA93-CFEA-4A89-8D62-094C3818D0E9}" destId="{F3910A1D-01A0-490C-A1A6-9DCE4978223D}" srcOrd="0" destOrd="1" presId="urn:microsoft.com/office/officeart/2005/8/layout/hList1"/>
    <dgm:cxn modelId="{20EE773C-BA00-4066-9A2B-EB0603C13CF9}" type="presOf" srcId="{C262E40F-95C3-4C22-B202-07FEA1CB2307}" destId="{F3910A1D-01A0-490C-A1A6-9DCE4978223D}" srcOrd="0" destOrd="0" presId="urn:microsoft.com/office/officeart/2005/8/layout/hList1"/>
    <dgm:cxn modelId="{1F6ECD3E-6006-4AB3-9CB1-1C1FB627904E}" type="presOf" srcId="{BDF670AE-AB7A-4E05-A112-AD378475EC21}" destId="{3F50844D-EE83-4E48-9F0A-7C97BC7BBBE5}" srcOrd="0" destOrd="0" presId="urn:microsoft.com/office/officeart/2005/8/layout/hList1"/>
    <dgm:cxn modelId="{19209D45-15D3-427B-9F06-922B55DECB28}" type="presOf" srcId="{5EC667FE-45ED-46FE-BF42-137C59DBE046}" destId="{093BB44A-E546-4AB4-9B9E-6B0163219FF4}" srcOrd="0" destOrd="0" presId="urn:microsoft.com/office/officeart/2005/8/layout/hList1"/>
    <dgm:cxn modelId="{6D873B8E-9FB1-42B4-B0BE-C27F70393860}" srcId="{8884E0EB-E45C-4B20-BAB4-F57BA4FB5155}" destId="{BDF670AE-AB7A-4E05-A112-AD378475EC21}" srcOrd="0" destOrd="0" parTransId="{75DC8CDB-F1AF-4928-B60A-F49628AD3A8D}" sibTransId="{70D9E73C-E20C-470B-AFCA-1D031EB89A91}"/>
    <dgm:cxn modelId="{F5DBF899-1009-42C6-A1E9-16A8F64C6190}" type="presOf" srcId="{B203BF6C-EFEA-4399-A37F-0CAB2CB4DCE5}" destId="{62148DDD-89A1-40FD-A5E4-E21968FFA871}" srcOrd="0" destOrd="1" presId="urn:microsoft.com/office/officeart/2005/8/layout/hList1"/>
    <dgm:cxn modelId="{946D099B-B2ED-4F8E-BFE0-D1C5CC34F1B9}" srcId="{A1AC2BFE-F947-49EB-8F05-468DFEF5D345}" destId="{5EC667FE-45ED-46FE-BF42-137C59DBE046}" srcOrd="2" destOrd="0" parTransId="{2AC22B4B-586F-4132-B3B8-F5172672D3BD}" sibTransId="{0CEBEF96-2144-4D2E-B6E9-A22CC9EA7005}"/>
    <dgm:cxn modelId="{D3E6E8AC-4B88-41AA-BBA5-B6C383DD4BDF}" type="presOf" srcId="{A515E5F1-0939-4F02-89EC-32BD383184AF}" destId="{07A61C90-594B-4F8A-AF64-23277C4FF911}" srcOrd="0" destOrd="0" presId="urn:microsoft.com/office/officeart/2005/8/layout/hList1"/>
    <dgm:cxn modelId="{DE5357AD-5C55-4F91-B08F-678116808C4C}" srcId="{A1AC2BFE-F947-49EB-8F05-468DFEF5D345}" destId="{A515E5F1-0939-4F02-89EC-32BD383184AF}" srcOrd="0" destOrd="0" parTransId="{5347B349-7703-4CE7-AADF-1DC2A837F791}" sibTransId="{75F17882-FF30-48F7-A204-24F850FF519C}"/>
    <dgm:cxn modelId="{EBA373B7-3B86-464B-B567-EFC0EE86ED6F}" srcId="{5EC667FE-45ED-46FE-BF42-137C59DBE046}" destId="{3F63DA93-CFEA-4A89-8D62-094C3818D0E9}" srcOrd="1" destOrd="0" parTransId="{C52BB201-3FB3-4608-8CAA-D8BBCADCC36D}" sibTransId="{589A3FA2-8E96-47AE-B3E2-7E1AA1CDCA87}"/>
    <dgm:cxn modelId="{0C079ABD-8A84-41DC-B884-EC39AF1B74D4}" srcId="{A515E5F1-0939-4F02-89EC-32BD383184AF}" destId="{6DEDB285-DAC5-481F-AE42-F4A09FEE7DD0}" srcOrd="0" destOrd="0" parTransId="{3AE01508-54BE-48E3-8940-D249E1A75A96}" sibTransId="{CC55A5E3-2D80-40E4-93B7-00F0245075E0}"/>
    <dgm:cxn modelId="{A54BC8C9-DD7F-473D-A0E5-EBC7BD23EA9F}" type="presOf" srcId="{8884E0EB-E45C-4B20-BAB4-F57BA4FB5155}" destId="{C58F1935-9303-47FC-83DC-8DAC4DD9D867}" srcOrd="0" destOrd="0" presId="urn:microsoft.com/office/officeart/2005/8/layout/hList1"/>
    <dgm:cxn modelId="{25A3D5ED-2D52-47B7-9A73-024F4A35F2F6}" srcId="{A515E5F1-0939-4F02-89EC-32BD383184AF}" destId="{B203BF6C-EFEA-4399-A37F-0CAB2CB4DCE5}" srcOrd="1" destOrd="0" parTransId="{25903192-87C2-47B7-9807-1309C0809682}" sibTransId="{1E3935C3-1CC6-4D21-A04D-FA9B9BDBFBFC}"/>
    <dgm:cxn modelId="{2B6922F7-EC48-4732-B9E2-0173A8719C1D}" type="presOf" srcId="{A1AC2BFE-F947-49EB-8F05-468DFEF5D345}" destId="{D352D168-2879-437F-9F4A-EFCE90499957}" srcOrd="0" destOrd="0" presId="urn:microsoft.com/office/officeart/2005/8/layout/hList1"/>
    <dgm:cxn modelId="{4C7B8EF9-3756-4745-AEC0-595AE31C990C}" srcId="{5EC667FE-45ED-46FE-BF42-137C59DBE046}" destId="{C262E40F-95C3-4C22-B202-07FEA1CB2307}" srcOrd="0" destOrd="0" parTransId="{6183309E-12AE-40CC-8167-5BFEC1F97BCB}" sibTransId="{2981CA26-945E-4029-BA56-9DF178C03E2F}"/>
    <dgm:cxn modelId="{E02B14FE-ED18-4B77-92A4-77F74E4A5F18}" type="presOf" srcId="{6DEDB285-DAC5-481F-AE42-F4A09FEE7DD0}" destId="{62148DDD-89A1-40FD-A5E4-E21968FFA871}" srcOrd="0" destOrd="0" presId="urn:microsoft.com/office/officeart/2005/8/layout/hList1"/>
    <dgm:cxn modelId="{E9C05399-90C0-4971-BD86-48A9E7304446}" type="presParOf" srcId="{D352D168-2879-437F-9F4A-EFCE90499957}" destId="{996EB887-E785-4FF3-80EA-A507534DE13A}" srcOrd="0" destOrd="0" presId="urn:microsoft.com/office/officeart/2005/8/layout/hList1"/>
    <dgm:cxn modelId="{C92DC22F-F7F0-4C39-BE2D-5802D0997895}" type="presParOf" srcId="{996EB887-E785-4FF3-80EA-A507534DE13A}" destId="{07A61C90-594B-4F8A-AF64-23277C4FF911}" srcOrd="0" destOrd="0" presId="urn:microsoft.com/office/officeart/2005/8/layout/hList1"/>
    <dgm:cxn modelId="{55B90A74-5593-4DB5-9888-1518D06B420A}" type="presParOf" srcId="{996EB887-E785-4FF3-80EA-A507534DE13A}" destId="{62148DDD-89A1-40FD-A5E4-E21968FFA871}" srcOrd="1" destOrd="0" presId="urn:microsoft.com/office/officeart/2005/8/layout/hList1"/>
    <dgm:cxn modelId="{FD353AE8-ABA9-4A3F-8481-FBAB8A84C36B}" type="presParOf" srcId="{D352D168-2879-437F-9F4A-EFCE90499957}" destId="{08EE1907-BD47-477F-BC27-3884F1A8F6E9}" srcOrd="1" destOrd="0" presId="urn:microsoft.com/office/officeart/2005/8/layout/hList1"/>
    <dgm:cxn modelId="{2633133F-AB32-449B-9FB3-7C07D6D18DC7}" type="presParOf" srcId="{D352D168-2879-437F-9F4A-EFCE90499957}" destId="{023D0552-3F18-4A94-9436-F26E7462D917}" srcOrd="2" destOrd="0" presId="urn:microsoft.com/office/officeart/2005/8/layout/hList1"/>
    <dgm:cxn modelId="{33F8B13B-B9C4-4FA0-9674-2AAC3638DD09}" type="presParOf" srcId="{023D0552-3F18-4A94-9436-F26E7462D917}" destId="{C58F1935-9303-47FC-83DC-8DAC4DD9D867}" srcOrd="0" destOrd="0" presId="urn:microsoft.com/office/officeart/2005/8/layout/hList1"/>
    <dgm:cxn modelId="{4F75984D-F448-4741-B959-4348E0DCA87C}" type="presParOf" srcId="{023D0552-3F18-4A94-9436-F26E7462D917}" destId="{3F50844D-EE83-4E48-9F0A-7C97BC7BBBE5}" srcOrd="1" destOrd="0" presId="urn:microsoft.com/office/officeart/2005/8/layout/hList1"/>
    <dgm:cxn modelId="{0060342E-DDE3-49CA-9BC0-85D0B40FF55E}" type="presParOf" srcId="{D352D168-2879-437F-9F4A-EFCE90499957}" destId="{B08BB68E-9633-43D1-8FB4-E42FF9370D5C}" srcOrd="3" destOrd="0" presId="urn:microsoft.com/office/officeart/2005/8/layout/hList1"/>
    <dgm:cxn modelId="{39E8C710-F14C-4D32-99DD-323D88C0BAAE}" type="presParOf" srcId="{D352D168-2879-437F-9F4A-EFCE90499957}" destId="{066A6AEA-168A-45C3-BC36-BDD9CBE12F5D}" srcOrd="4" destOrd="0" presId="urn:microsoft.com/office/officeart/2005/8/layout/hList1"/>
    <dgm:cxn modelId="{052BEB71-382C-4F7A-AA1D-E3884E95A995}" type="presParOf" srcId="{066A6AEA-168A-45C3-BC36-BDD9CBE12F5D}" destId="{093BB44A-E546-4AB4-9B9E-6B0163219FF4}" srcOrd="0" destOrd="0" presId="urn:microsoft.com/office/officeart/2005/8/layout/hList1"/>
    <dgm:cxn modelId="{0D33C203-7CED-42E1-B0BD-E606F020FDF6}" type="presParOf" srcId="{066A6AEA-168A-45C3-BC36-BDD9CBE12F5D}" destId="{F3910A1D-01A0-490C-A1A6-9DCE4978223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5721E1-0413-46CA-8047-12F87E8FE2E5}">
      <dsp:nvSpPr>
        <dsp:cNvPr id="0" name=""/>
        <dsp:cNvSpPr/>
      </dsp:nvSpPr>
      <dsp:spPr>
        <a:xfrm>
          <a:off x="0" y="0"/>
          <a:ext cx="110697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ACDE90-999D-4AD3-BB15-789BF18E9A52}">
      <dsp:nvSpPr>
        <dsp:cNvPr id="0" name=""/>
        <dsp:cNvSpPr/>
      </dsp:nvSpPr>
      <dsp:spPr>
        <a:xfrm>
          <a:off x="0" y="0"/>
          <a:ext cx="2213940" cy="26289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endParaRPr lang="en-US" sz="2100" kern="1200">
            <a:latin typeface="Trebuchet MS" panose="020B0603020202020204" pitchFamily="34" charset="0"/>
            <a:cs typeface="Arial" panose="020B0604020202020204" pitchFamily="34" charset="0"/>
          </a:endParaRPr>
        </a:p>
      </dsp:txBody>
      <dsp:txXfrm>
        <a:off x="0" y="0"/>
        <a:ext cx="2213940" cy="2628934"/>
      </dsp:txXfrm>
    </dsp:sp>
    <dsp:sp modelId="{6C012BBA-B3B7-4D55-A460-4823E7CE3FA6}">
      <dsp:nvSpPr>
        <dsp:cNvPr id="0" name=""/>
        <dsp:cNvSpPr/>
      </dsp:nvSpPr>
      <dsp:spPr>
        <a:xfrm>
          <a:off x="2379985" y="180574"/>
          <a:ext cx="8689715" cy="2387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rtl="0">
            <a:lnSpc>
              <a:spcPct val="90000"/>
            </a:lnSpc>
            <a:spcBef>
              <a:spcPct val="0"/>
            </a:spcBef>
            <a:spcAft>
              <a:spcPct val="35000"/>
            </a:spcAft>
            <a:buNone/>
          </a:pPr>
          <a:r>
            <a:rPr lang="en-US" sz="2100" kern="1200">
              <a:solidFill>
                <a:schemeClr val="tx1"/>
              </a:solidFill>
              <a:latin typeface="Trebuchet MS"/>
              <a:ea typeface="+mn-ea"/>
              <a:cs typeface="+mn-cs"/>
            </a:rPr>
            <a:t>PRA Biennial report 2025 published in December - </a:t>
          </a:r>
          <a:r>
            <a:rPr lang="en-US" sz="2100" kern="1200">
              <a:solidFill>
                <a:schemeClr val="tx1"/>
              </a:solidFill>
              <a:latin typeface="Trebuchet MS"/>
              <a:ea typeface="+mn-ea"/>
              <a:cs typeface="+mn-cs"/>
              <a:hlinkClick xmlns:r="http://schemas.openxmlformats.org/officeDocument/2006/relationships" r:id="rId1"/>
            </a:rPr>
            <a:t>link</a:t>
          </a:r>
          <a:endParaRPr lang="en-US" sz="2100" kern="1200">
            <a:solidFill>
              <a:srgbClr val="FFFFFF">
                <a:lumMod val="65000"/>
              </a:srgbClr>
            </a:solidFill>
            <a:latin typeface="Trebuchet MS"/>
            <a:ea typeface="+mn-ea"/>
            <a:cs typeface="+mn-cs"/>
            <a:hlinkClick xmlns:r="http://schemas.openxmlformats.org/officeDocument/2006/relationships" r:id="rId1"/>
          </a:endParaRPr>
        </a:p>
      </dsp:txBody>
      <dsp:txXfrm>
        <a:off x="2379985" y="180574"/>
        <a:ext cx="8689715" cy="2387606"/>
      </dsp:txXfrm>
    </dsp:sp>
    <dsp:sp modelId="{5649E1A3-4F9A-42D6-844E-C192C1782A11}">
      <dsp:nvSpPr>
        <dsp:cNvPr id="0" name=""/>
        <dsp:cNvSpPr/>
      </dsp:nvSpPr>
      <dsp:spPr>
        <a:xfrm>
          <a:off x="2188435" y="2810693"/>
          <a:ext cx="885576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3437B4-C038-441E-8049-71D5C0BAD35D}">
      <dsp:nvSpPr>
        <dsp:cNvPr id="0" name=""/>
        <dsp:cNvSpPr/>
      </dsp:nvSpPr>
      <dsp:spPr>
        <a:xfrm>
          <a:off x="0" y="2628934"/>
          <a:ext cx="110697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4EE796-8E31-4029-BB07-1707E4EAD426}">
      <dsp:nvSpPr>
        <dsp:cNvPr id="0" name=""/>
        <dsp:cNvSpPr/>
      </dsp:nvSpPr>
      <dsp:spPr>
        <a:xfrm>
          <a:off x="0" y="2628934"/>
          <a:ext cx="2213940" cy="26289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br>
            <a:rPr lang="en-US" sz="2500" kern="1200">
              <a:solidFill>
                <a:schemeClr val="tx1"/>
              </a:solidFill>
              <a:latin typeface="Trebuchet MS"/>
              <a:ea typeface="+mn-ea"/>
              <a:cs typeface="+mn-cs"/>
            </a:rPr>
          </a:br>
          <a:endParaRPr lang="en-US" sz="2500" kern="1200">
            <a:solidFill>
              <a:schemeClr val="tx1"/>
            </a:solidFill>
            <a:latin typeface="Trebuchet MS"/>
            <a:ea typeface="+mn-ea"/>
            <a:cs typeface="+mn-cs"/>
          </a:endParaRPr>
        </a:p>
      </dsp:txBody>
      <dsp:txXfrm>
        <a:off x="0" y="2628934"/>
        <a:ext cx="2213940" cy="262893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A61C90-594B-4F8A-AF64-23277C4FF911}">
      <dsp:nvSpPr>
        <dsp:cNvPr id="0" name=""/>
        <dsp:cNvSpPr/>
      </dsp:nvSpPr>
      <dsp:spPr>
        <a:xfrm>
          <a:off x="3306" y="56171"/>
          <a:ext cx="3223596" cy="95021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GB" sz="2400" kern="1200">
              <a:latin typeface="Calibri"/>
              <a:ea typeface="Calibri"/>
              <a:cs typeface="Calibri"/>
            </a:rPr>
            <a:t>Additions being worked at</a:t>
          </a:r>
        </a:p>
      </dsp:txBody>
      <dsp:txXfrm>
        <a:off x="3306" y="56171"/>
        <a:ext cx="3223596" cy="950212"/>
      </dsp:txXfrm>
    </dsp:sp>
    <dsp:sp modelId="{62148DDD-89A1-40FD-A5E4-E21968FFA871}">
      <dsp:nvSpPr>
        <dsp:cNvPr id="0" name=""/>
        <dsp:cNvSpPr/>
      </dsp:nvSpPr>
      <dsp:spPr>
        <a:xfrm>
          <a:off x="3306" y="1006383"/>
          <a:ext cx="3223596" cy="247736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GB" sz="2400" kern="1200">
              <a:latin typeface="Calibri"/>
              <a:ea typeface="Calibri"/>
              <a:cs typeface="Calibri"/>
            </a:rPr>
            <a:t>Oscillations</a:t>
          </a:r>
        </a:p>
        <a:p>
          <a:pPr marL="228600" lvl="1" indent="-228600" algn="l" defTabSz="1066800" rtl="0">
            <a:lnSpc>
              <a:spcPct val="90000"/>
            </a:lnSpc>
            <a:spcBef>
              <a:spcPct val="0"/>
            </a:spcBef>
            <a:spcAft>
              <a:spcPct val="15000"/>
            </a:spcAft>
            <a:buChar char="•"/>
          </a:pPr>
          <a:r>
            <a:rPr lang="en-GB" sz="2400" kern="1200">
              <a:latin typeface="Calibri"/>
            </a:rPr>
            <a:t>Legally mandated requirements as they arise (recommendations)</a:t>
          </a:r>
        </a:p>
      </dsp:txBody>
      <dsp:txXfrm>
        <a:off x="3306" y="1006383"/>
        <a:ext cx="3223596" cy="2477362"/>
      </dsp:txXfrm>
    </dsp:sp>
    <dsp:sp modelId="{C58F1935-9303-47FC-83DC-8DAC4DD9D867}">
      <dsp:nvSpPr>
        <dsp:cNvPr id="0" name=""/>
        <dsp:cNvSpPr/>
      </dsp:nvSpPr>
      <dsp:spPr>
        <a:xfrm>
          <a:off x="3678205" y="56171"/>
          <a:ext cx="3223596" cy="95021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GB" sz="1900" kern="1200">
              <a:latin typeface="Calibri"/>
              <a:ea typeface="Calibri"/>
              <a:cs typeface="Calibri"/>
            </a:rPr>
            <a:t>Improvements being worked on within the current methodology </a:t>
          </a:r>
        </a:p>
      </dsp:txBody>
      <dsp:txXfrm>
        <a:off x="3678205" y="56171"/>
        <a:ext cx="3223596" cy="950212"/>
      </dsp:txXfrm>
    </dsp:sp>
    <dsp:sp modelId="{3F50844D-EE83-4E48-9F0A-7C97BC7BBBE5}">
      <dsp:nvSpPr>
        <dsp:cNvPr id="0" name=""/>
        <dsp:cNvSpPr/>
      </dsp:nvSpPr>
      <dsp:spPr>
        <a:xfrm>
          <a:off x="3678205" y="1006383"/>
          <a:ext cx="3223596" cy="247736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GB" sz="2400" kern="1200">
              <a:latin typeface="Calibri"/>
              <a:ea typeface="Calibri"/>
              <a:cs typeface="Calibri"/>
            </a:rPr>
            <a:t>Processes for recording ICS voltage violations</a:t>
          </a:r>
        </a:p>
      </dsp:txBody>
      <dsp:txXfrm>
        <a:off x="3678205" y="1006383"/>
        <a:ext cx="3223596" cy="2477362"/>
      </dsp:txXfrm>
    </dsp:sp>
    <dsp:sp modelId="{093BB44A-E546-4AB4-9B9E-6B0163219FF4}">
      <dsp:nvSpPr>
        <dsp:cNvPr id="0" name=""/>
        <dsp:cNvSpPr/>
      </dsp:nvSpPr>
      <dsp:spPr>
        <a:xfrm>
          <a:off x="7353105" y="56171"/>
          <a:ext cx="3223596" cy="95021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rtl="0">
            <a:lnSpc>
              <a:spcPct val="90000"/>
            </a:lnSpc>
            <a:spcBef>
              <a:spcPct val="0"/>
            </a:spcBef>
            <a:spcAft>
              <a:spcPct val="35000"/>
            </a:spcAft>
            <a:buNone/>
          </a:pPr>
          <a:r>
            <a:rPr lang="en-GB" sz="2400" kern="1200">
              <a:latin typeface="Calibri"/>
            </a:rPr>
            <a:t>Assist Task Forces/SOGL </a:t>
          </a:r>
          <a:r>
            <a:rPr lang="en-GB" sz="2400" kern="1200">
              <a:latin typeface="Calibri"/>
              <a:ea typeface="Calibri"/>
              <a:cs typeface="Calibri"/>
            </a:rPr>
            <a:t>2.0</a:t>
          </a:r>
        </a:p>
      </dsp:txBody>
      <dsp:txXfrm>
        <a:off x="7353105" y="56171"/>
        <a:ext cx="3223596" cy="950212"/>
      </dsp:txXfrm>
    </dsp:sp>
    <dsp:sp modelId="{F3910A1D-01A0-490C-A1A6-9DCE4978223D}">
      <dsp:nvSpPr>
        <dsp:cNvPr id="0" name=""/>
        <dsp:cNvSpPr/>
      </dsp:nvSpPr>
      <dsp:spPr>
        <a:xfrm>
          <a:off x="7353105" y="1006383"/>
          <a:ext cx="3223596" cy="247736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rtl="0">
            <a:lnSpc>
              <a:spcPct val="90000"/>
            </a:lnSpc>
            <a:spcBef>
              <a:spcPct val="0"/>
            </a:spcBef>
            <a:spcAft>
              <a:spcPct val="15000"/>
            </a:spcAft>
            <a:buChar char="•"/>
          </a:pPr>
          <a:r>
            <a:rPr lang="en-GB" sz="1900" kern="1200">
              <a:latin typeface="Calibri"/>
              <a:ea typeface="Calibri"/>
              <a:cs typeface="Calibri"/>
            </a:rPr>
            <a:t>Consider establishing permanent monitoring of the implementation of recommendations from incident investigations</a:t>
          </a:r>
        </a:p>
        <a:p>
          <a:pPr marL="171450" lvl="1" indent="-171450" algn="l" defTabSz="844550" rtl="0">
            <a:lnSpc>
              <a:spcPct val="90000"/>
            </a:lnSpc>
            <a:spcBef>
              <a:spcPct val="0"/>
            </a:spcBef>
            <a:spcAft>
              <a:spcPct val="15000"/>
            </a:spcAft>
            <a:buChar char="•"/>
          </a:pPr>
          <a:r>
            <a:rPr lang="en-GB" sz="1900" kern="1200">
              <a:latin typeface="Calibri"/>
            </a:rPr>
            <a:t>Provision of real-time</a:t>
          </a:r>
          <a:r>
            <a:rPr lang="en-GB" sz="1900" kern="1200">
              <a:latin typeface="Calibri"/>
              <a:ea typeface="Calibri"/>
              <a:cs typeface="Calibri"/>
            </a:rPr>
            <a:t> snapshots</a:t>
          </a:r>
          <a:r>
            <a:rPr lang="en-GB" sz="1900" kern="1200">
              <a:latin typeface="Calibri"/>
            </a:rPr>
            <a:t> for incident investigations</a:t>
          </a:r>
          <a:endParaRPr lang="en-GB" sz="1900" kern="1200">
            <a:latin typeface="Calibri"/>
            <a:ea typeface="Calibri"/>
            <a:cs typeface="Calibri"/>
          </a:endParaRPr>
        </a:p>
      </dsp:txBody>
      <dsp:txXfrm>
        <a:off x="7353105" y="1006383"/>
        <a:ext cx="3223596" cy="2477362"/>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608494-4A2D-4FC4-88B1-B2C781B4B1C7}" type="datetimeFigureOut">
              <a:rPr lang="en-US" smtClean="0"/>
              <a:t>2/2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70D5D-914F-4452-83E6-AFFC078483D0}" type="slidenum">
              <a:rPr lang="en-US" smtClean="0"/>
              <a:t>‹#›</a:t>
            </a:fld>
            <a:endParaRPr lang="en-US"/>
          </a:p>
        </p:txBody>
      </p:sp>
    </p:spTree>
    <p:extLst>
      <p:ext uri="{BB962C8B-B14F-4D97-AF65-F5344CB8AC3E}">
        <p14:creationId xmlns:p14="http://schemas.microsoft.com/office/powerpoint/2010/main" val="40473454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19286-CB6E-4B90-8847-43DC28AE87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655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FF46E-6B43-41F9-9272-B566D03A251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1067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a:p>
        </p:txBody>
      </p:sp>
      <p:sp>
        <p:nvSpPr>
          <p:cNvPr id="4" name="Slide Number Placeholder 3"/>
          <p:cNvSpPr>
            <a:spLocks noGrp="1"/>
          </p:cNvSpPr>
          <p:nvPr>
            <p:ph type="sldNum" sz="quarter" idx="5"/>
          </p:nvPr>
        </p:nvSpPr>
        <p:spPr/>
        <p:txBody>
          <a:bodyPr/>
          <a:lstStyle/>
          <a:p>
            <a:fld id="{65070D5D-914F-4452-83E6-AFFC078483D0}" type="slidenum">
              <a:rPr lang="en-US" smtClean="0"/>
              <a:t>29</a:t>
            </a:fld>
            <a:endParaRPr lang="en-US"/>
          </a:p>
        </p:txBody>
      </p:sp>
    </p:spTree>
    <p:extLst>
      <p:ext uri="{BB962C8B-B14F-4D97-AF65-F5344CB8AC3E}">
        <p14:creationId xmlns:p14="http://schemas.microsoft.com/office/powerpoint/2010/main" val="25540078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Master" Target="../slideMasters/slideMaster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pptmon.com/" TargetMode="External"/><Relationship Id="rId1" Type="http://schemas.openxmlformats.org/officeDocument/2006/relationships/slideMaster" Target="../slideMasters/slideMaster8.xml"/><Relationship Id="rId6" Type="http://schemas.openxmlformats.org/officeDocument/2006/relationships/hyperlink" Target="http://www.pptmon.com/" TargetMode="External"/><Relationship Id="rId5" Type="http://schemas.openxmlformats.org/officeDocument/2006/relationships/hyperlink" Target="https://pptmon.com/" TargetMode="External"/><Relationship Id="rId4" Type="http://schemas.openxmlformats.org/officeDocument/2006/relationships/image" Target="../media/image37.sv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pptmon.com/" TargetMode="External"/><Relationship Id="rId1" Type="http://schemas.openxmlformats.org/officeDocument/2006/relationships/slideMaster" Target="../slideMasters/slideMaster8.xml"/><Relationship Id="rId6" Type="http://schemas.openxmlformats.org/officeDocument/2006/relationships/hyperlink" Target="http://www.pptmon.com/" TargetMode="External"/><Relationship Id="rId5" Type="http://schemas.openxmlformats.org/officeDocument/2006/relationships/hyperlink" Target="https://pptmon.com/" TargetMode="External"/><Relationship Id="rId4" Type="http://schemas.openxmlformats.org/officeDocument/2006/relationships/image" Target="../media/image38.sv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Master" Target="../slideMasters/slideMaster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Master" Target="../slideMasters/slideMaster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Master" Target="../slideMasters/slideMaster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pptmon.com/" TargetMode="External"/><Relationship Id="rId1" Type="http://schemas.openxmlformats.org/officeDocument/2006/relationships/slideMaster" Target="../slideMasters/slideMaster11.xml"/><Relationship Id="rId6" Type="http://schemas.openxmlformats.org/officeDocument/2006/relationships/hyperlink" Target="http://www.pptmon.com/" TargetMode="External"/><Relationship Id="rId5" Type="http://schemas.openxmlformats.org/officeDocument/2006/relationships/hyperlink" Target="https://pptmon.com/" TargetMode="External"/><Relationship Id="rId4" Type="http://schemas.openxmlformats.org/officeDocument/2006/relationships/image" Target="../media/image37.sv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pptmon.com/" TargetMode="External"/><Relationship Id="rId1" Type="http://schemas.openxmlformats.org/officeDocument/2006/relationships/slideMaster" Target="../slideMasters/slideMaster11.xml"/><Relationship Id="rId6" Type="http://schemas.openxmlformats.org/officeDocument/2006/relationships/hyperlink" Target="http://www.pptmon.com/" TargetMode="External"/><Relationship Id="rId5" Type="http://schemas.openxmlformats.org/officeDocument/2006/relationships/hyperlink" Target="https://pptmon.com/" TargetMode="External"/><Relationship Id="rId4" Type="http://schemas.openxmlformats.org/officeDocument/2006/relationships/image" Target="../media/image38.sv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Master" Target="../slideMasters/slideMaster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225958735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9294959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61638575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79262884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1502663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92076325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220764054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take-aways</a:t>
            </a:r>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61647024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83752574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latin typeface="Calibri" panose="020F0502020204030204" pitchFamily="34" charset="0"/>
                <a:cs typeface="Calibri" panose="020F0502020204030204" pitchFamily="34" charset="0"/>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Calibri" panose="020F0502020204030204" pitchFamily="34" charset="0"/>
                <a:cs typeface="Calibri" panose="020F0502020204030204" pitchFamily="34" charset="0"/>
              </a:defRPr>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1688858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noAutofit/>
          </a:bodyPr>
          <a:lstStyle>
            <a:lvl1pPr>
              <a:defRPr sz="1300">
                <a:latin typeface="Calibri" panose="020F0502020204030204" pitchFamily="34" charset="0"/>
                <a:cs typeface="Calibri" panose="020F0502020204030204" pitchFamily="34" charset="0"/>
              </a:defRPr>
            </a:lvl1pPr>
          </a:lstStyle>
          <a:p>
            <a:r>
              <a:rPr lang="en-US"/>
              <a:t>Click icon to add chart</a:t>
            </a:r>
            <a:endParaRPr lang="en-GB"/>
          </a:p>
        </p:txBody>
      </p:sp>
      <p:sp>
        <p:nvSpPr>
          <p:cNvPr id="18" name="Text Placeholder 8"/>
          <p:cNvSpPr>
            <a:spLocks noGrp="1"/>
          </p:cNvSpPr>
          <p:nvPr>
            <p:ph type="body" sz="quarter" idx="18"/>
          </p:nvPr>
        </p:nvSpPr>
        <p:spPr>
          <a:xfrm>
            <a:off x="501653" y="1674088"/>
            <a:ext cx="11188699" cy="357187"/>
          </a:xfrm>
        </p:spPr>
        <p:txBody>
          <a:bodyPr>
            <a:noAutofit/>
          </a:bodyPr>
          <a:lstStyle>
            <a:lvl1pPr>
              <a:defRPr sz="13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900">
                <a:latin typeface="Calibri" panose="020F0502020204030204" pitchFamily="34" charset="0"/>
                <a:cs typeface="Calibri" panose="020F0502020204030204" pitchFamily="34" charset="0"/>
              </a:defRPr>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3163523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lvl1pPr>
              <a:defRPr sz="1300">
                <a:latin typeface="Calibri" panose="020F0502020204030204" pitchFamily="34" charset="0"/>
                <a:cs typeface="Calibri" panose="020F0502020204030204" pitchFamily="34" charset="0"/>
              </a:defRPr>
            </a:lvl1pPr>
          </a:lstStyle>
          <a:p>
            <a:r>
              <a:rPr lang="en-US" noProof="0"/>
              <a:t>Click icon to add chart</a:t>
            </a:r>
          </a:p>
        </p:txBody>
      </p:sp>
      <p:sp>
        <p:nvSpPr>
          <p:cNvPr id="18" name="Text Placeholder 8"/>
          <p:cNvSpPr>
            <a:spLocks noGrp="1"/>
          </p:cNvSpPr>
          <p:nvPr>
            <p:ph type="body" sz="quarter" idx="18"/>
          </p:nvPr>
        </p:nvSpPr>
        <p:spPr>
          <a:xfrm>
            <a:off x="501651" y="1659145"/>
            <a:ext cx="3549549" cy="392112"/>
          </a:xfrm>
        </p:spPr>
        <p:txBody>
          <a:bodyPr>
            <a:noAutofit/>
          </a:bodyPr>
          <a:lstStyle>
            <a:lvl1pPr>
              <a:defRPr sz="13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7" name="Chart Placeholder 3"/>
          <p:cNvSpPr>
            <a:spLocks noGrp="1"/>
          </p:cNvSpPr>
          <p:nvPr>
            <p:ph type="chart" sz="quarter" idx="19"/>
          </p:nvPr>
        </p:nvSpPr>
        <p:spPr>
          <a:xfrm>
            <a:off x="4322402" y="2051999"/>
            <a:ext cx="3549549" cy="4069014"/>
          </a:xfrm>
          <a:prstGeom prst="rect">
            <a:avLst/>
          </a:prstGeom>
        </p:spPr>
        <p:txBody>
          <a:bodyPr>
            <a:noAutofit/>
          </a:bodyPr>
          <a:lstStyle>
            <a:lvl1pPr>
              <a:defRPr sz="1300">
                <a:latin typeface="Calibri" panose="020F0502020204030204" pitchFamily="34" charset="0"/>
                <a:cs typeface="Calibri" panose="020F0502020204030204" pitchFamily="34" charset="0"/>
              </a:defRPr>
            </a:lvl1pPr>
          </a:lstStyle>
          <a:p>
            <a:r>
              <a:rPr lang="en-US" noProof="0"/>
              <a:t>Click icon to add chart</a:t>
            </a:r>
          </a:p>
        </p:txBody>
      </p:sp>
      <p:sp>
        <p:nvSpPr>
          <p:cNvPr id="8" name="Text Placeholder 8"/>
          <p:cNvSpPr>
            <a:spLocks noGrp="1"/>
          </p:cNvSpPr>
          <p:nvPr>
            <p:ph type="body" sz="quarter" idx="20"/>
          </p:nvPr>
        </p:nvSpPr>
        <p:spPr>
          <a:xfrm>
            <a:off x="4321227" y="1659145"/>
            <a:ext cx="3549549" cy="392112"/>
          </a:xfrm>
        </p:spPr>
        <p:txBody>
          <a:bodyPr>
            <a:noAutofit/>
          </a:bodyPr>
          <a:lstStyle>
            <a:lvl1pPr>
              <a:defRPr sz="13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9" name="Chart Placeholder 3"/>
          <p:cNvSpPr>
            <a:spLocks noGrp="1"/>
          </p:cNvSpPr>
          <p:nvPr>
            <p:ph type="chart" sz="quarter" idx="21"/>
          </p:nvPr>
        </p:nvSpPr>
        <p:spPr>
          <a:xfrm>
            <a:off x="8140802" y="2051999"/>
            <a:ext cx="3549549" cy="4069014"/>
          </a:xfrm>
          <a:prstGeom prst="rect">
            <a:avLst/>
          </a:prstGeom>
        </p:spPr>
        <p:txBody>
          <a:bodyPr>
            <a:noAutofit/>
          </a:bodyPr>
          <a:lstStyle>
            <a:lvl1pPr>
              <a:defRPr sz="1300">
                <a:latin typeface="Calibri" panose="020F0502020204030204" pitchFamily="34" charset="0"/>
                <a:cs typeface="Calibri" panose="020F0502020204030204" pitchFamily="34" charset="0"/>
              </a:defRPr>
            </a:lvl1pPr>
          </a:lstStyle>
          <a:p>
            <a:r>
              <a:rPr lang="en-US" noProof="0"/>
              <a:t>Click icon to add chart</a:t>
            </a:r>
          </a:p>
        </p:txBody>
      </p:sp>
      <p:sp>
        <p:nvSpPr>
          <p:cNvPr id="10" name="Text Placeholder 8"/>
          <p:cNvSpPr>
            <a:spLocks noGrp="1"/>
          </p:cNvSpPr>
          <p:nvPr>
            <p:ph type="body" sz="quarter" idx="22"/>
          </p:nvPr>
        </p:nvSpPr>
        <p:spPr>
          <a:xfrm>
            <a:off x="8140802" y="1659145"/>
            <a:ext cx="3549549" cy="398256"/>
          </a:xfrm>
        </p:spPr>
        <p:txBody>
          <a:bodyPr>
            <a:noAutofit/>
          </a:bodyPr>
          <a:lstStyle>
            <a:lvl1pPr>
              <a:defRPr sz="13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12" name="Text Placeholder 7"/>
          <p:cNvSpPr>
            <a:spLocks noGrp="1"/>
          </p:cNvSpPr>
          <p:nvPr>
            <p:ph type="body" sz="quarter" idx="23"/>
          </p:nvPr>
        </p:nvSpPr>
        <p:spPr>
          <a:xfrm>
            <a:off x="501649" y="6121016"/>
            <a:ext cx="11165419" cy="260737"/>
          </a:xfrm>
        </p:spPr>
        <p:txBody>
          <a:bodyPr>
            <a:noAutofit/>
          </a:bodyPr>
          <a:lstStyle>
            <a:lvl1pPr>
              <a:spcAft>
                <a:spcPts val="0"/>
              </a:spcAft>
              <a:defRPr sz="9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31068095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392164268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latin typeface="Calibri" panose="020F0502020204030204" pitchFamily="34" charset="0"/>
                <a:cs typeface="Calibri" panose="020F0502020204030204" pitchFamily="34" charset="0"/>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331560"/>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
        <p:nvSpPr>
          <p:cNvPr id="10" name="Text Placeholder 18"/>
          <p:cNvSpPr>
            <a:spLocks noGrp="1"/>
          </p:cNvSpPr>
          <p:nvPr>
            <p:ph idx="1"/>
          </p:nvPr>
        </p:nvSpPr>
        <p:spPr>
          <a:xfrm>
            <a:off x="502920" y="1700213"/>
            <a:ext cx="11164147" cy="4681538"/>
          </a:xfrm>
          <a:prstGeom prst="rect">
            <a:avLst/>
          </a:prstGeom>
        </p:spPr>
        <p:txBody>
          <a:bodyPr vert="horz" lIns="0" tIns="0" rIns="0" bIns="0" rtlCol="0">
            <a:normAutofit/>
          </a:bodyPr>
          <a:lstStyle>
            <a:lvl1pPr>
              <a:defRPr sz="1300">
                <a:latin typeface="Calibri" panose="020F0502020204030204" pitchFamily="34" charset="0"/>
                <a:cs typeface="Calibri" panose="020F0502020204030204" pitchFamily="34" charset="0"/>
              </a:defRPr>
            </a:lvl1pPr>
            <a:lvl2pPr>
              <a:defRPr sz="1300">
                <a:latin typeface="Calibri" panose="020F0502020204030204" pitchFamily="34" charset="0"/>
                <a:cs typeface="Calibri" panose="020F0502020204030204" pitchFamily="34" charset="0"/>
              </a:defRPr>
            </a:lvl2pPr>
            <a:lvl3pPr>
              <a:defRPr sz="1300">
                <a:latin typeface="Calibri" panose="020F0502020204030204" pitchFamily="34" charset="0"/>
                <a:cs typeface="Calibri" panose="020F0502020204030204" pitchFamily="34" charset="0"/>
              </a:defRPr>
            </a:lvl3pPr>
            <a:lvl4pPr>
              <a:defRPr sz="1300">
                <a:latin typeface="Calibri" panose="020F0502020204030204" pitchFamily="34" charset="0"/>
                <a:cs typeface="Calibri" panose="020F0502020204030204" pitchFamily="34" charset="0"/>
              </a:defRPr>
            </a:lvl4pPr>
            <a:lvl5pPr>
              <a:defRPr sz="1300">
                <a:latin typeface="Calibri" panose="020F0502020204030204" pitchFamily="34" charset="0"/>
                <a:cs typeface="Calibri" panose="020F0502020204030204" pitchFamily="34" charset="0"/>
              </a:defRPr>
            </a:lvl5pPr>
            <a:lvl6pPr>
              <a:defRPr sz="1300">
                <a:latin typeface="Calibri" panose="020F0502020204030204" pitchFamily="34" charset="0"/>
                <a:cs typeface="Calibri" panose="020F0502020204030204" pitchFamily="34" charset="0"/>
              </a:defRPr>
            </a:lvl6pPr>
            <a:lvl7pPr>
              <a:defRPr sz="1300">
                <a:latin typeface="Calibri" panose="020F0502020204030204" pitchFamily="34" charset="0"/>
                <a:cs typeface="Calibri" panose="020F0502020204030204" pitchFamily="34" charset="0"/>
              </a:defRPr>
            </a:lvl7pPr>
            <a:lvl8pPr>
              <a:defRPr sz="1300">
                <a:latin typeface="Calibri" panose="020F0502020204030204" pitchFamily="34" charset="0"/>
                <a:cs typeface="Calibri" panose="020F0502020204030204" pitchFamily="34" charset="0"/>
              </a:defRPr>
            </a:lvl8pPr>
            <a:lvl9pPr>
              <a:defRPr sz="1300">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450"/>
              </a:spcBef>
              <a:buSzPct val="100000"/>
              <a:buFont typeface="Arial"/>
              <a:buNone/>
            </a:pPr>
            <a:fld id="{C58DF478-B544-4ED8-9ED4-6A2648E2D233}" type="slidenum">
              <a:rPr lang="en-US" sz="488"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488"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5430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2" y="1665290"/>
            <a:ext cx="5305579" cy="4716461"/>
          </a:xfrm>
          <a:prstGeom prst="rect">
            <a:avLst/>
          </a:prstGeom>
        </p:spPr>
        <p:txBody>
          <a:bodyPr>
            <a:noAutofit/>
          </a:bodyPr>
          <a:lstStyle>
            <a:lvl1pPr marL="0" indent="0" algn="l">
              <a:buFontTx/>
              <a:buNone/>
              <a:tabLst>
                <a:tab pos="3771900" algn="r"/>
              </a:tabLst>
              <a:defRPr sz="1300">
                <a:latin typeface="Calibri" panose="020F0502020204030204" pitchFamily="34" charset="0"/>
                <a:cs typeface="Calibri" panose="020F0502020204030204" pitchFamily="34" charset="0"/>
              </a:defRPr>
            </a:lvl1pPr>
            <a:lvl2pPr marL="104775"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2pPr>
            <a:lvl3pPr marL="228600"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3pPr>
            <a:lvl4pPr marL="352425"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4pPr>
            <a:lvl5pPr marL="476250" indent="-104775" algn="l">
              <a:buClrTx/>
              <a:buSzPct val="100000"/>
              <a:buFont typeface="Arial" panose="020B0604020202020204" pitchFamily="34" charset="0"/>
              <a:buChar char="−"/>
              <a:tabLst>
                <a:tab pos="3771900" algn="r"/>
              </a:tabLst>
              <a:defRPr sz="130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40" y="1665290"/>
            <a:ext cx="5322781" cy="4716461"/>
          </a:xfrm>
          <a:prstGeom prst="rect">
            <a:avLst/>
          </a:prstGeom>
        </p:spPr>
        <p:txBody>
          <a:bodyPr>
            <a:noAutofit/>
          </a:bodyPr>
          <a:lstStyle>
            <a:lvl1pPr marL="0" indent="0" algn="l">
              <a:buFontTx/>
              <a:buNone/>
              <a:tabLst>
                <a:tab pos="3771900" algn="r"/>
              </a:tabLst>
              <a:defRPr sz="1300">
                <a:latin typeface="Calibri" panose="020F0502020204030204" pitchFamily="34" charset="0"/>
                <a:cs typeface="Calibri" panose="020F0502020204030204" pitchFamily="34" charset="0"/>
              </a:defRPr>
            </a:lvl1pPr>
            <a:lvl2pPr marL="104775"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2pPr>
            <a:lvl3pPr marL="228600"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3pPr>
            <a:lvl4pPr marL="352425"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4pPr>
            <a:lvl5pPr marL="476250" indent="-104775" algn="l">
              <a:buClrTx/>
              <a:buSzPct val="100000"/>
              <a:buFont typeface="Arial" panose="020B0604020202020204" pitchFamily="34" charset="0"/>
              <a:buChar char="−"/>
              <a:tabLst>
                <a:tab pos="3771900" algn="r"/>
              </a:tabLst>
              <a:defRPr sz="130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77898755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394322052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406779334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 Black">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sz="2100">
                <a:solidFill>
                  <a:schemeClr val="tx1"/>
                </a:solidFill>
                <a:latin typeface="Calibri" panose="020F0502020204030204" pitchFamily="34" charset="0"/>
                <a:cs typeface="Calibri" panose="020F0502020204030204" pitchFamily="34" charset="0"/>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450"/>
              </a:spcBef>
              <a:buSzPct val="100000"/>
              <a:buFont typeface="Arial"/>
              <a:buNone/>
            </a:pPr>
            <a:fld id="{C58DF478-B544-4ED8-9ED4-6A2648E2D233}" type="slidenum">
              <a:rPr lang="en-US" sz="488"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488"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59472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latin typeface="Calibri" panose="020F0502020204030204" pitchFamily="34" charset="0"/>
                <a:cs typeface="Calibri" panose="020F0502020204030204" pitchFamily="34" charset="0"/>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sz="2100">
                <a:solidFill>
                  <a:schemeClr val="tx1"/>
                </a:solidFill>
                <a:latin typeface="Calibri" panose="020F0502020204030204" pitchFamily="34" charset="0"/>
                <a:cs typeface="Calibri" panose="020F0502020204030204" pitchFamily="34" charset="0"/>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450"/>
              </a:spcBef>
              <a:buSzPct val="100000"/>
              <a:buFont typeface="Arial"/>
              <a:buNone/>
            </a:pPr>
            <a:fld id="{C58DF478-B544-4ED8-9ED4-6A2648E2D233}" type="slidenum">
              <a:rPr lang="en-US" sz="488"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488"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48330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ENTSO-E cover">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909A6C70-AEE2-4209-B32F-485DE1E4E030}"/>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Presentation</a:t>
            </a:r>
            <a:br>
              <a:rPr lang="de-DE"/>
            </a:br>
            <a:r>
              <a:rPr lang="de-DE"/>
              <a:t>may expand over two lines, click to edit</a:t>
            </a:r>
          </a:p>
        </p:txBody>
      </p:sp>
      <p:sp>
        <p:nvSpPr>
          <p:cNvPr id="7" name="Textplatzhalter 7">
            <a:extLst>
              <a:ext uri="{FF2B5EF4-FFF2-40B4-BE49-F238E27FC236}">
                <a16:creationId xmlns:a16="http://schemas.microsoft.com/office/drawing/2014/main" id="{B3677969-4994-472E-9C37-1D009FED4502}"/>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click to edit. Change picture in View &gt; Slide Master &gt; Slide Master 1</a:t>
            </a:r>
          </a:p>
        </p:txBody>
      </p:sp>
      <p:sp>
        <p:nvSpPr>
          <p:cNvPr id="9" name="Rechteck 1">
            <a:extLst>
              <a:ext uri="{FF2B5EF4-FFF2-40B4-BE49-F238E27FC236}">
                <a16:creationId xmlns:a16="http://schemas.microsoft.com/office/drawing/2014/main" id="{F262D997-C2EB-4727-BCED-56D9698BCB32}"/>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4830843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atin typeface="Calibri" panose="020F0502020204030204" pitchFamily="34" charset="0"/>
                <a:cs typeface="Calibri" panose="020F0502020204030204" pitchFamily="34" charset="0"/>
              </a:defRPr>
            </a:lvl1pPr>
            <a:lvl2pPr>
              <a:tabLst>
                <a:tab pos="8972326" algn="r"/>
              </a:tabLst>
              <a:defRPr>
                <a:latin typeface="Calibri" panose="020F0502020204030204" pitchFamily="34" charset="0"/>
                <a:cs typeface="Calibri" panose="020F0502020204030204" pitchFamily="34" charset="0"/>
              </a:defRPr>
            </a:lvl2pPr>
            <a:lvl3pPr>
              <a:tabLst>
                <a:tab pos="8972326" algn="r"/>
              </a:tabLst>
              <a:defRPr>
                <a:latin typeface="Calibri" panose="020F0502020204030204" pitchFamily="34" charset="0"/>
                <a:cs typeface="Calibri" panose="020F0502020204030204" pitchFamily="34" charset="0"/>
              </a:defRPr>
            </a:lvl3pPr>
            <a:lvl4pPr>
              <a:tabLst>
                <a:tab pos="8972326" algn="r"/>
              </a:tabLst>
              <a:defRPr>
                <a:latin typeface="Calibri" panose="020F0502020204030204" pitchFamily="34" charset="0"/>
                <a:cs typeface="Calibri" panose="020F0502020204030204" pitchFamily="34" charset="0"/>
              </a:defRPr>
            </a:lvl4pPr>
            <a:lvl5pPr>
              <a:tabLst>
                <a:tab pos="6705432" algn="r"/>
              </a:tabLst>
              <a:defRPr baseline="0">
                <a:latin typeface="Calibri" panose="020F0502020204030204" pitchFamily="34" charset="0"/>
                <a:cs typeface="Calibri" panose="020F0502020204030204" pitchFamily="34" charset="0"/>
              </a:defRPr>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err="1"/>
              <a:t>Click</a:t>
            </a:r>
            <a:r>
              <a:rPr lang="es-ES"/>
              <a:t> to </a:t>
            </a:r>
            <a:r>
              <a:rPr lang="es-ES" err="1"/>
              <a:t>edit</a:t>
            </a:r>
            <a:r>
              <a:rPr lang="es-ES"/>
              <a:t> Master </a:t>
            </a:r>
            <a:r>
              <a:rPr lang="es-ES" err="1"/>
              <a:t>text</a:t>
            </a:r>
            <a:r>
              <a:rPr lang="es-ES"/>
              <a:t> </a:t>
            </a:r>
            <a:r>
              <a:rPr lang="es-ES" err="1"/>
              <a:t>styles</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a:p>
            <a:pPr lvl="3"/>
            <a:r>
              <a:rPr lang="es-ES" err="1"/>
              <a:t>Fourth</a:t>
            </a:r>
            <a:r>
              <a:rPr lang="es-ES"/>
              <a:t> </a:t>
            </a:r>
            <a:r>
              <a:rPr lang="es-ES" err="1"/>
              <a:t>level</a:t>
            </a:r>
            <a:endParaRPr lang="es-ES"/>
          </a:p>
          <a:p>
            <a:pPr lvl="4"/>
            <a:r>
              <a:rPr lang="es-ES" err="1"/>
              <a:t>Fifth</a:t>
            </a:r>
            <a:r>
              <a:rPr lang="es-ES"/>
              <a:t> </a:t>
            </a:r>
            <a:r>
              <a:rPr lang="es-ES" err="1"/>
              <a:t>level</a:t>
            </a:r>
            <a:endParaRPr lang="en-US"/>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latin typeface="Calibri" panose="020F0502020204030204" pitchFamily="34" charset="0"/>
                <a:cs typeface="Calibri" panose="020F0502020204030204" pitchFamily="34" charset="0"/>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Calibri" panose="020F050202020403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113760847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latin typeface="Calibri" panose="020F0502020204030204" pitchFamily="34" charset="0"/>
                <a:cs typeface="Calibri" panose="020F050202020403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Calibri" panose="020F050202020403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236968117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512348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78035118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그림 개체 틀 2">
            <a:extLst>
              <a:ext uri="{FF2B5EF4-FFF2-40B4-BE49-F238E27FC236}">
                <a16:creationId xmlns:a16="http://schemas.microsoft.com/office/drawing/2014/main" id="{552F5501-56F5-EBF7-EE1D-AE24C37867DB}"/>
              </a:ext>
            </a:extLst>
          </p:cNvPr>
          <p:cNvSpPr>
            <a:spLocks noGrp="1"/>
          </p:cNvSpPr>
          <p:nvPr>
            <p:ph type="pic" sz="quarter" idx="11" hasCustomPrompt="1"/>
          </p:nvPr>
        </p:nvSpPr>
        <p:spPr>
          <a:xfrm>
            <a:off x="0" y="1578149"/>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4" name="그림 개체 틀 2">
            <a:extLst>
              <a:ext uri="{FF2B5EF4-FFF2-40B4-BE49-F238E27FC236}">
                <a16:creationId xmlns:a16="http://schemas.microsoft.com/office/drawing/2014/main" id="{50F10F16-B19A-1E3D-CAB9-7CED280AB41D}"/>
              </a:ext>
            </a:extLst>
          </p:cNvPr>
          <p:cNvSpPr>
            <a:spLocks noGrp="1"/>
          </p:cNvSpPr>
          <p:nvPr>
            <p:ph type="pic" sz="quarter" idx="12" hasCustomPrompt="1"/>
          </p:nvPr>
        </p:nvSpPr>
        <p:spPr>
          <a:xfrm>
            <a:off x="2438700" y="3941782"/>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5" name="그림 개체 틀 2">
            <a:extLst>
              <a:ext uri="{FF2B5EF4-FFF2-40B4-BE49-F238E27FC236}">
                <a16:creationId xmlns:a16="http://schemas.microsoft.com/office/drawing/2014/main" id="{C6133594-BF75-B5E3-674F-44E84AF1D67A}"/>
              </a:ext>
            </a:extLst>
          </p:cNvPr>
          <p:cNvSpPr>
            <a:spLocks noGrp="1"/>
          </p:cNvSpPr>
          <p:nvPr>
            <p:ph type="pic" sz="quarter" idx="13" hasCustomPrompt="1"/>
          </p:nvPr>
        </p:nvSpPr>
        <p:spPr>
          <a:xfrm>
            <a:off x="4877400" y="1591729"/>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6" name="그림 개체 틀 2">
            <a:extLst>
              <a:ext uri="{FF2B5EF4-FFF2-40B4-BE49-F238E27FC236}">
                <a16:creationId xmlns:a16="http://schemas.microsoft.com/office/drawing/2014/main" id="{85377F7A-C493-CB0D-EE66-BD1938E9E158}"/>
              </a:ext>
            </a:extLst>
          </p:cNvPr>
          <p:cNvSpPr>
            <a:spLocks noGrp="1"/>
          </p:cNvSpPr>
          <p:nvPr>
            <p:ph type="pic" sz="quarter" idx="14" hasCustomPrompt="1"/>
          </p:nvPr>
        </p:nvSpPr>
        <p:spPr>
          <a:xfrm>
            <a:off x="7316100" y="3955362"/>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7" name="그림 개체 틀 2">
            <a:extLst>
              <a:ext uri="{FF2B5EF4-FFF2-40B4-BE49-F238E27FC236}">
                <a16:creationId xmlns:a16="http://schemas.microsoft.com/office/drawing/2014/main" id="{7D4DC1AF-A9B4-1BFC-0D24-34CE58EDDC7C}"/>
              </a:ext>
            </a:extLst>
          </p:cNvPr>
          <p:cNvSpPr>
            <a:spLocks noGrp="1"/>
          </p:cNvSpPr>
          <p:nvPr>
            <p:ph type="pic" sz="quarter" idx="15" hasCustomPrompt="1"/>
          </p:nvPr>
        </p:nvSpPr>
        <p:spPr>
          <a:xfrm>
            <a:off x="9754800" y="1578149"/>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8" name="Titel 5">
            <a:extLst>
              <a:ext uri="{FF2B5EF4-FFF2-40B4-BE49-F238E27FC236}">
                <a16:creationId xmlns:a16="http://schemas.microsoft.com/office/drawing/2014/main" id="{D995E6FD-2344-5A97-20A0-1B2D3A1000F0}"/>
              </a:ext>
            </a:extLst>
          </p:cNvPr>
          <p:cNvSpPr txBox="1">
            <a:spLocks/>
          </p:cNvSpPr>
          <p:nvPr userDrawn="1"/>
        </p:nvSpPr>
        <p:spPr>
          <a:xfrm>
            <a:off x="382588" y="462201"/>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endParaRPr lang="en-GB"/>
          </a:p>
        </p:txBody>
      </p:sp>
      <p:sp>
        <p:nvSpPr>
          <p:cNvPr id="9" name="Textplatzhalter 11">
            <a:extLst>
              <a:ext uri="{FF2B5EF4-FFF2-40B4-BE49-F238E27FC236}">
                <a16:creationId xmlns:a16="http://schemas.microsoft.com/office/drawing/2014/main" id="{65AE37CD-F014-8B3D-D3F8-7523F6BC60AA}"/>
              </a:ext>
            </a:extLst>
          </p:cNvPr>
          <p:cNvSpPr>
            <a:spLocks noGrp="1"/>
          </p:cNvSpPr>
          <p:nvPr>
            <p:ph type="body" sz="quarter" idx="16"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10" name="Rechteck 1">
            <a:extLst>
              <a:ext uri="{FF2B5EF4-FFF2-40B4-BE49-F238E27FC236}">
                <a16:creationId xmlns:a16="http://schemas.microsoft.com/office/drawing/2014/main" id="{FE54E39A-1250-DF09-18FD-00820275C838}"/>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latin typeface="Calibri" panose="020F0502020204030204" pitchFamily="34" charset="0"/>
              <a:cs typeface="Calibri" panose="020F0502020204030204" pitchFamily="34" charset="0"/>
            </a:endParaRPr>
          </a:p>
        </p:txBody>
      </p:sp>
      <p:sp>
        <p:nvSpPr>
          <p:cNvPr id="15" name="Titel 5">
            <a:extLst>
              <a:ext uri="{FF2B5EF4-FFF2-40B4-BE49-F238E27FC236}">
                <a16:creationId xmlns:a16="http://schemas.microsoft.com/office/drawing/2014/main" id="{668B3964-79E4-4430-E042-908C14619F4A}"/>
              </a:ext>
            </a:extLst>
          </p:cNvPr>
          <p:cNvSpPr>
            <a:spLocks noGrp="1"/>
          </p:cNvSpPr>
          <p:nvPr>
            <p:ph type="title" hasCustomPrompt="1"/>
          </p:nvPr>
        </p:nvSpPr>
        <p:spPr>
          <a:xfrm>
            <a:off x="382588" y="50641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spTree>
    <p:extLst>
      <p:ext uri="{BB962C8B-B14F-4D97-AF65-F5344CB8AC3E}">
        <p14:creationId xmlns:p14="http://schemas.microsoft.com/office/powerpoint/2010/main" val="65976526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latin typeface="Calibri" panose="020F0502020204030204" pitchFamily="34" charset="0"/>
                <a:cs typeface="Calibri" panose="020F050202020403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latin typeface="Calibri" panose="020F0502020204030204" pitchFamily="34" charset="0"/>
                <a:cs typeface="Calibri" panose="020F0502020204030204" pitchFamily="34" charset="0"/>
              </a:rPr>
              <a:t>© 2019 Deloitte Belgium</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latin typeface="Calibri" panose="020F0502020204030204" pitchFamily="34" charset="0"/>
                <a:cs typeface="Calibri" panose="020F0502020204030204" pitchFamily="34" charset="0"/>
              </a:rPr>
              <a:pPr marL="0" indent="0" algn="r">
                <a:spcBef>
                  <a:spcPts val="800"/>
                </a:spcBef>
                <a:buSzPct val="100000"/>
                <a:buFont typeface="Arial"/>
                <a:buNone/>
              </a:pPr>
              <a:t>‹#›</a:t>
            </a:fld>
            <a:endParaRPr lang="en-US" sz="65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301712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latin typeface="Calibri" panose="020F0502020204030204" pitchFamily="34" charset="0"/>
                <a:cs typeface="Calibri" panose="020F0502020204030204" pitchFamily="34" charset="0"/>
              </a:rPr>
              <a:t>© 2019 Deloitte Belgium</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latin typeface="Calibri" panose="020F0502020204030204" pitchFamily="34" charset="0"/>
                <a:cs typeface="Calibri" panose="020F0502020204030204" pitchFamily="34" charset="0"/>
              </a:rPr>
              <a:pPr marL="0" indent="0" algn="r">
                <a:spcBef>
                  <a:spcPts val="800"/>
                </a:spcBef>
                <a:buSzPct val="100000"/>
                <a:buFont typeface="Arial"/>
                <a:buNone/>
              </a:pPr>
              <a:t>‹#›</a:t>
            </a:fld>
            <a:endParaRPr lang="en-US" sz="650" noProof="0">
              <a:solidFill>
                <a:schemeClr val="bg1"/>
              </a:solidFill>
              <a:latin typeface="Calibri" panose="020F0502020204030204" pitchFamily="34" charset="0"/>
              <a:cs typeface="Calibri" panose="020F0502020204030204" pitchFamily="34" charset="0"/>
            </a:endParaRP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latin typeface="Calibri" panose="020F050202020403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233895734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1A6E9C-CF50-4E1D-9EA6-2439B8211F26}"/>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A64DEB54-9B2B-4D7A-97CE-606F25712A17}"/>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60708E7-0EA7-4DF2-A202-7E8CB393ECB9}"/>
              </a:ext>
            </a:extLst>
          </p:cNvPr>
          <p:cNvSpPr>
            <a:spLocks noGrp="1"/>
          </p:cNvSpPr>
          <p:nvPr>
            <p:ph type="sldNum" sz="quarter" idx="12"/>
          </p:nvPr>
        </p:nvSpPr>
        <p:spPr/>
        <p:txBody>
          <a:bodyPr/>
          <a:lstStyle/>
          <a:p>
            <a:endParaRPr lang="en-IN"/>
          </a:p>
        </p:txBody>
      </p:sp>
    </p:spTree>
    <p:extLst>
      <p:ext uri="{BB962C8B-B14F-4D97-AF65-F5344CB8AC3E}">
        <p14:creationId xmlns:p14="http://schemas.microsoft.com/office/powerpoint/2010/main" val="234307560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PPTMON custom">
    <p:spTree>
      <p:nvGrpSpPr>
        <p:cNvPr id="1" name=""/>
        <p:cNvGrpSpPr/>
        <p:nvPr/>
      </p:nvGrpSpPr>
      <p:grpSpPr>
        <a:xfrm>
          <a:off x="0" y="0"/>
          <a:ext cx="0" cy="0"/>
          <a:chOff x="0" y="0"/>
          <a:chExt cx="0" cy="0"/>
        </a:xfrm>
      </p:grpSpPr>
      <p:pic>
        <p:nvPicPr>
          <p:cNvPr id="6" name="Graphic 3">
            <a:hlinkClick r:id="rId2"/>
            <a:extLst>
              <a:ext uri="{FF2B5EF4-FFF2-40B4-BE49-F238E27FC236}">
                <a16:creationId xmlns:a16="http://schemas.microsoft.com/office/drawing/2014/main" id="{66F9FD08-7A54-49E6-BCDF-512A735D09D7}"/>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29909"/>
          <a:stretch/>
        </p:blipFill>
        <p:spPr>
          <a:xfrm>
            <a:off x="6024563" y="7063924"/>
            <a:ext cx="1732461" cy="190500"/>
          </a:xfrm>
          <a:prstGeom prst="rect">
            <a:avLst/>
          </a:prstGeom>
        </p:spPr>
      </p:pic>
      <p:sp>
        <p:nvSpPr>
          <p:cNvPr id="7" name="TextBox 6">
            <a:hlinkClick r:id="rId5"/>
            <a:extLst>
              <a:ext uri="{FF2B5EF4-FFF2-40B4-BE49-F238E27FC236}">
                <a16:creationId xmlns:a16="http://schemas.microsoft.com/office/drawing/2014/main" id="{5E4DD229-6A00-435F-965C-FFDE1D906637}"/>
              </a:ext>
            </a:extLst>
          </p:cNvPr>
          <p:cNvSpPr txBox="1"/>
          <p:nvPr userDrawn="1"/>
        </p:nvSpPr>
        <p:spPr>
          <a:xfrm>
            <a:off x="4434976" y="7063924"/>
            <a:ext cx="2690631" cy="246221"/>
          </a:xfrm>
          <a:prstGeom prst="rect">
            <a:avLst/>
          </a:prstGeom>
          <a:noFill/>
        </p:spPr>
        <p:txBody>
          <a:bodyPr wrap="square" rtlCol="0">
            <a:spAutoFit/>
          </a:bodyPr>
          <a:lstStyle/>
          <a:p>
            <a:r>
              <a:rPr lang="en-US" altLang="ko-KR" sz="1000" u="none">
                <a:latin typeface="Arial" panose="020B0604020202020204" pitchFamily="34" charset="0"/>
                <a:cs typeface="Arial" panose="020B0604020202020204" pitchFamily="34" charset="0"/>
                <a:hlinkClick r:id="rId6"/>
              </a:rPr>
              <a:t>Presentation template by</a:t>
            </a:r>
            <a:endParaRPr lang="ko-KR" altLang="en-US" sz="1000" u="none">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936336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5_ENTSO-E Chapter Cover Page">
    <p:spTree>
      <p:nvGrpSpPr>
        <p:cNvPr id="1" name=""/>
        <p:cNvGrpSpPr/>
        <p:nvPr/>
      </p:nvGrpSpPr>
      <p:grpSpPr>
        <a:xfrm>
          <a:off x="0" y="0"/>
          <a:ext cx="0" cy="0"/>
          <a:chOff x="0" y="0"/>
          <a:chExt cx="0" cy="0"/>
        </a:xfrm>
      </p:grpSpPr>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2" name="Titel 5">
            <a:extLst>
              <a:ext uri="{FF2B5EF4-FFF2-40B4-BE49-F238E27FC236}">
                <a16:creationId xmlns:a16="http://schemas.microsoft.com/office/drawing/2014/main" id="{5C10FB04-B0D1-C8F5-44A8-3EE47C0AC19D}"/>
              </a:ext>
            </a:extLst>
          </p:cNvPr>
          <p:cNvSpPr txBox="1">
            <a:spLocks/>
          </p:cNvSpPr>
          <p:nvPr userDrawn="1"/>
        </p:nvSpPr>
        <p:spPr>
          <a:xfrm>
            <a:off x="382588" y="506413"/>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a:t>Click here to edit Headline 1</a:t>
            </a:r>
          </a:p>
        </p:txBody>
      </p:sp>
    </p:spTree>
    <p:extLst>
      <p:ext uri="{BB962C8B-B14F-4D97-AF65-F5344CB8AC3E}">
        <p14:creationId xmlns:p14="http://schemas.microsoft.com/office/powerpoint/2010/main" val="66618736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PTMON slide">
    <p:spTree>
      <p:nvGrpSpPr>
        <p:cNvPr id="1" name=""/>
        <p:cNvGrpSpPr/>
        <p:nvPr/>
      </p:nvGrpSpPr>
      <p:grpSpPr>
        <a:xfrm>
          <a:off x="0" y="0"/>
          <a:ext cx="0" cy="0"/>
          <a:chOff x="0" y="0"/>
          <a:chExt cx="0" cy="0"/>
        </a:xfrm>
      </p:grpSpPr>
      <p:pic>
        <p:nvPicPr>
          <p:cNvPr id="6" name="Graphic 3">
            <a:hlinkClick r:id="rId2"/>
            <a:extLst>
              <a:ext uri="{FF2B5EF4-FFF2-40B4-BE49-F238E27FC236}">
                <a16:creationId xmlns:a16="http://schemas.microsoft.com/office/drawing/2014/main" id="{D83ABAC0-8A5B-4EA8-8D97-A09025351967}"/>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29909"/>
          <a:stretch/>
        </p:blipFill>
        <p:spPr>
          <a:xfrm>
            <a:off x="6024563" y="7063924"/>
            <a:ext cx="1732461" cy="190500"/>
          </a:xfrm>
          <a:prstGeom prst="rect">
            <a:avLst/>
          </a:prstGeom>
        </p:spPr>
      </p:pic>
      <p:sp>
        <p:nvSpPr>
          <p:cNvPr id="7" name="TextBox 6">
            <a:hlinkClick r:id="rId5"/>
            <a:extLst>
              <a:ext uri="{FF2B5EF4-FFF2-40B4-BE49-F238E27FC236}">
                <a16:creationId xmlns:a16="http://schemas.microsoft.com/office/drawing/2014/main" id="{610121FC-FA0B-4D0D-9E60-9E5042A6CCA8}"/>
              </a:ext>
            </a:extLst>
          </p:cNvPr>
          <p:cNvSpPr txBox="1"/>
          <p:nvPr userDrawn="1"/>
        </p:nvSpPr>
        <p:spPr>
          <a:xfrm>
            <a:off x="4434976" y="7063924"/>
            <a:ext cx="2690631" cy="246221"/>
          </a:xfrm>
          <a:prstGeom prst="rect">
            <a:avLst/>
          </a:prstGeom>
          <a:noFill/>
        </p:spPr>
        <p:txBody>
          <a:bodyPr wrap="square" rtlCol="0">
            <a:spAutoFit/>
          </a:bodyPr>
          <a:lstStyle/>
          <a:p>
            <a:r>
              <a:rPr lang="en-US" altLang="ko-KR" sz="1000" u="none">
                <a:latin typeface="Arial" panose="020B0604020202020204" pitchFamily="34" charset="0"/>
                <a:cs typeface="Arial" panose="020B0604020202020204" pitchFamily="34" charset="0"/>
                <a:hlinkClick r:id="rId6"/>
              </a:rPr>
              <a:t>Presentation template by</a:t>
            </a:r>
            <a:endParaRPr lang="ko-KR" altLang="en-US" sz="1000" u="none">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39292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35867979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87"/>
        <p:cNvGrpSpPr/>
        <p:nvPr/>
      </p:nvGrpSpPr>
      <p:grpSpPr>
        <a:xfrm>
          <a:off x="0" y="0"/>
          <a:ext cx="0" cy="0"/>
          <a:chOff x="0" y="0"/>
          <a:chExt cx="0" cy="0"/>
        </a:xfrm>
      </p:grpSpPr>
      <p:sp>
        <p:nvSpPr>
          <p:cNvPr id="388" name="Google Shape;388;p30"/>
          <p:cNvSpPr txBox="1">
            <a:spLocks noGrp="1"/>
          </p:cNvSpPr>
          <p:nvPr>
            <p:ph type="title"/>
          </p:nvPr>
        </p:nvSpPr>
        <p:spPr>
          <a:xfrm>
            <a:off x="1397800" y="431800"/>
            <a:ext cx="9396400" cy="6432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extLst>
      <p:ext uri="{BB962C8B-B14F-4D97-AF65-F5344CB8AC3E}">
        <p14:creationId xmlns:p14="http://schemas.microsoft.com/office/powerpoint/2010/main" val="28164639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3263CA4-42CB-AA4A-9FAE-F706C47A8902}" type="datetimeFigureOut">
              <a:rPr lang="en-US" smtClean="0"/>
              <a:t>2/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8B849D6-A2AF-EB40-A7CE-F623886AC525}" type="slidenum">
              <a:rPr lang="en-US" smtClean="0"/>
              <a:t>‹#›</a:t>
            </a:fld>
            <a:endParaRPr lang="en-US"/>
          </a:p>
        </p:txBody>
      </p:sp>
    </p:spTree>
    <p:extLst>
      <p:ext uri="{BB962C8B-B14F-4D97-AF65-F5344CB8AC3E}">
        <p14:creationId xmlns:p14="http://schemas.microsoft.com/office/powerpoint/2010/main" val="37311971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0398491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32632301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65619921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2" name="Rechteck 1">
            <a:extLst>
              <a:ext uri="{FF2B5EF4-FFF2-40B4-BE49-F238E27FC236}">
                <a16:creationId xmlns:a16="http://schemas.microsoft.com/office/drawing/2014/main" id="{C439C8AB-A397-3F8D-7426-ADB93F826C5B}"/>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6964585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2" name="Rechteck 1">
            <a:extLst>
              <a:ext uri="{FF2B5EF4-FFF2-40B4-BE49-F238E27FC236}">
                <a16:creationId xmlns:a16="http://schemas.microsoft.com/office/drawing/2014/main" id="{8EE83A5A-3D04-B9FC-4FCB-7ABB1FE24F79}"/>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08116637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2" name="Rechteck 1">
            <a:extLst>
              <a:ext uri="{FF2B5EF4-FFF2-40B4-BE49-F238E27FC236}">
                <a16:creationId xmlns:a16="http://schemas.microsoft.com/office/drawing/2014/main" id="{D27DDCD7-F246-E914-89D3-80D040D6142F}"/>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0297887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2" name="Rechteck 1">
            <a:extLst>
              <a:ext uri="{FF2B5EF4-FFF2-40B4-BE49-F238E27FC236}">
                <a16:creationId xmlns:a16="http://schemas.microsoft.com/office/drawing/2014/main" id="{19FBFAC5-EB27-CE0B-E074-5F476E5A7453}"/>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93266305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
        <p:nvSpPr>
          <p:cNvPr id="2" name="Rechteck 1">
            <a:extLst>
              <a:ext uri="{FF2B5EF4-FFF2-40B4-BE49-F238E27FC236}">
                <a16:creationId xmlns:a16="http://schemas.microsoft.com/office/drawing/2014/main" id="{A2F6F022-C5D1-A89E-718F-9FE8B3DE11A5}"/>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65701050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
        <p:nvSpPr>
          <p:cNvPr id="2" name="Rechteck 1">
            <a:extLst>
              <a:ext uri="{FF2B5EF4-FFF2-40B4-BE49-F238E27FC236}">
                <a16:creationId xmlns:a16="http://schemas.microsoft.com/office/drawing/2014/main" id="{A6DFBFB0-8BC1-DF1C-83FE-E0C68BDA8FF7}"/>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43072063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
        <p:nvSpPr>
          <p:cNvPr id="2" name="Rechteck 1">
            <a:extLst>
              <a:ext uri="{FF2B5EF4-FFF2-40B4-BE49-F238E27FC236}">
                <a16:creationId xmlns:a16="http://schemas.microsoft.com/office/drawing/2014/main" id="{B2838F10-29D4-6AD9-29CA-E65C7FE7BBCD}"/>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86070897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
        <p:nvSpPr>
          <p:cNvPr id="2" name="Rechteck 1">
            <a:extLst>
              <a:ext uri="{FF2B5EF4-FFF2-40B4-BE49-F238E27FC236}">
                <a16:creationId xmlns:a16="http://schemas.microsoft.com/office/drawing/2014/main" id="{5AF71835-C15C-7606-0A98-11E29F1F26A7}"/>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74352838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5818062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
        <p:nvSpPr>
          <p:cNvPr id="2" name="Rechteck 1">
            <a:extLst>
              <a:ext uri="{FF2B5EF4-FFF2-40B4-BE49-F238E27FC236}">
                <a16:creationId xmlns:a16="http://schemas.microsoft.com/office/drawing/2014/main" id="{F4379944-EDDC-65D1-4689-B3630139DAEE}"/>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55523044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 name="Rechteck 1">
            <a:extLst>
              <a:ext uri="{FF2B5EF4-FFF2-40B4-BE49-F238E27FC236}">
                <a16:creationId xmlns:a16="http://schemas.microsoft.com/office/drawing/2014/main" id="{74DBC328-BE55-AD7F-F699-227161C1D67D}"/>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57788420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 name="Rechteck 1">
            <a:extLst>
              <a:ext uri="{FF2B5EF4-FFF2-40B4-BE49-F238E27FC236}">
                <a16:creationId xmlns:a16="http://schemas.microsoft.com/office/drawing/2014/main" id="{DA27FE38-B153-21B4-E328-7C0218D5BE9A}"/>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86696445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hteck 1">
            <a:extLst>
              <a:ext uri="{FF2B5EF4-FFF2-40B4-BE49-F238E27FC236}">
                <a16:creationId xmlns:a16="http://schemas.microsoft.com/office/drawing/2014/main" id="{1B46C4B6-DD4F-DB43-6870-EE5A9E292A9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56304937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2" name="Rechteck 1">
            <a:extLst>
              <a:ext uri="{FF2B5EF4-FFF2-40B4-BE49-F238E27FC236}">
                <a16:creationId xmlns:a16="http://schemas.microsoft.com/office/drawing/2014/main" id="{1861F9F2-76C8-4F48-8268-83B650B0BBDB}"/>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291577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4" name="Rechteck 1">
            <a:extLst>
              <a:ext uri="{FF2B5EF4-FFF2-40B4-BE49-F238E27FC236}">
                <a16:creationId xmlns:a16="http://schemas.microsoft.com/office/drawing/2014/main" id="{37B7AC98-71D1-9CC2-2E9B-3A5B2918F58D}"/>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80234441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23341096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76649593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181347589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82878402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153915165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41704223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18730111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82404172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256802068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18442792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406300716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74361257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7103312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258463978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124871064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234761117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7560617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6036038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A303F-0B2C-0403-F77F-DF0E1A8D764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E04ECDF-7EE4-ECA9-681D-D07FC0CDD4A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9C79BD7-3991-11C4-C085-E569C1CC5A09}"/>
              </a:ext>
            </a:extLst>
          </p:cNvPr>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F4FE7491-1D59-7142-B33C-94FC9E427317}" type="datetimeFigureOut">
              <a:rPr kumimoji="0" lang="en-GB" sz="1800" b="0" i="0" u="none" strike="noStrike" kern="1200" cap="none" spc="0" normalizeH="0" baseline="0" noProof="0" smtClean="0">
                <a:ln>
                  <a:noFill/>
                </a:ln>
                <a:solidFill>
                  <a:srgbClr val="3A3A3F"/>
                </a:solidFill>
                <a:effectLst/>
                <a:uLnTx/>
                <a:uFillTx/>
                <a:latin typeface="Trebuchet M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4/02/2026</a:t>
            </a:fld>
            <a:endParaRPr kumimoji="0" lang="en-GB" sz="1800" b="0" i="0" u="none" strike="noStrike" kern="1200" cap="none" spc="0" normalizeH="0" baseline="0" noProof="0">
              <a:ln>
                <a:noFill/>
              </a:ln>
              <a:solidFill>
                <a:srgbClr val="3A3A3F"/>
              </a:solidFill>
              <a:effectLst/>
              <a:uLnTx/>
              <a:uFillTx/>
              <a:latin typeface="Trebuchet MS"/>
              <a:ea typeface="+mn-ea"/>
              <a:cs typeface="+mn-cs"/>
            </a:endParaRPr>
          </a:p>
        </p:txBody>
      </p:sp>
      <p:sp>
        <p:nvSpPr>
          <p:cNvPr id="5" name="Footer Placeholder 4">
            <a:extLst>
              <a:ext uri="{FF2B5EF4-FFF2-40B4-BE49-F238E27FC236}">
                <a16:creationId xmlns:a16="http://schemas.microsoft.com/office/drawing/2014/main" id="{307A419E-4DAB-59C0-5171-02A07A4CD66F}"/>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A3A3F"/>
              </a:solidFill>
              <a:effectLst/>
              <a:uLnTx/>
              <a:uFillTx/>
              <a:latin typeface="Trebuchet MS"/>
              <a:ea typeface="+mn-ea"/>
              <a:cs typeface="+mn-cs"/>
            </a:endParaRPr>
          </a:p>
        </p:txBody>
      </p:sp>
      <p:sp>
        <p:nvSpPr>
          <p:cNvPr id="6" name="Slide Number Placeholder 5">
            <a:extLst>
              <a:ext uri="{FF2B5EF4-FFF2-40B4-BE49-F238E27FC236}">
                <a16:creationId xmlns:a16="http://schemas.microsoft.com/office/drawing/2014/main" id="{BF95A6B1-44A7-4F88-C8F2-C60D0947E51E}"/>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8465C292-7068-8C47-B1B1-46E14A0068B4}" type="slidenum">
              <a:rPr kumimoji="0" lang="en-GB" sz="1800" b="0" i="0" u="none" strike="noStrike" kern="1200" cap="none" spc="0" normalizeH="0" baseline="0" noProof="0" smtClean="0">
                <a:ln>
                  <a:noFill/>
                </a:ln>
                <a:solidFill>
                  <a:srgbClr val="3A3A3F"/>
                </a:solidFill>
                <a:effectLst/>
                <a:uLnTx/>
                <a:uFillTx/>
                <a:latin typeface="Trebuchet M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3A3A3F"/>
              </a:solidFill>
              <a:effectLst/>
              <a:uLnTx/>
              <a:uFillTx/>
              <a:latin typeface="Trebuchet MS"/>
              <a:ea typeface="+mn-ea"/>
              <a:cs typeface="+mn-cs"/>
            </a:endParaRPr>
          </a:p>
        </p:txBody>
      </p:sp>
    </p:spTree>
    <p:extLst>
      <p:ext uri="{BB962C8B-B14F-4D97-AF65-F5344CB8AC3E}">
        <p14:creationId xmlns:p14="http://schemas.microsoft.com/office/powerpoint/2010/main" val="11658777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latin typeface="Calibri" panose="020F0502020204030204" pitchFamily="34" charset="0"/>
              <a:cs typeface="Calibri" panose="020F0502020204030204" pitchFamily="34" charset="0"/>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75175346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02959111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spTree>
    <p:extLst>
      <p:ext uri="{BB962C8B-B14F-4D97-AF65-F5344CB8AC3E}">
        <p14:creationId xmlns:p14="http://schemas.microsoft.com/office/powerpoint/2010/main" val="327148286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400009711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60269391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3699990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9149816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59864536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589608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2282160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73182975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232410476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318381540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09122576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7932373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54662946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143303889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take-aways</a:t>
            </a:r>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57421656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55283083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09201598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latin typeface="Calibri" panose="020F0502020204030204" pitchFamily="34" charset="0"/>
                <a:cs typeface="Calibri" panose="020F0502020204030204" pitchFamily="34" charset="0"/>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Calibri" panose="020F0502020204030204" pitchFamily="34" charset="0"/>
                <a:cs typeface="Calibri" panose="020F0502020204030204" pitchFamily="34" charset="0"/>
              </a:defRPr>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626619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noAutofit/>
          </a:bodyPr>
          <a:lstStyle>
            <a:lvl1pPr>
              <a:defRPr sz="1300">
                <a:latin typeface="Calibri" panose="020F0502020204030204" pitchFamily="34" charset="0"/>
                <a:cs typeface="Calibri" panose="020F0502020204030204" pitchFamily="34" charset="0"/>
              </a:defRPr>
            </a:lvl1pPr>
          </a:lstStyle>
          <a:p>
            <a:r>
              <a:rPr lang="en-US"/>
              <a:t>Click icon to add chart</a:t>
            </a:r>
            <a:endParaRPr lang="en-GB"/>
          </a:p>
        </p:txBody>
      </p:sp>
      <p:sp>
        <p:nvSpPr>
          <p:cNvPr id="18" name="Text Placeholder 8"/>
          <p:cNvSpPr>
            <a:spLocks noGrp="1"/>
          </p:cNvSpPr>
          <p:nvPr>
            <p:ph type="body" sz="quarter" idx="18"/>
          </p:nvPr>
        </p:nvSpPr>
        <p:spPr>
          <a:xfrm>
            <a:off x="501653" y="1674088"/>
            <a:ext cx="11188699" cy="357187"/>
          </a:xfrm>
        </p:spPr>
        <p:txBody>
          <a:bodyPr>
            <a:noAutofit/>
          </a:bodyPr>
          <a:lstStyle>
            <a:lvl1pPr>
              <a:defRPr sz="13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900">
                <a:latin typeface="Calibri" panose="020F0502020204030204" pitchFamily="34" charset="0"/>
                <a:cs typeface="Calibri" panose="020F0502020204030204" pitchFamily="34" charset="0"/>
              </a:defRPr>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334638383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lvl1pPr>
              <a:defRPr sz="1300">
                <a:latin typeface="Calibri" panose="020F0502020204030204" pitchFamily="34" charset="0"/>
                <a:cs typeface="Calibri" panose="020F0502020204030204" pitchFamily="34" charset="0"/>
              </a:defRPr>
            </a:lvl1pPr>
          </a:lstStyle>
          <a:p>
            <a:r>
              <a:rPr lang="en-US" noProof="0"/>
              <a:t>Click icon to add chart</a:t>
            </a:r>
          </a:p>
        </p:txBody>
      </p:sp>
      <p:sp>
        <p:nvSpPr>
          <p:cNvPr id="18" name="Text Placeholder 8"/>
          <p:cNvSpPr>
            <a:spLocks noGrp="1"/>
          </p:cNvSpPr>
          <p:nvPr>
            <p:ph type="body" sz="quarter" idx="18"/>
          </p:nvPr>
        </p:nvSpPr>
        <p:spPr>
          <a:xfrm>
            <a:off x="501651" y="1659145"/>
            <a:ext cx="3549549" cy="392112"/>
          </a:xfrm>
        </p:spPr>
        <p:txBody>
          <a:bodyPr>
            <a:noAutofit/>
          </a:bodyPr>
          <a:lstStyle>
            <a:lvl1pPr>
              <a:defRPr sz="13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7" name="Chart Placeholder 3"/>
          <p:cNvSpPr>
            <a:spLocks noGrp="1"/>
          </p:cNvSpPr>
          <p:nvPr>
            <p:ph type="chart" sz="quarter" idx="19"/>
          </p:nvPr>
        </p:nvSpPr>
        <p:spPr>
          <a:xfrm>
            <a:off x="4322402" y="2051999"/>
            <a:ext cx="3549549" cy="4069014"/>
          </a:xfrm>
          <a:prstGeom prst="rect">
            <a:avLst/>
          </a:prstGeom>
        </p:spPr>
        <p:txBody>
          <a:bodyPr>
            <a:noAutofit/>
          </a:bodyPr>
          <a:lstStyle>
            <a:lvl1pPr>
              <a:defRPr sz="1300">
                <a:latin typeface="Calibri" panose="020F0502020204030204" pitchFamily="34" charset="0"/>
                <a:cs typeface="Calibri" panose="020F0502020204030204" pitchFamily="34" charset="0"/>
              </a:defRPr>
            </a:lvl1pPr>
          </a:lstStyle>
          <a:p>
            <a:r>
              <a:rPr lang="en-US" noProof="0"/>
              <a:t>Click icon to add chart</a:t>
            </a:r>
          </a:p>
        </p:txBody>
      </p:sp>
      <p:sp>
        <p:nvSpPr>
          <p:cNvPr id="8" name="Text Placeholder 8"/>
          <p:cNvSpPr>
            <a:spLocks noGrp="1"/>
          </p:cNvSpPr>
          <p:nvPr>
            <p:ph type="body" sz="quarter" idx="20"/>
          </p:nvPr>
        </p:nvSpPr>
        <p:spPr>
          <a:xfrm>
            <a:off x="4321227" y="1659145"/>
            <a:ext cx="3549549" cy="392112"/>
          </a:xfrm>
        </p:spPr>
        <p:txBody>
          <a:bodyPr>
            <a:noAutofit/>
          </a:bodyPr>
          <a:lstStyle>
            <a:lvl1pPr>
              <a:defRPr sz="13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9" name="Chart Placeholder 3"/>
          <p:cNvSpPr>
            <a:spLocks noGrp="1"/>
          </p:cNvSpPr>
          <p:nvPr>
            <p:ph type="chart" sz="quarter" idx="21"/>
          </p:nvPr>
        </p:nvSpPr>
        <p:spPr>
          <a:xfrm>
            <a:off x="8140802" y="2051999"/>
            <a:ext cx="3549549" cy="4069014"/>
          </a:xfrm>
          <a:prstGeom prst="rect">
            <a:avLst/>
          </a:prstGeom>
        </p:spPr>
        <p:txBody>
          <a:bodyPr>
            <a:noAutofit/>
          </a:bodyPr>
          <a:lstStyle>
            <a:lvl1pPr>
              <a:defRPr sz="1300">
                <a:latin typeface="Calibri" panose="020F0502020204030204" pitchFamily="34" charset="0"/>
                <a:cs typeface="Calibri" panose="020F0502020204030204" pitchFamily="34" charset="0"/>
              </a:defRPr>
            </a:lvl1pPr>
          </a:lstStyle>
          <a:p>
            <a:r>
              <a:rPr lang="en-US" noProof="0"/>
              <a:t>Click icon to add chart</a:t>
            </a:r>
          </a:p>
        </p:txBody>
      </p:sp>
      <p:sp>
        <p:nvSpPr>
          <p:cNvPr id="10" name="Text Placeholder 8"/>
          <p:cNvSpPr>
            <a:spLocks noGrp="1"/>
          </p:cNvSpPr>
          <p:nvPr>
            <p:ph type="body" sz="quarter" idx="22"/>
          </p:nvPr>
        </p:nvSpPr>
        <p:spPr>
          <a:xfrm>
            <a:off x="8140802" y="1659145"/>
            <a:ext cx="3549549" cy="398256"/>
          </a:xfrm>
        </p:spPr>
        <p:txBody>
          <a:bodyPr>
            <a:noAutofit/>
          </a:bodyPr>
          <a:lstStyle>
            <a:lvl1pPr>
              <a:defRPr sz="13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12" name="Text Placeholder 7"/>
          <p:cNvSpPr>
            <a:spLocks noGrp="1"/>
          </p:cNvSpPr>
          <p:nvPr>
            <p:ph type="body" sz="quarter" idx="23"/>
          </p:nvPr>
        </p:nvSpPr>
        <p:spPr>
          <a:xfrm>
            <a:off x="501649" y="6121016"/>
            <a:ext cx="11165419" cy="260737"/>
          </a:xfrm>
        </p:spPr>
        <p:txBody>
          <a:bodyPr>
            <a:noAutofit/>
          </a:bodyPr>
          <a:lstStyle>
            <a:lvl1pPr>
              <a:spcAft>
                <a:spcPts val="0"/>
              </a:spcAft>
              <a:defRPr sz="9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97023068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latin typeface="Calibri" panose="020F0502020204030204" pitchFamily="34" charset="0"/>
                <a:cs typeface="Calibri" panose="020F0502020204030204" pitchFamily="34" charset="0"/>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331560"/>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
        <p:nvSpPr>
          <p:cNvPr id="10" name="Text Placeholder 18"/>
          <p:cNvSpPr>
            <a:spLocks noGrp="1"/>
          </p:cNvSpPr>
          <p:nvPr>
            <p:ph idx="1"/>
          </p:nvPr>
        </p:nvSpPr>
        <p:spPr>
          <a:xfrm>
            <a:off x="502920" y="1700213"/>
            <a:ext cx="11164147" cy="4681538"/>
          </a:xfrm>
          <a:prstGeom prst="rect">
            <a:avLst/>
          </a:prstGeom>
        </p:spPr>
        <p:txBody>
          <a:bodyPr vert="horz" lIns="0" tIns="0" rIns="0" bIns="0" rtlCol="0">
            <a:normAutofit/>
          </a:bodyPr>
          <a:lstStyle>
            <a:lvl1pPr>
              <a:defRPr sz="1300">
                <a:latin typeface="Calibri" panose="020F0502020204030204" pitchFamily="34" charset="0"/>
                <a:cs typeface="Calibri" panose="020F0502020204030204" pitchFamily="34" charset="0"/>
              </a:defRPr>
            </a:lvl1pPr>
            <a:lvl2pPr>
              <a:defRPr sz="1300">
                <a:latin typeface="Calibri" panose="020F0502020204030204" pitchFamily="34" charset="0"/>
                <a:cs typeface="Calibri" panose="020F0502020204030204" pitchFamily="34" charset="0"/>
              </a:defRPr>
            </a:lvl2pPr>
            <a:lvl3pPr>
              <a:defRPr sz="1300">
                <a:latin typeface="Calibri" panose="020F0502020204030204" pitchFamily="34" charset="0"/>
                <a:cs typeface="Calibri" panose="020F0502020204030204" pitchFamily="34" charset="0"/>
              </a:defRPr>
            </a:lvl3pPr>
            <a:lvl4pPr>
              <a:defRPr sz="1300">
                <a:latin typeface="Calibri" panose="020F0502020204030204" pitchFamily="34" charset="0"/>
                <a:cs typeface="Calibri" panose="020F0502020204030204" pitchFamily="34" charset="0"/>
              </a:defRPr>
            </a:lvl4pPr>
            <a:lvl5pPr>
              <a:defRPr sz="1300">
                <a:latin typeface="Calibri" panose="020F0502020204030204" pitchFamily="34" charset="0"/>
                <a:cs typeface="Calibri" panose="020F0502020204030204" pitchFamily="34" charset="0"/>
              </a:defRPr>
            </a:lvl5pPr>
            <a:lvl6pPr>
              <a:defRPr sz="1300">
                <a:latin typeface="Calibri" panose="020F0502020204030204" pitchFamily="34" charset="0"/>
                <a:cs typeface="Calibri" panose="020F0502020204030204" pitchFamily="34" charset="0"/>
              </a:defRPr>
            </a:lvl6pPr>
            <a:lvl7pPr>
              <a:defRPr sz="1300">
                <a:latin typeface="Calibri" panose="020F0502020204030204" pitchFamily="34" charset="0"/>
                <a:cs typeface="Calibri" panose="020F0502020204030204" pitchFamily="34" charset="0"/>
              </a:defRPr>
            </a:lvl7pPr>
            <a:lvl8pPr>
              <a:defRPr sz="1300">
                <a:latin typeface="Calibri" panose="020F0502020204030204" pitchFamily="34" charset="0"/>
                <a:cs typeface="Calibri" panose="020F0502020204030204" pitchFamily="34" charset="0"/>
              </a:defRPr>
            </a:lvl8pPr>
            <a:lvl9pPr>
              <a:defRPr sz="1300">
                <a:latin typeface="Calibri" panose="020F0502020204030204" pitchFamily="34" charset="0"/>
                <a:cs typeface="Calibri" panose="020F050202020403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450"/>
              </a:spcBef>
              <a:buSzPct val="100000"/>
              <a:buFont typeface="Arial"/>
              <a:buNone/>
            </a:pPr>
            <a:fld id="{C58DF478-B544-4ED8-9ED4-6A2648E2D233}" type="slidenum">
              <a:rPr lang="en-US" sz="488"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488"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77007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2" y="1665290"/>
            <a:ext cx="5305579" cy="4716461"/>
          </a:xfrm>
          <a:prstGeom prst="rect">
            <a:avLst/>
          </a:prstGeom>
        </p:spPr>
        <p:txBody>
          <a:bodyPr>
            <a:noAutofit/>
          </a:bodyPr>
          <a:lstStyle>
            <a:lvl1pPr marL="0" indent="0" algn="l">
              <a:buFontTx/>
              <a:buNone/>
              <a:tabLst>
                <a:tab pos="3771900" algn="r"/>
              </a:tabLst>
              <a:defRPr sz="1300">
                <a:latin typeface="Calibri" panose="020F0502020204030204" pitchFamily="34" charset="0"/>
                <a:cs typeface="Calibri" panose="020F0502020204030204" pitchFamily="34" charset="0"/>
              </a:defRPr>
            </a:lvl1pPr>
            <a:lvl2pPr marL="104775"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2pPr>
            <a:lvl3pPr marL="228600"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3pPr>
            <a:lvl4pPr marL="352425"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4pPr>
            <a:lvl5pPr marL="476250" indent="-104775" algn="l">
              <a:buClrTx/>
              <a:buSzPct val="100000"/>
              <a:buFont typeface="Arial" panose="020B0604020202020204" pitchFamily="34" charset="0"/>
              <a:buChar char="−"/>
              <a:tabLst>
                <a:tab pos="3771900" algn="r"/>
              </a:tabLst>
              <a:defRPr sz="130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40" y="1665290"/>
            <a:ext cx="5322781" cy="4716461"/>
          </a:xfrm>
          <a:prstGeom prst="rect">
            <a:avLst/>
          </a:prstGeom>
        </p:spPr>
        <p:txBody>
          <a:bodyPr>
            <a:noAutofit/>
          </a:bodyPr>
          <a:lstStyle>
            <a:lvl1pPr marL="0" indent="0" algn="l">
              <a:buFontTx/>
              <a:buNone/>
              <a:tabLst>
                <a:tab pos="3771900" algn="r"/>
              </a:tabLst>
              <a:defRPr sz="1300">
                <a:latin typeface="Calibri" panose="020F0502020204030204" pitchFamily="34" charset="0"/>
                <a:cs typeface="Calibri" panose="020F0502020204030204" pitchFamily="34" charset="0"/>
              </a:defRPr>
            </a:lvl1pPr>
            <a:lvl2pPr marL="104775"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2pPr>
            <a:lvl3pPr marL="228600"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3pPr>
            <a:lvl4pPr marL="352425" indent="-104775" algn="l">
              <a:buClrTx/>
              <a:buSzPct val="100000"/>
              <a:buFont typeface="Arial" panose="020B0604020202020204" pitchFamily="34" charset="0"/>
              <a:buChar char="◦"/>
              <a:tabLst>
                <a:tab pos="3771900" algn="r"/>
              </a:tabLst>
              <a:defRPr sz="1300">
                <a:latin typeface="Calibri" panose="020F0502020204030204" pitchFamily="34" charset="0"/>
                <a:cs typeface="Calibri" panose="020F0502020204030204" pitchFamily="34" charset="0"/>
              </a:defRPr>
            </a:lvl4pPr>
            <a:lvl5pPr marL="476250" indent="-104775" algn="l">
              <a:buClrTx/>
              <a:buSzPct val="100000"/>
              <a:buFont typeface="Arial" panose="020B0604020202020204" pitchFamily="34" charset="0"/>
              <a:buChar char="−"/>
              <a:tabLst>
                <a:tab pos="3771900" algn="r"/>
              </a:tabLst>
              <a:defRPr sz="130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353135906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219053072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359578445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 Black">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sz="2100">
                <a:solidFill>
                  <a:schemeClr val="tx1"/>
                </a:solidFill>
                <a:latin typeface="Calibri" panose="020F0502020204030204" pitchFamily="34" charset="0"/>
                <a:cs typeface="Calibri" panose="020F0502020204030204" pitchFamily="34" charset="0"/>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450"/>
              </a:spcBef>
              <a:buSzPct val="100000"/>
              <a:buFont typeface="Arial"/>
              <a:buNone/>
            </a:pPr>
            <a:fld id="{C58DF478-B544-4ED8-9ED4-6A2648E2D233}" type="slidenum">
              <a:rPr lang="en-US" sz="488"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488"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44247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latin typeface="Calibri" panose="020F0502020204030204" pitchFamily="34" charset="0"/>
                <a:cs typeface="Calibri" panose="020F0502020204030204" pitchFamily="34" charset="0"/>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sz="2100">
                <a:solidFill>
                  <a:schemeClr val="tx1"/>
                </a:solidFill>
                <a:latin typeface="Calibri" panose="020F0502020204030204" pitchFamily="34" charset="0"/>
                <a:cs typeface="Calibri" panose="020F0502020204030204" pitchFamily="34" charset="0"/>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450"/>
              </a:spcBef>
              <a:buSzPct val="100000"/>
              <a:buFont typeface="Arial"/>
              <a:buNone/>
            </a:pPr>
            <a:fld id="{C58DF478-B544-4ED8-9ED4-6A2648E2D233}" type="slidenum">
              <a:rPr lang="en-US" sz="488"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488"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51331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age without logo">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IE" smtClean="0"/>
              <a:pPr/>
              <a:t>‹#›</a:t>
            </a:fld>
            <a:endParaRPr lang="en-IE"/>
          </a:p>
        </p:txBody>
      </p:sp>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40866797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ENTSO-E cover">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909A6C70-AEE2-4209-B32F-485DE1E4E030}"/>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Presentation</a:t>
            </a:r>
            <a:br>
              <a:rPr lang="de-DE"/>
            </a:br>
            <a:r>
              <a:rPr lang="de-DE"/>
              <a:t>may expand over two lines, click to edit</a:t>
            </a:r>
          </a:p>
        </p:txBody>
      </p:sp>
      <p:sp>
        <p:nvSpPr>
          <p:cNvPr id="7" name="Textplatzhalter 7">
            <a:extLst>
              <a:ext uri="{FF2B5EF4-FFF2-40B4-BE49-F238E27FC236}">
                <a16:creationId xmlns:a16="http://schemas.microsoft.com/office/drawing/2014/main" id="{B3677969-4994-472E-9C37-1D009FED4502}"/>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click to edit. Change picture in View &gt; Slide Master &gt; Slide Master 1</a:t>
            </a:r>
          </a:p>
        </p:txBody>
      </p:sp>
      <p:sp>
        <p:nvSpPr>
          <p:cNvPr id="9" name="Rechteck 1">
            <a:extLst>
              <a:ext uri="{FF2B5EF4-FFF2-40B4-BE49-F238E27FC236}">
                <a16:creationId xmlns:a16="http://schemas.microsoft.com/office/drawing/2014/main" id="{F262D997-C2EB-4727-BCED-56D9698BCB32}"/>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03825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atin typeface="Calibri" panose="020F0502020204030204" pitchFamily="34" charset="0"/>
                <a:cs typeface="Calibri" panose="020F0502020204030204" pitchFamily="34" charset="0"/>
              </a:defRPr>
            </a:lvl1pPr>
            <a:lvl2pPr>
              <a:tabLst>
                <a:tab pos="8972326" algn="r"/>
              </a:tabLst>
              <a:defRPr>
                <a:latin typeface="Calibri" panose="020F0502020204030204" pitchFamily="34" charset="0"/>
                <a:cs typeface="Calibri" panose="020F0502020204030204" pitchFamily="34" charset="0"/>
              </a:defRPr>
            </a:lvl2pPr>
            <a:lvl3pPr>
              <a:tabLst>
                <a:tab pos="8972326" algn="r"/>
              </a:tabLst>
              <a:defRPr>
                <a:latin typeface="Calibri" panose="020F0502020204030204" pitchFamily="34" charset="0"/>
                <a:cs typeface="Calibri" panose="020F0502020204030204" pitchFamily="34" charset="0"/>
              </a:defRPr>
            </a:lvl3pPr>
            <a:lvl4pPr>
              <a:tabLst>
                <a:tab pos="8972326" algn="r"/>
              </a:tabLst>
              <a:defRPr>
                <a:latin typeface="Calibri" panose="020F0502020204030204" pitchFamily="34" charset="0"/>
                <a:cs typeface="Calibri" panose="020F0502020204030204" pitchFamily="34" charset="0"/>
              </a:defRPr>
            </a:lvl4pPr>
            <a:lvl5pPr>
              <a:tabLst>
                <a:tab pos="6705432" algn="r"/>
              </a:tabLst>
              <a:defRPr baseline="0">
                <a:latin typeface="Calibri" panose="020F0502020204030204" pitchFamily="34" charset="0"/>
                <a:cs typeface="Calibri" panose="020F0502020204030204" pitchFamily="34" charset="0"/>
              </a:defRPr>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err="1"/>
              <a:t>Click</a:t>
            </a:r>
            <a:r>
              <a:rPr lang="es-ES"/>
              <a:t> to </a:t>
            </a:r>
            <a:r>
              <a:rPr lang="es-ES" err="1"/>
              <a:t>edit</a:t>
            </a:r>
            <a:r>
              <a:rPr lang="es-ES"/>
              <a:t> Master </a:t>
            </a:r>
            <a:r>
              <a:rPr lang="es-ES" err="1"/>
              <a:t>text</a:t>
            </a:r>
            <a:r>
              <a:rPr lang="es-ES"/>
              <a:t> </a:t>
            </a:r>
            <a:r>
              <a:rPr lang="es-ES" err="1"/>
              <a:t>styles</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a:p>
            <a:pPr lvl="3"/>
            <a:r>
              <a:rPr lang="es-ES" err="1"/>
              <a:t>Fourth</a:t>
            </a:r>
            <a:r>
              <a:rPr lang="es-ES"/>
              <a:t> </a:t>
            </a:r>
            <a:r>
              <a:rPr lang="es-ES" err="1"/>
              <a:t>level</a:t>
            </a:r>
            <a:endParaRPr lang="es-ES"/>
          </a:p>
          <a:p>
            <a:pPr lvl="4"/>
            <a:r>
              <a:rPr lang="es-ES" err="1"/>
              <a:t>Fifth</a:t>
            </a:r>
            <a:r>
              <a:rPr lang="es-ES"/>
              <a:t> </a:t>
            </a:r>
            <a:r>
              <a:rPr lang="es-ES" err="1"/>
              <a:t>level</a:t>
            </a:r>
            <a:endParaRPr lang="en-US"/>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latin typeface="Calibri" panose="020F0502020204030204" pitchFamily="34" charset="0"/>
                <a:cs typeface="Calibri" panose="020F0502020204030204" pitchFamily="34" charset="0"/>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Calibri" panose="020F050202020403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313829828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latin typeface="Calibri" panose="020F0502020204030204" pitchFamily="34" charset="0"/>
                <a:cs typeface="Calibri" panose="020F050202020403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Calibri" panose="020F050202020403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358595830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0895986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그림 개체 틀 2">
            <a:extLst>
              <a:ext uri="{FF2B5EF4-FFF2-40B4-BE49-F238E27FC236}">
                <a16:creationId xmlns:a16="http://schemas.microsoft.com/office/drawing/2014/main" id="{552F5501-56F5-EBF7-EE1D-AE24C37867DB}"/>
              </a:ext>
            </a:extLst>
          </p:cNvPr>
          <p:cNvSpPr>
            <a:spLocks noGrp="1"/>
          </p:cNvSpPr>
          <p:nvPr>
            <p:ph type="pic" sz="quarter" idx="11" hasCustomPrompt="1"/>
          </p:nvPr>
        </p:nvSpPr>
        <p:spPr>
          <a:xfrm>
            <a:off x="0" y="1578149"/>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4" name="그림 개체 틀 2">
            <a:extLst>
              <a:ext uri="{FF2B5EF4-FFF2-40B4-BE49-F238E27FC236}">
                <a16:creationId xmlns:a16="http://schemas.microsoft.com/office/drawing/2014/main" id="{50F10F16-B19A-1E3D-CAB9-7CED280AB41D}"/>
              </a:ext>
            </a:extLst>
          </p:cNvPr>
          <p:cNvSpPr>
            <a:spLocks noGrp="1"/>
          </p:cNvSpPr>
          <p:nvPr>
            <p:ph type="pic" sz="quarter" idx="12" hasCustomPrompt="1"/>
          </p:nvPr>
        </p:nvSpPr>
        <p:spPr>
          <a:xfrm>
            <a:off x="2438700" y="3941782"/>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5" name="그림 개체 틀 2">
            <a:extLst>
              <a:ext uri="{FF2B5EF4-FFF2-40B4-BE49-F238E27FC236}">
                <a16:creationId xmlns:a16="http://schemas.microsoft.com/office/drawing/2014/main" id="{C6133594-BF75-B5E3-674F-44E84AF1D67A}"/>
              </a:ext>
            </a:extLst>
          </p:cNvPr>
          <p:cNvSpPr>
            <a:spLocks noGrp="1"/>
          </p:cNvSpPr>
          <p:nvPr>
            <p:ph type="pic" sz="quarter" idx="13" hasCustomPrompt="1"/>
          </p:nvPr>
        </p:nvSpPr>
        <p:spPr>
          <a:xfrm>
            <a:off x="4877400" y="1591729"/>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6" name="그림 개체 틀 2">
            <a:extLst>
              <a:ext uri="{FF2B5EF4-FFF2-40B4-BE49-F238E27FC236}">
                <a16:creationId xmlns:a16="http://schemas.microsoft.com/office/drawing/2014/main" id="{85377F7A-C493-CB0D-EE66-BD1938E9E158}"/>
              </a:ext>
            </a:extLst>
          </p:cNvPr>
          <p:cNvSpPr>
            <a:spLocks noGrp="1"/>
          </p:cNvSpPr>
          <p:nvPr>
            <p:ph type="pic" sz="quarter" idx="14" hasCustomPrompt="1"/>
          </p:nvPr>
        </p:nvSpPr>
        <p:spPr>
          <a:xfrm>
            <a:off x="7316100" y="3955362"/>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7" name="그림 개체 틀 2">
            <a:extLst>
              <a:ext uri="{FF2B5EF4-FFF2-40B4-BE49-F238E27FC236}">
                <a16:creationId xmlns:a16="http://schemas.microsoft.com/office/drawing/2014/main" id="{7D4DC1AF-A9B4-1BFC-0D24-34CE58EDDC7C}"/>
              </a:ext>
            </a:extLst>
          </p:cNvPr>
          <p:cNvSpPr>
            <a:spLocks noGrp="1"/>
          </p:cNvSpPr>
          <p:nvPr>
            <p:ph type="pic" sz="quarter" idx="15" hasCustomPrompt="1"/>
          </p:nvPr>
        </p:nvSpPr>
        <p:spPr>
          <a:xfrm>
            <a:off x="9754800" y="1578149"/>
            <a:ext cx="2437200" cy="2340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 And Send To Back</a:t>
            </a:r>
            <a:endParaRPr lang="ko-KR" altLang="en-US"/>
          </a:p>
        </p:txBody>
      </p:sp>
      <p:sp>
        <p:nvSpPr>
          <p:cNvPr id="8" name="Titel 5">
            <a:extLst>
              <a:ext uri="{FF2B5EF4-FFF2-40B4-BE49-F238E27FC236}">
                <a16:creationId xmlns:a16="http://schemas.microsoft.com/office/drawing/2014/main" id="{D995E6FD-2344-5A97-20A0-1B2D3A1000F0}"/>
              </a:ext>
            </a:extLst>
          </p:cNvPr>
          <p:cNvSpPr txBox="1">
            <a:spLocks/>
          </p:cNvSpPr>
          <p:nvPr userDrawn="1"/>
        </p:nvSpPr>
        <p:spPr>
          <a:xfrm>
            <a:off x="382588" y="462201"/>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endParaRPr lang="en-GB"/>
          </a:p>
        </p:txBody>
      </p:sp>
      <p:sp>
        <p:nvSpPr>
          <p:cNvPr id="9" name="Textplatzhalter 11">
            <a:extLst>
              <a:ext uri="{FF2B5EF4-FFF2-40B4-BE49-F238E27FC236}">
                <a16:creationId xmlns:a16="http://schemas.microsoft.com/office/drawing/2014/main" id="{65AE37CD-F014-8B3D-D3F8-7523F6BC60AA}"/>
              </a:ext>
            </a:extLst>
          </p:cNvPr>
          <p:cNvSpPr>
            <a:spLocks noGrp="1"/>
          </p:cNvSpPr>
          <p:nvPr>
            <p:ph type="body" sz="quarter" idx="16"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10" name="Rechteck 1">
            <a:extLst>
              <a:ext uri="{FF2B5EF4-FFF2-40B4-BE49-F238E27FC236}">
                <a16:creationId xmlns:a16="http://schemas.microsoft.com/office/drawing/2014/main" id="{FE54E39A-1250-DF09-18FD-00820275C838}"/>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latin typeface="Calibri" panose="020F0502020204030204" pitchFamily="34" charset="0"/>
              <a:cs typeface="Calibri" panose="020F0502020204030204" pitchFamily="34" charset="0"/>
            </a:endParaRPr>
          </a:p>
        </p:txBody>
      </p:sp>
      <p:sp>
        <p:nvSpPr>
          <p:cNvPr id="15" name="Titel 5">
            <a:extLst>
              <a:ext uri="{FF2B5EF4-FFF2-40B4-BE49-F238E27FC236}">
                <a16:creationId xmlns:a16="http://schemas.microsoft.com/office/drawing/2014/main" id="{668B3964-79E4-4430-E042-908C14619F4A}"/>
              </a:ext>
            </a:extLst>
          </p:cNvPr>
          <p:cNvSpPr>
            <a:spLocks noGrp="1"/>
          </p:cNvSpPr>
          <p:nvPr>
            <p:ph type="title" hasCustomPrompt="1"/>
          </p:nvPr>
        </p:nvSpPr>
        <p:spPr>
          <a:xfrm>
            <a:off x="382588" y="50641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spTree>
    <p:extLst>
      <p:ext uri="{BB962C8B-B14F-4D97-AF65-F5344CB8AC3E}">
        <p14:creationId xmlns:p14="http://schemas.microsoft.com/office/powerpoint/2010/main" val="161572301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latin typeface="Calibri" panose="020F0502020204030204" pitchFamily="34" charset="0"/>
                <a:cs typeface="Calibri" panose="020F050202020403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latin typeface="Calibri" panose="020F0502020204030204" pitchFamily="34" charset="0"/>
                <a:cs typeface="Calibri" panose="020F0502020204030204" pitchFamily="34" charset="0"/>
              </a:rPr>
              <a:t>© 2019 Deloitte Belgium</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latin typeface="Calibri" panose="020F0502020204030204" pitchFamily="34" charset="0"/>
                <a:cs typeface="Calibri" panose="020F0502020204030204" pitchFamily="34" charset="0"/>
              </a:rPr>
              <a:pPr marL="0" indent="0" algn="r">
                <a:spcBef>
                  <a:spcPts val="800"/>
                </a:spcBef>
                <a:buSzPct val="100000"/>
                <a:buFont typeface="Arial"/>
                <a:buNone/>
              </a:pPr>
              <a:t>‹#›</a:t>
            </a:fld>
            <a:endParaRPr lang="en-US" sz="65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514107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latin typeface="Calibri" panose="020F0502020204030204" pitchFamily="34" charset="0"/>
                <a:cs typeface="Calibri" panose="020F0502020204030204" pitchFamily="34" charset="0"/>
              </a:rPr>
              <a:t>© 2019 Deloitte Belgium</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latin typeface="Calibri" panose="020F0502020204030204" pitchFamily="34" charset="0"/>
                <a:cs typeface="Calibri" panose="020F0502020204030204" pitchFamily="34" charset="0"/>
              </a:rPr>
              <a:pPr marL="0" indent="0" algn="r">
                <a:spcBef>
                  <a:spcPts val="800"/>
                </a:spcBef>
                <a:buSzPct val="100000"/>
                <a:buFont typeface="Arial"/>
                <a:buNone/>
              </a:pPr>
              <a:t>‹#›</a:t>
            </a:fld>
            <a:endParaRPr lang="en-US" sz="650" noProof="0">
              <a:solidFill>
                <a:schemeClr val="bg1"/>
              </a:solidFill>
              <a:latin typeface="Calibri" panose="020F0502020204030204" pitchFamily="34" charset="0"/>
              <a:cs typeface="Calibri" panose="020F0502020204030204" pitchFamily="34" charset="0"/>
            </a:endParaRP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latin typeface="Calibri" panose="020F050202020403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24003228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1A6E9C-CF50-4E1D-9EA6-2439B8211F26}"/>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A64DEB54-9B2B-4D7A-97CE-606F25712A17}"/>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60708E7-0EA7-4DF2-A202-7E8CB393ECB9}"/>
              </a:ext>
            </a:extLst>
          </p:cNvPr>
          <p:cNvSpPr>
            <a:spLocks noGrp="1"/>
          </p:cNvSpPr>
          <p:nvPr>
            <p:ph type="sldNum" sz="quarter" idx="12"/>
          </p:nvPr>
        </p:nvSpPr>
        <p:spPr/>
        <p:txBody>
          <a:bodyPr/>
          <a:lstStyle/>
          <a:p>
            <a:endParaRPr lang="en-IN"/>
          </a:p>
        </p:txBody>
      </p:sp>
    </p:spTree>
    <p:extLst>
      <p:ext uri="{BB962C8B-B14F-4D97-AF65-F5344CB8AC3E}">
        <p14:creationId xmlns:p14="http://schemas.microsoft.com/office/powerpoint/2010/main" val="131055093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PPTMON custom">
    <p:spTree>
      <p:nvGrpSpPr>
        <p:cNvPr id="1" name=""/>
        <p:cNvGrpSpPr/>
        <p:nvPr/>
      </p:nvGrpSpPr>
      <p:grpSpPr>
        <a:xfrm>
          <a:off x="0" y="0"/>
          <a:ext cx="0" cy="0"/>
          <a:chOff x="0" y="0"/>
          <a:chExt cx="0" cy="0"/>
        </a:xfrm>
      </p:grpSpPr>
      <p:pic>
        <p:nvPicPr>
          <p:cNvPr id="6" name="Graphic 3">
            <a:hlinkClick r:id="rId2"/>
            <a:extLst>
              <a:ext uri="{FF2B5EF4-FFF2-40B4-BE49-F238E27FC236}">
                <a16:creationId xmlns:a16="http://schemas.microsoft.com/office/drawing/2014/main" id="{66F9FD08-7A54-49E6-BCDF-512A735D09D7}"/>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29909"/>
          <a:stretch/>
        </p:blipFill>
        <p:spPr>
          <a:xfrm>
            <a:off x="6024563" y="7063924"/>
            <a:ext cx="1732461" cy="190500"/>
          </a:xfrm>
          <a:prstGeom prst="rect">
            <a:avLst/>
          </a:prstGeom>
        </p:spPr>
      </p:pic>
      <p:sp>
        <p:nvSpPr>
          <p:cNvPr id="7" name="TextBox 6">
            <a:hlinkClick r:id="rId5"/>
            <a:extLst>
              <a:ext uri="{FF2B5EF4-FFF2-40B4-BE49-F238E27FC236}">
                <a16:creationId xmlns:a16="http://schemas.microsoft.com/office/drawing/2014/main" id="{5E4DD229-6A00-435F-965C-FFDE1D906637}"/>
              </a:ext>
            </a:extLst>
          </p:cNvPr>
          <p:cNvSpPr txBox="1"/>
          <p:nvPr userDrawn="1"/>
        </p:nvSpPr>
        <p:spPr>
          <a:xfrm>
            <a:off x="4434976" y="7063924"/>
            <a:ext cx="2690631" cy="246221"/>
          </a:xfrm>
          <a:prstGeom prst="rect">
            <a:avLst/>
          </a:prstGeom>
          <a:noFill/>
        </p:spPr>
        <p:txBody>
          <a:bodyPr wrap="square" rtlCol="0">
            <a:spAutoFit/>
          </a:bodyPr>
          <a:lstStyle/>
          <a:p>
            <a:r>
              <a:rPr lang="en-US" altLang="ko-KR" sz="1000" u="none">
                <a:latin typeface="Arial" panose="020B0604020202020204" pitchFamily="34" charset="0"/>
                <a:cs typeface="Arial" panose="020B0604020202020204" pitchFamily="34" charset="0"/>
                <a:hlinkClick r:id="rId6"/>
              </a:rPr>
              <a:t>Presentation template by</a:t>
            </a:r>
            <a:endParaRPr lang="ko-KR" altLang="en-US" sz="1000" u="none">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169286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5_ENTSO-E Chapter Cover Page">
    <p:spTree>
      <p:nvGrpSpPr>
        <p:cNvPr id="1" name=""/>
        <p:cNvGrpSpPr/>
        <p:nvPr/>
      </p:nvGrpSpPr>
      <p:grpSpPr>
        <a:xfrm>
          <a:off x="0" y="0"/>
          <a:ext cx="0" cy="0"/>
          <a:chOff x="0" y="0"/>
          <a:chExt cx="0" cy="0"/>
        </a:xfrm>
      </p:grpSpPr>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2" name="Titel 5">
            <a:extLst>
              <a:ext uri="{FF2B5EF4-FFF2-40B4-BE49-F238E27FC236}">
                <a16:creationId xmlns:a16="http://schemas.microsoft.com/office/drawing/2014/main" id="{5C10FB04-B0D1-C8F5-44A8-3EE47C0AC19D}"/>
              </a:ext>
            </a:extLst>
          </p:cNvPr>
          <p:cNvSpPr txBox="1">
            <a:spLocks/>
          </p:cNvSpPr>
          <p:nvPr userDrawn="1"/>
        </p:nvSpPr>
        <p:spPr>
          <a:xfrm>
            <a:off x="382588" y="506413"/>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a:t>Click here to edit Headline 1</a:t>
            </a:r>
          </a:p>
        </p:txBody>
      </p:sp>
    </p:spTree>
    <p:extLst>
      <p:ext uri="{BB962C8B-B14F-4D97-AF65-F5344CB8AC3E}">
        <p14:creationId xmlns:p14="http://schemas.microsoft.com/office/powerpoint/2010/main" val="251451204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13315217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5999"/>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1" indent="0" algn="ctr">
              <a:buNone/>
              <a:defRPr sz="2000"/>
            </a:lvl2pPr>
            <a:lvl3pPr marL="914361" indent="0" algn="ctr">
              <a:buNone/>
              <a:defRPr sz="1800"/>
            </a:lvl3pPr>
            <a:lvl4pPr marL="1371543" indent="0" algn="ctr">
              <a:buNone/>
              <a:defRPr sz="1600"/>
            </a:lvl4pPr>
            <a:lvl5pPr marL="1828724" indent="0" algn="ctr">
              <a:buNone/>
              <a:defRPr sz="1600"/>
            </a:lvl5pPr>
            <a:lvl6pPr marL="2285904" indent="0" algn="ctr">
              <a:buNone/>
              <a:defRPr sz="1600"/>
            </a:lvl6pPr>
            <a:lvl7pPr marL="2743085" indent="0" algn="ctr">
              <a:buNone/>
              <a:defRPr sz="1600"/>
            </a:lvl7pPr>
            <a:lvl8pPr marL="3200266" indent="0" algn="ctr">
              <a:buNone/>
              <a:defRPr sz="1600"/>
            </a:lvl8pPr>
            <a:lvl9pPr marL="3657447" indent="0" algn="ctr">
              <a:buNone/>
              <a:defRPr sz="1600"/>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67A9E681-BDDA-4F33-AD6F-CFF02C54A1EF}" type="datetimeFigureOut">
              <a:rPr lang="en-GB" smtClean="0"/>
              <a:t>24/02/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653E78F-0D21-4112-BA24-1E0537A67F53}" type="slidenum">
              <a:rPr lang="en-GB" smtClean="0"/>
              <a:t>‹#›</a:t>
            </a:fld>
            <a:endParaRPr lang="en-GB"/>
          </a:p>
        </p:txBody>
      </p:sp>
    </p:spTree>
    <p:extLst>
      <p:ext uri="{BB962C8B-B14F-4D97-AF65-F5344CB8AC3E}">
        <p14:creationId xmlns:p14="http://schemas.microsoft.com/office/powerpoint/2010/main" val="103396130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PTMON slide">
    <p:spTree>
      <p:nvGrpSpPr>
        <p:cNvPr id="1" name=""/>
        <p:cNvGrpSpPr/>
        <p:nvPr/>
      </p:nvGrpSpPr>
      <p:grpSpPr>
        <a:xfrm>
          <a:off x="0" y="0"/>
          <a:ext cx="0" cy="0"/>
          <a:chOff x="0" y="0"/>
          <a:chExt cx="0" cy="0"/>
        </a:xfrm>
      </p:grpSpPr>
      <p:pic>
        <p:nvPicPr>
          <p:cNvPr id="6" name="Graphic 3">
            <a:hlinkClick r:id="rId2"/>
            <a:extLst>
              <a:ext uri="{FF2B5EF4-FFF2-40B4-BE49-F238E27FC236}">
                <a16:creationId xmlns:a16="http://schemas.microsoft.com/office/drawing/2014/main" id="{D83ABAC0-8A5B-4EA8-8D97-A09025351967}"/>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29909"/>
          <a:stretch/>
        </p:blipFill>
        <p:spPr>
          <a:xfrm>
            <a:off x="6024563" y="7063924"/>
            <a:ext cx="1732461" cy="190500"/>
          </a:xfrm>
          <a:prstGeom prst="rect">
            <a:avLst/>
          </a:prstGeom>
        </p:spPr>
      </p:pic>
      <p:sp>
        <p:nvSpPr>
          <p:cNvPr id="7" name="TextBox 6">
            <a:hlinkClick r:id="rId5"/>
            <a:extLst>
              <a:ext uri="{FF2B5EF4-FFF2-40B4-BE49-F238E27FC236}">
                <a16:creationId xmlns:a16="http://schemas.microsoft.com/office/drawing/2014/main" id="{610121FC-FA0B-4D0D-9E60-9E5042A6CCA8}"/>
              </a:ext>
            </a:extLst>
          </p:cNvPr>
          <p:cNvSpPr txBox="1"/>
          <p:nvPr userDrawn="1"/>
        </p:nvSpPr>
        <p:spPr>
          <a:xfrm>
            <a:off x="4434976" y="7063924"/>
            <a:ext cx="2690631" cy="246221"/>
          </a:xfrm>
          <a:prstGeom prst="rect">
            <a:avLst/>
          </a:prstGeom>
          <a:noFill/>
        </p:spPr>
        <p:txBody>
          <a:bodyPr wrap="square" rtlCol="0">
            <a:spAutoFit/>
          </a:bodyPr>
          <a:lstStyle/>
          <a:p>
            <a:r>
              <a:rPr lang="en-US" altLang="ko-KR" sz="1000" u="none">
                <a:latin typeface="Arial" panose="020B0604020202020204" pitchFamily="34" charset="0"/>
                <a:cs typeface="Arial" panose="020B0604020202020204" pitchFamily="34" charset="0"/>
                <a:hlinkClick r:id="rId6"/>
              </a:rPr>
              <a:t>Presentation template by</a:t>
            </a:r>
            <a:endParaRPr lang="ko-KR" altLang="en-US" sz="1000" u="none">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79026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46022624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87"/>
        <p:cNvGrpSpPr/>
        <p:nvPr/>
      </p:nvGrpSpPr>
      <p:grpSpPr>
        <a:xfrm>
          <a:off x="0" y="0"/>
          <a:ext cx="0" cy="0"/>
          <a:chOff x="0" y="0"/>
          <a:chExt cx="0" cy="0"/>
        </a:xfrm>
      </p:grpSpPr>
      <p:sp>
        <p:nvSpPr>
          <p:cNvPr id="388" name="Google Shape;388;p30"/>
          <p:cNvSpPr txBox="1">
            <a:spLocks noGrp="1"/>
          </p:cNvSpPr>
          <p:nvPr>
            <p:ph type="title"/>
          </p:nvPr>
        </p:nvSpPr>
        <p:spPr>
          <a:xfrm>
            <a:off x="1397800" y="431800"/>
            <a:ext cx="9396400" cy="6432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extLst>
      <p:ext uri="{BB962C8B-B14F-4D97-AF65-F5344CB8AC3E}">
        <p14:creationId xmlns:p14="http://schemas.microsoft.com/office/powerpoint/2010/main" val="222498540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3263CA4-42CB-AA4A-9FAE-F706C47A8902}" type="datetimeFigureOut">
              <a:rPr lang="en-US" smtClean="0"/>
              <a:t>2/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8B849D6-A2AF-EB40-A7CE-F623886AC525}" type="slidenum">
              <a:rPr lang="en-US" smtClean="0"/>
              <a:t>‹#›</a:t>
            </a:fld>
            <a:endParaRPr lang="en-US"/>
          </a:p>
        </p:txBody>
      </p:sp>
    </p:spTree>
    <p:extLst>
      <p:ext uri="{BB962C8B-B14F-4D97-AF65-F5344CB8AC3E}">
        <p14:creationId xmlns:p14="http://schemas.microsoft.com/office/powerpoint/2010/main" val="1366206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GB" noProof="0"/>
              <a:t>Click to edit Master title style</a:t>
            </a:r>
          </a:p>
        </p:txBody>
      </p:sp>
      <p:sp>
        <p:nvSpPr>
          <p:cNvPr id="3" name="Content Placeholder 2"/>
          <p:cNvSpPr>
            <a:spLocks noGrp="1"/>
          </p:cNvSpPr>
          <p:nvPr>
            <p:ph sz="half" idx="1"/>
          </p:nvPr>
        </p:nvSpPr>
        <p:spPr>
          <a:xfrm>
            <a:off x="1295400" y="1981199"/>
            <a:ext cx="4572000" cy="3810001"/>
          </a:xfrm>
        </p:spPr>
        <p:txBody>
          <a:bodyPr rtlCol="0">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rtl="0"/>
            <a:r>
              <a:rPr lang="en-GB" noProof="0"/>
              <a:t>Click to edit Master text styles</a:t>
            </a:r>
          </a:p>
          <a:p>
            <a:pPr lvl="1" rtl="0"/>
            <a:r>
              <a:rPr lang="en-GB" noProof="0"/>
              <a:t>Second level</a:t>
            </a:r>
          </a:p>
          <a:p>
            <a:pPr lvl="2" rtl="0"/>
            <a:r>
              <a:rPr lang="en-GB" noProof="0"/>
              <a:t>Third level</a:t>
            </a:r>
          </a:p>
          <a:p>
            <a:pPr lvl="3" rtl="0"/>
            <a:r>
              <a:rPr lang="en-GB" noProof="0"/>
              <a:t>Fourth level</a:t>
            </a:r>
          </a:p>
          <a:p>
            <a:pPr lvl="4" rtl="0"/>
            <a:r>
              <a:rPr lang="en-GB" noProof="0"/>
              <a:t>Fifth level</a:t>
            </a:r>
          </a:p>
        </p:txBody>
      </p:sp>
      <p:sp>
        <p:nvSpPr>
          <p:cNvPr id="4" name="Content Placeholder 3"/>
          <p:cNvSpPr>
            <a:spLocks noGrp="1"/>
          </p:cNvSpPr>
          <p:nvPr>
            <p:ph sz="half" idx="2"/>
          </p:nvPr>
        </p:nvSpPr>
        <p:spPr>
          <a:xfrm>
            <a:off x="6324600" y="1981199"/>
            <a:ext cx="4572000" cy="3810001"/>
          </a:xfrm>
        </p:spPr>
        <p:txBody>
          <a:bodyPr rtlCol="0">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rtl="0"/>
            <a:r>
              <a:rPr lang="en-GB" noProof="0"/>
              <a:t>Click to edit Master text styles</a:t>
            </a:r>
          </a:p>
          <a:p>
            <a:pPr lvl="1" rtl="0"/>
            <a:r>
              <a:rPr lang="en-GB" noProof="0"/>
              <a:t>Second level</a:t>
            </a:r>
          </a:p>
          <a:p>
            <a:pPr lvl="2" rtl="0"/>
            <a:r>
              <a:rPr lang="en-GB" noProof="0"/>
              <a:t>Third level</a:t>
            </a:r>
          </a:p>
          <a:p>
            <a:pPr lvl="3" rtl="0"/>
            <a:r>
              <a:rPr lang="en-GB" noProof="0"/>
              <a:t>Fourth level</a:t>
            </a:r>
          </a:p>
          <a:p>
            <a:pPr lvl="4" rtl="0"/>
            <a:r>
              <a:rPr lang="en-GB" noProof="0"/>
              <a:t>Fifth level</a:t>
            </a:r>
          </a:p>
        </p:txBody>
      </p:sp>
      <p:sp>
        <p:nvSpPr>
          <p:cNvPr id="6" name="Footer Placeholder 5"/>
          <p:cNvSpPr>
            <a:spLocks noGrp="1"/>
          </p:cNvSpPr>
          <p:nvPr>
            <p:ph type="ftr" sz="quarter" idx="11"/>
          </p:nvPr>
        </p:nvSpPr>
        <p:spPr/>
        <p:txBody>
          <a:bodyPr rtlCol="0"/>
          <a:lstStyle/>
          <a:p>
            <a:pPr rtl="0"/>
            <a:r>
              <a:rPr lang="en-GB" noProof="0"/>
              <a:t>Add a footer</a:t>
            </a:r>
          </a:p>
        </p:txBody>
      </p:sp>
      <p:sp>
        <p:nvSpPr>
          <p:cNvPr id="5" name="Date Placeholder 4"/>
          <p:cNvSpPr>
            <a:spLocks noGrp="1"/>
          </p:cNvSpPr>
          <p:nvPr>
            <p:ph type="dt" sz="half" idx="10"/>
          </p:nvPr>
        </p:nvSpPr>
        <p:spPr/>
        <p:txBody>
          <a:bodyPr rtlCol="0"/>
          <a:lstStyle/>
          <a:p>
            <a:pPr rtl="0"/>
            <a:fld id="{A0661BDB-A2FD-4DEF-9FF6-908781676B2F}" type="datetime1">
              <a:rPr lang="en-GB" noProof="0" smtClean="0"/>
              <a:t>24/02/2026</a:t>
            </a:fld>
            <a:endParaRPr lang="en-GB" noProof="0"/>
          </a:p>
        </p:txBody>
      </p:sp>
      <p:sp>
        <p:nvSpPr>
          <p:cNvPr id="7" name="Slide Number Placeholder 6"/>
          <p:cNvSpPr>
            <a:spLocks noGrp="1"/>
          </p:cNvSpPr>
          <p:nvPr>
            <p:ph type="sldNum" sz="quarter" idx="12"/>
          </p:nvPr>
        </p:nvSpPr>
        <p:spPr/>
        <p:txBody>
          <a:bodyPr rtlCol="0"/>
          <a:lstStyle/>
          <a:p>
            <a:pPr rtl="0"/>
            <a:fld id="{E31375A4-56A4-47D6-9801-1991572033F7}" type="slidenum">
              <a:rPr lang="en-GB" noProof="0" smtClean="0"/>
              <a:t>‹#›</a:t>
            </a:fld>
            <a:endParaRPr lang="en-GB" noProof="0"/>
          </a:p>
        </p:txBody>
      </p:sp>
    </p:spTree>
    <p:extLst>
      <p:ext uri="{BB962C8B-B14F-4D97-AF65-F5344CB8AC3E}">
        <p14:creationId xmlns:p14="http://schemas.microsoft.com/office/powerpoint/2010/main" val="1359398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GB" noProof="0"/>
              <a:t>Click to edit Master title style</a:t>
            </a:r>
          </a:p>
        </p:txBody>
      </p:sp>
      <p:sp>
        <p:nvSpPr>
          <p:cNvPr id="3" name="Content Placeholder 2"/>
          <p:cNvSpPr>
            <a:spLocks noGrp="1"/>
          </p:cNvSpPr>
          <p:nvPr>
            <p:ph idx="1"/>
          </p:nvPr>
        </p:nvSpPr>
        <p:spPr/>
        <p:txBody>
          <a:bodyPr rtlCol="0"/>
          <a:lstStyle/>
          <a:p>
            <a:pPr lvl="0" rtl="0"/>
            <a:r>
              <a:rPr lang="en-GB" noProof="0"/>
              <a:t>Click to edit Master text styles</a:t>
            </a:r>
          </a:p>
          <a:p>
            <a:pPr lvl="1" rtl="0"/>
            <a:r>
              <a:rPr lang="en-GB" noProof="0"/>
              <a:t>Second level</a:t>
            </a:r>
          </a:p>
          <a:p>
            <a:pPr lvl="2" rtl="0"/>
            <a:r>
              <a:rPr lang="en-GB" noProof="0"/>
              <a:t>Third level</a:t>
            </a:r>
          </a:p>
          <a:p>
            <a:pPr lvl="3" rtl="0"/>
            <a:r>
              <a:rPr lang="en-GB" noProof="0"/>
              <a:t>Fourth level</a:t>
            </a:r>
          </a:p>
          <a:p>
            <a:pPr lvl="4" rtl="0"/>
            <a:r>
              <a:rPr lang="en-GB" noProof="0"/>
              <a:t>Fifth level</a:t>
            </a:r>
          </a:p>
        </p:txBody>
      </p:sp>
      <p:sp>
        <p:nvSpPr>
          <p:cNvPr id="5" name="Footer Placeholder 4"/>
          <p:cNvSpPr>
            <a:spLocks noGrp="1"/>
          </p:cNvSpPr>
          <p:nvPr>
            <p:ph type="ftr" sz="quarter" idx="11"/>
          </p:nvPr>
        </p:nvSpPr>
        <p:spPr/>
        <p:txBody>
          <a:bodyPr rtlCol="0"/>
          <a:lstStyle/>
          <a:p>
            <a:pPr rtl="0"/>
            <a:r>
              <a:rPr lang="en-GB" noProof="0"/>
              <a:t>Add a footer</a:t>
            </a:r>
          </a:p>
        </p:txBody>
      </p:sp>
      <p:sp>
        <p:nvSpPr>
          <p:cNvPr id="4" name="Date Placeholder 3"/>
          <p:cNvSpPr>
            <a:spLocks noGrp="1"/>
          </p:cNvSpPr>
          <p:nvPr>
            <p:ph type="dt" sz="half" idx="10"/>
          </p:nvPr>
        </p:nvSpPr>
        <p:spPr/>
        <p:txBody>
          <a:bodyPr rtlCol="0"/>
          <a:lstStyle/>
          <a:p>
            <a:pPr rtl="0"/>
            <a:fld id="{185B52C2-8174-4B77-B962-64ECC9EDC3E6}" type="datetime1">
              <a:rPr lang="en-GB" noProof="0" smtClean="0"/>
              <a:t>24/02/2026</a:t>
            </a:fld>
            <a:endParaRPr lang="en-GB" noProof="0"/>
          </a:p>
        </p:txBody>
      </p:sp>
      <p:sp>
        <p:nvSpPr>
          <p:cNvPr id="6" name="Slide Number Placeholder 5"/>
          <p:cNvSpPr>
            <a:spLocks noGrp="1"/>
          </p:cNvSpPr>
          <p:nvPr>
            <p:ph type="sldNum" sz="quarter" idx="12"/>
          </p:nvPr>
        </p:nvSpPr>
        <p:spPr/>
        <p:txBody>
          <a:bodyPr rtlCol="0"/>
          <a:lstStyle/>
          <a:p>
            <a:pPr rtl="0"/>
            <a:fld id="{E31375A4-56A4-47D6-9801-1991572033F7}" type="slidenum">
              <a:rPr lang="en-GB" noProof="0" smtClean="0"/>
              <a:t>‹#›</a:t>
            </a:fld>
            <a:endParaRPr lang="en-GB" noProof="0"/>
          </a:p>
        </p:txBody>
      </p:sp>
    </p:spTree>
    <p:extLst>
      <p:ext uri="{BB962C8B-B14F-4D97-AF65-F5344CB8AC3E}">
        <p14:creationId xmlns:p14="http://schemas.microsoft.com/office/powerpoint/2010/main" val="298130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GB" noProof="0"/>
              <a:t>Click to edit Master title style</a:t>
            </a:r>
          </a:p>
        </p:txBody>
      </p:sp>
      <p:sp>
        <p:nvSpPr>
          <p:cNvPr id="3" name="Text Placeholder 2"/>
          <p:cNvSpPr>
            <a:spLocks noGrp="1"/>
          </p:cNvSpPr>
          <p:nvPr>
            <p:ph type="body" idx="1"/>
          </p:nvPr>
        </p:nvSpPr>
        <p:spPr>
          <a:xfrm>
            <a:off x="1295400" y="1818322"/>
            <a:ext cx="4572000" cy="641350"/>
          </a:xfrm>
        </p:spPr>
        <p:txBody>
          <a:bodyPr rtlCol="0" anchor="ctr">
            <a:normAutofit/>
          </a:bodyPr>
          <a:lstStyle>
            <a:lvl1pPr marL="0" indent="0">
              <a:spcBef>
                <a:spcPts val="0"/>
              </a:spcBef>
              <a:buNone/>
              <a:defRPr sz="20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GB" noProof="0"/>
              <a:t>Click to edit Master text styles</a:t>
            </a:r>
          </a:p>
        </p:txBody>
      </p:sp>
      <p:sp>
        <p:nvSpPr>
          <p:cNvPr id="4" name="Content Placeholder 3"/>
          <p:cNvSpPr>
            <a:spLocks noGrp="1"/>
          </p:cNvSpPr>
          <p:nvPr>
            <p:ph sz="half" idx="2"/>
          </p:nvPr>
        </p:nvSpPr>
        <p:spPr>
          <a:xfrm>
            <a:off x="1295400" y="2503713"/>
            <a:ext cx="4572000" cy="3287487"/>
          </a:xfrm>
        </p:spPr>
        <p:txBody>
          <a:bodyPr rtlCol="0">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rtl="0"/>
            <a:r>
              <a:rPr lang="en-GB" noProof="0"/>
              <a:t>Click to edit Master text styles</a:t>
            </a:r>
          </a:p>
          <a:p>
            <a:pPr lvl="1" rtl="0"/>
            <a:r>
              <a:rPr lang="en-GB" noProof="0"/>
              <a:t>Second level</a:t>
            </a:r>
          </a:p>
          <a:p>
            <a:pPr lvl="2" rtl="0"/>
            <a:r>
              <a:rPr lang="en-GB" noProof="0"/>
              <a:t>Third level</a:t>
            </a:r>
          </a:p>
          <a:p>
            <a:pPr lvl="3" rtl="0"/>
            <a:r>
              <a:rPr lang="en-GB" noProof="0"/>
              <a:t>Fourth level</a:t>
            </a:r>
          </a:p>
          <a:p>
            <a:pPr lvl="4" rtl="0"/>
            <a:r>
              <a:rPr lang="en-GB" noProof="0"/>
              <a:t>Fifth level</a:t>
            </a:r>
          </a:p>
        </p:txBody>
      </p:sp>
      <p:sp>
        <p:nvSpPr>
          <p:cNvPr id="5" name="Text Placeholder 4"/>
          <p:cNvSpPr>
            <a:spLocks noGrp="1"/>
          </p:cNvSpPr>
          <p:nvPr>
            <p:ph type="body" sz="quarter" idx="3"/>
          </p:nvPr>
        </p:nvSpPr>
        <p:spPr>
          <a:xfrm>
            <a:off x="6324600" y="1818322"/>
            <a:ext cx="4572000" cy="641350"/>
          </a:xfrm>
        </p:spPr>
        <p:txBody>
          <a:bodyPr rtlCol="0" anchor="ctr">
            <a:normAutofit/>
          </a:bodyPr>
          <a:lstStyle>
            <a:lvl1pPr marL="0" indent="0">
              <a:spcBef>
                <a:spcPts val="0"/>
              </a:spcBef>
              <a:buNone/>
              <a:defRPr sz="20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GB" noProof="0"/>
              <a:t>Click to edit Master text styles</a:t>
            </a:r>
          </a:p>
        </p:txBody>
      </p:sp>
      <p:sp>
        <p:nvSpPr>
          <p:cNvPr id="6" name="Content Placeholder 5"/>
          <p:cNvSpPr>
            <a:spLocks noGrp="1"/>
          </p:cNvSpPr>
          <p:nvPr>
            <p:ph sz="quarter" idx="4"/>
          </p:nvPr>
        </p:nvSpPr>
        <p:spPr>
          <a:xfrm>
            <a:off x="6324600" y="2503713"/>
            <a:ext cx="4572000" cy="3287487"/>
          </a:xfrm>
        </p:spPr>
        <p:txBody>
          <a:bodyPr rtlCol="0">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rtl="0"/>
            <a:r>
              <a:rPr lang="en-GB" noProof="0"/>
              <a:t>Click to edit Master text styles</a:t>
            </a:r>
          </a:p>
          <a:p>
            <a:pPr lvl="1" rtl="0"/>
            <a:r>
              <a:rPr lang="en-GB" noProof="0"/>
              <a:t>Second level</a:t>
            </a:r>
          </a:p>
          <a:p>
            <a:pPr lvl="2" rtl="0"/>
            <a:r>
              <a:rPr lang="en-GB" noProof="0"/>
              <a:t>Third level</a:t>
            </a:r>
          </a:p>
          <a:p>
            <a:pPr lvl="3" rtl="0"/>
            <a:r>
              <a:rPr lang="en-GB" noProof="0"/>
              <a:t>Fourth level</a:t>
            </a:r>
          </a:p>
          <a:p>
            <a:pPr lvl="4" rtl="0"/>
            <a:r>
              <a:rPr lang="en-GB" noProof="0"/>
              <a:t>Fifth level</a:t>
            </a:r>
          </a:p>
        </p:txBody>
      </p:sp>
      <p:sp>
        <p:nvSpPr>
          <p:cNvPr id="8" name="Footer Placeholder 7"/>
          <p:cNvSpPr>
            <a:spLocks noGrp="1"/>
          </p:cNvSpPr>
          <p:nvPr>
            <p:ph type="ftr" sz="quarter" idx="11"/>
          </p:nvPr>
        </p:nvSpPr>
        <p:spPr/>
        <p:txBody>
          <a:bodyPr rtlCol="0"/>
          <a:lstStyle/>
          <a:p>
            <a:pPr rtl="0"/>
            <a:r>
              <a:rPr lang="en-GB" noProof="0"/>
              <a:t>Add a footer</a:t>
            </a:r>
          </a:p>
        </p:txBody>
      </p:sp>
      <p:sp>
        <p:nvSpPr>
          <p:cNvPr id="7" name="Date Placeholder 6"/>
          <p:cNvSpPr>
            <a:spLocks noGrp="1"/>
          </p:cNvSpPr>
          <p:nvPr>
            <p:ph type="dt" sz="half" idx="10"/>
          </p:nvPr>
        </p:nvSpPr>
        <p:spPr/>
        <p:txBody>
          <a:bodyPr rtlCol="0"/>
          <a:lstStyle/>
          <a:p>
            <a:pPr rtl="0"/>
            <a:fld id="{725DB959-59F8-42ED-9784-5D1FFD6CBE05}" type="datetime1">
              <a:rPr lang="en-GB" noProof="0" smtClean="0"/>
              <a:t>24/02/2026</a:t>
            </a:fld>
            <a:endParaRPr lang="en-GB" noProof="0"/>
          </a:p>
        </p:txBody>
      </p:sp>
      <p:sp>
        <p:nvSpPr>
          <p:cNvPr id="9" name="Slide Number Placeholder 8"/>
          <p:cNvSpPr>
            <a:spLocks noGrp="1"/>
          </p:cNvSpPr>
          <p:nvPr>
            <p:ph type="sldNum" sz="quarter" idx="12"/>
          </p:nvPr>
        </p:nvSpPr>
        <p:spPr/>
        <p:txBody>
          <a:bodyPr rtlCol="0"/>
          <a:lstStyle/>
          <a:p>
            <a:pPr rtl="0"/>
            <a:fld id="{E31375A4-56A4-47D6-9801-1991572033F7}" type="slidenum">
              <a:rPr lang="en-GB" noProof="0" smtClean="0"/>
              <a:t>‹#›</a:t>
            </a:fld>
            <a:endParaRPr lang="en-GB" noProof="0"/>
          </a:p>
        </p:txBody>
      </p:sp>
    </p:spTree>
    <p:extLst>
      <p:ext uri="{BB962C8B-B14F-4D97-AF65-F5344CB8AC3E}">
        <p14:creationId xmlns:p14="http://schemas.microsoft.com/office/powerpoint/2010/main" val="44481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19427904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age with logo and page nb">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IE" smtClean="0"/>
              <a:pPr/>
              <a:t>‹#›</a:t>
            </a:fld>
            <a:endParaRPr lang="en-IE"/>
          </a:p>
        </p:txBody>
      </p:sp>
      <p:sp>
        <p:nvSpPr>
          <p:cNvPr id="5" name="Text Placeholder 4"/>
          <p:cNvSpPr>
            <a:spLocks noGrp="1"/>
          </p:cNvSpPr>
          <p:nvPr>
            <p:ph type="body" sz="quarter" idx="11" hasCustomPrompt="1"/>
          </p:nvPr>
        </p:nvSpPr>
        <p:spPr>
          <a:xfrm>
            <a:off x="414337" y="456139"/>
            <a:ext cx="11160125" cy="708025"/>
          </a:xfrm>
        </p:spPr>
        <p:txBody>
          <a:bodyPr>
            <a:normAutofit/>
          </a:bodyPr>
          <a:lstStyle>
            <a:lvl1pPr marL="0" indent="0">
              <a:buNone/>
              <a:defRPr sz="4000" b="1">
                <a:latin typeface="Century Gothic" panose="020B0502020202020204" pitchFamily="34" charset="0"/>
              </a:defRPr>
            </a:lvl1pPr>
          </a:lstStyle>
          <a:p>
            <a:pPr lvl="0"/>
            <a:r>
              <a:rPr lang="en-US"/>
              <a:t>CLICK TO EDIT MASTER TEXT STYLE</a:t>
            </a:r>
          </a:p>
        </p:txBody>
      </p:sp>
    </p:spTree>
    <p:extLst>
      <p:ext uri="{BB962C8B-B14F-4D97-AF65-F5344CB8AC3E}">
        <p14:creationId xmlns:p14="http://schemas.microsoft.com/office/powerpoint/2010/main" val="27261122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Page-1">
    <p:spTree>
      <p:nvGrpSpPr>
        <p:cNvPr id="1" name=""/>
        <p:cNvGrpSpPr/>
        <p:nvPr/>
      </p:nvGrpSpPr>
      <p:grpSpPr>
        <a:xfrm>
          <a:off x="0" y="0"/>
          <a:ext cx="0" cy="0"/>
          <a:chOff x="0" y="0"/>
          <a:chExt cx="0" cy="0"/>
        </a:xfrm>
      </p:grpSpPr>
      <p:pic>
        <p:nvPicPr>
          <p:cNvPr id="22" name="Afbeelding 21">
            <a:extLst>
              <a:ext uri="{FF2B5EF4-FFF2-40B4-BE49-F238E27FC236}">
                <a16:creationId xmlns:a16="http://schemas.microsoft.com/office/drawing/2014/main" id="{4A6A4D3C-46E1-B798-63F6-6C034F6C2D2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672"/>
            <a:ext cx="12192000" cy="6852655"/>
          </a:xfrm>
          <a:prstGeom prst="rect">
            <a:avLst/>
          </a:prstGeom>
        </p:spPr>
      </p:pic>
      <p:sp>
        <p:nvSpPr>
          <p:cNvPr id="10" name="Rechthoek 9">
            <a:extLst>
              <a:ext uri="{FF2B5EF4-FFF2-40B4-BE49-F238E27FC236}">
                <a16:creationId xmlns:a16="http://schemas.microsoft.com/office/drawing/2014/main" id="{023DBFAB-F136-116F-2627-9D84A782AF20}"/>
              </a:ext>
            </a:extLst>
          </p:cNvPr>
          <p:cNvSpPr/>
          <p:nvPr userDrawn="1"/>
        </p:nvSpPr>
        <p:spPr>
          <a:xfrm>
            <a:off x="-1" y="0"/>
            <a:ext cx="12191999" cy="6852654"/>
          </a:xfrm>
          <a:prstGeom prst="rect">
            <a:avLst/>
          </a:prstGeom>
          <a:gradFill flip="none" rotWithShape="1">
            <a:gsLst>
              <a:gs pos="31000">
                <a:schemeClr val="bg1">
                  <a:alpha val="94238"/>
                </a:schemeClr>
              </a:gs>
              <a:gs pos="76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000"/>
          </a:p>
        </p:txBody>
      </p:sp>
      <p:sp>
        <p:nvSpPr>
          <p:cNvPr id="2" name="Titel 1">
            <a:extLst>
              <a:ext uri="{FF2B5EF4-FFF2-40B4-BE49-F238E27FC236}">
                <a16:creationId xmlns:a16="http://schemas.microsoft.com/office/drawing/2014/main" id="{FA6C8219-2BF8-1C18-65B0-6F4E53B9C889}"/>
              </a:ext>
            </a:extLst>
          </p:cNvPr>
          <p:cNvSpPr>
            <a:spLocks noGrp="1"/>
          </p:cNvSpPr>
          <p:nvPr>
            <p:ph type="ctrTitle" hasCustomPrompt="1"/>
          </p:nvPr>
        </p:nvSpPr>
        <p:spPr>
          <a:xfrm>
            <a:off x="290669" y="4910051"/>
            <a:ext cx="7726634" cy="1005840"/>
          </a:xfrm>
          <a:prstGeom prst="rect">
            <a:avLst/>
          </a:prstGeom>
        </p:spPr>
        <p:txBody>
          <a:bodyPr anchor="t">
            <a:noAutofit/>
          </a:bodyPr>
          <a:lstStyle>
            <a:lvl1pPr algn="l">
              <a:defRPr sz="4000" b="1" i="0">
                <a:solidFill>
                  <a:srgbClr val="2C3051"/>
                </a:solidFill>
                <a:latin typeface="Avenir Black" panose="02000503020000020003" pitchFamily="2" charset="0"/>
              </a:defRPr>
            </a:lvl1pPr>
          </a:lstStyle>
          <a:p>
            <a:r>
              <a:rPr lang="nl-NL"/>
              <a:t>Presentation </a:t>
            </a:r>
            <a:r>
              <a:rPr lang="nl-NL" err="1"/>
              <a:t>Title</a:t>
            </a:r>
            <a:r>
              <a:rPr lang="nl-NL"/>
              <a:t> </a:t>
            </a:r>
            <a:r>
              <a:rPr lang="nl-NL" err="1"/>
              <a:t>one</a:t>
            </a:r>
            <a:endParaRPr lang="nl-BE"/>
          </a:p>
        </p:txBody>
      </p:sp>
      <p:pic>
        <p:nvPicPr>
          <p:cNvPr id="7" name="Afbeelding 28">
            <a:extLst>
              <a:ext uri="{FF2B5EF4-FFF2-40B4-BE49-F238E27FC236}">
                <a16:creationId xmlns:a16="http://schemas.microsoft.com/office/drawing/2014/main" id="{0AD7023A-44F6-01D4-15AB-6A067CF4F86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2500510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914400" indent="-4572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a:p>
            <a:pPr lvl="3"/>
            <a:r>
              <a:rPr lang="nl-NL"/>
              <a:t>	</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6935231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Page-1">
    <p:spTree>
      <p:nvGrpSpPr>
        <p:cNvPr id="1" name=""/>
        <p:cNvGrpSpPr/>
        <p:nvPr/>
      </p:nvGrpSpPr>
      <p:grpSpPr>
        <a:xfrm>
          <a:off x="0" y="0"/>
          <a:ext cx="0" cy="0"/>
          <a:chOff x="0" y="0"/>
          <a:chExt cx="0" cy="0"/>
        </a:xfrm>
      </p:grpSpPr>
      <p:sp>
        <p:nvSpPr>
          <p:cNvPr id="12" name="Tekstvak 11">
            <a:extLst>
              <a:ext uri="{FF2B5EF4-FFF2-40B4-BE49-F238E27FC236}">
                <a16:creationId xmlns:a16="http://schemas.microsoft.com/office/drawing/2014/main" id="{EF548E58-5FB2-B96B-D2FF-D5BA8263196D}"/>
              </a:ext>
            </a:extLst>
          </p:cNvPr>
          <p:cNvSpPr txBox="1"/>
          <p:nvPr userDrawn="1"/>
        </p:nvSpPr>
        <p:spPr>
          <a:xfrm>
            <a:off x="7732643" y="3776870"/>
            <a:ext cx="184731" cy="369332"/>
          </a:xfrm>
          <a:prstGeom prst="rect">
            <a:avLst/>
          </a:prstGeom>
          <a:noFill/>
        </p:spPr>
        <p:txBody>
          <a:bodyPr wrap="none" rtlCol="0">
            <a:spAutoFit/>
          </a:bodyPr>
          <a:lstStyle/>
          <a:p>
            <a:endParaRPr lang="nl-BE"/>
          </a:p>
        </p:txBody>
      </p:sp>
      <p:sp>
        <p:nvSpPr>
          <p:cNvPr id="28" name="object 2">
            <a:extLst>
              <a:ext uri="{FF2B5EF4-FFF2-40B4-BE49-F238E27FC236}">
                <a16:creationId xmlns:a16="http://schemas.microsoft.com/office/drawing/2014/main" id="{9252B0C0-2EE4-4194-40C9-9036C41C4FF6}"/>
              </a:ext>
            </a:extLst>
          </p:cNvPr>
          <p:cNvSpPr/>
          <p:nvPr userDrawn="1"/>
        </p:nvSpPr>
        <p:spPr>
          <a:xfrm>
            <a:off x="-1" y="2829"/>
            <a:ext cx="4092316" cy="2410587"/>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chemeClr val="bg1"/>
          </a:solidFill>
        </p:spPr>
        <p:txBody>
          <a:bodyPr wrap="square" lIns="0" tIns="0" rIns="0" bIns="0" rtlCol="0"/>
          <a:lstStyle/>
          <a:p>
            <a:endParaRPr/>
          </a:p>
        </p:txBody>
      </p:sp>
      <p:sp>
        <p:nvSpPr>
          <p:cNvPr id="38" name="Titel 19">
            <a:extLst>
              <a:ext uri="{FF2B5EF4-FFF2-40B4-BE49-F238E27FC236}">
                <a16:creationId xmlns:a16="http://schemas.microsoft.com/office/drawing/2014/main" id="{B71590A5-B9C3-E975-2D4A-48F604E7C30C}"/>
              </a:ext>
            </a:extLst>
          </p:cNvPr>
          <p:cNvSpPr>
            <a:spLocks noGrp="1"/>
          </p:cNvSpPr>
          <p:nvPr>
            <p:ph type="title"/>
          </p:nvPr>
        </p:nvSpPr>
        <p:spPr>
          <a:xfrm>
            <a:off x="4173560" y="5152572"/>
            <a:ext cx="7556740" cy="744858"/>
          </a:xfrm>
          <a:prstGeom prst="rect">
            <a:avLst/>
          </a:prstGeom>
        </p:spPr>
        <p:txBody>
          <a:bodyPr>
            <a:normAutofit/>
          </a:bodyPr>
          <a:lstStyle>
            <a:lvl1pPr algn="r">
              <a:defRPr sz="6500" b="0" i="0">
                <a:latin typeface="Avenir" panose="02000503020000020003"/>
              </a:defRPr>
            </a:lvl1pPr>
          </a:lstStyle>
          <a:p>
            <a:r>
              <a:rPr lang="en-US"/>
              <a:t>Click to edit Master title style</a:t>
            </a:r>
            <a:endParaRPr lang="nl-BE"/>
          </a:p>
        </p:txBody>
      </p:sp>
      <p:pic>
        <p:nvPicPr>
          <p:cNvPr id="3" name="Picture 2">
            <a:extLst>
              <a:ext uri="{FF2B5EF4-FFF2-40B4-BE49-F238E27FC236}">
                <a16:creationId xmlns:a16="http://schemas.microsoft.com/office/drawing/2014/main" id="{F5AA11E8-9192-ACC5-8851-D916F6111BB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7732642" cy="6887880"/>
          </a:xfrm>
          <a:prstGeom prst="rect">
            <a:avLst/>
          </a:prstGeom>
        </p:spPr>
      </p:pic>
      <p:sp>
        <p:nvSpPr>
          <p:cNvPr id="13" name="object 2">
            <a:extLst>
              <a:ext uri="{FF2B5EF4-FFF2-40B4-BE49-F238E27FC236}">
                <a16:creationId xmlns:a16="http://schemas.microsoft.com/office/drawing/2014/main" id="{C4741B22-5A50-96A7-0AB3-A7EDFF787095}"/>
              </a:ext>
            </a:extLst>
          </p:cNvPr>
          <p:cNvSpPr/>
          <p:nvPr userDrawn="1"/>
        </p:nvSpPr>
        <p:spPr>
          <a:xfrm>
            <a:off x="-1" y="0"/>
            <a:ext cx="4092316" cy="2410587"/>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chemeClr val="bg1"/>
          </a:solidFill>
        </p:spPr>
        <p:txBody>
          <a:bodyPr wrap="square" lIns="0" tIns="0" rIns="0" bIns="0" rtlCol="0"/>
          <a:lstStyle/>
          <a:p>
            <a:endParaRPr/>
          </a:p>
        </p:txBody>
      </p:sp>
      <p:pic>
        <p:nvPicPr>
          <p:cNvPr id="17" name="Afbeelding 28">
            <a:extLst>
              <a:ext uri="{FF2B5EF4-FFF2-40B4-BE49-F238E27FC236}">
                <a16:creationId xmlns:a16="http://schemas.microsoft.com/office/drawing/2014/main" id="{DA96151D-153E-3436-1853-C1C5ECCE49F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
        <p:nvSpPr>
          <p:cNvPr id="31" name="TextBox 30">
            <a:extLst>
              <a:ext uri="{FF2B5EF4-FFF2-40B4-BE49-F238E27FC236}">
                <a16:creationId xmlns:a16="http://schemas.microsoft.com/office/drawing/2014/main" id="{7C7D7F11-4B07-1C45-6E8B-255E5AADFD9C}"/>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32" name="Afbeelding 9">
            <a:extLst>
              <a:ext uri="{FF2B5EF4-FFF2-40B4-BE49-F238E27FC236}">
                <a16:creationId xmlns:a16="http://schemas.microsoft.com/office/drawing/2014/main" id="{F144CBC5-FD5A-F742-C375-38B9032A62D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33" name="Straight Connector 32">
            <a:extLst>
              <a:ext uri="{FF2B5EF4-FFF2-40B4-BE49-F238E27FC236}">
                <a16:creationId xmlns:a16="http://schemas.microsoft.com/office/drawing/2014/main" id="{F0E5428B-D8D3-A9FF-BFA8-6E97F9D2DBDF}"/>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658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2208B-93D6-4BA1-AA9B-7065DD6625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34AD1A7-50D0-4F11-A1C5-DD525E34D7B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8CF4A59-5CFA-4087-9086-753166A71329}" type="datetimeFigureOut">
              <a:rPr kumimoji="0" lang="en-US" sz="1800" b="0" i="0" u="none" strike="noStrike" kern="1200" cap="none" spc="0" normalizeH="0" baseline="0" noProof="0" smtClean="0">
                <a:ln>
                  <a:noFill/>
                </a:ln>
                <a:solidFill>
                  <a:srgbClr val="3A3A3F"/>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4/2026</a:t>
            </a:fld>
            <a:endParaRPr kumimoji="0" lang="en-US" sz="1800" b="0" i="0" u="none" strike="noStrike" kern="1200" cap="none" spc="0" normalizeH="0" baseline="0" noProof="0">
              <a:ln>
                <a:noFill/>
              </a:ln>
              <a:solidFill>
                <a:srgbClr val="3A3A3F"/>
              </a:solidFill>
              <a:effectLst/>
              <a:uLnTx/>
              <a:uFillTx/>
              <a:latin typeface="Trebuchet MS"/>
              <a:ea typeface="+mn-ea"/>
              <a:cs typeface="+mn-cs"/>
            </a:endParaRPr>
          </a:p>
        </p:txBody>
      </p:sp>
      <p:sp>
        <p:nvSpPr>
          <p:cNvPr id="4" name="Footer Placeholder 3">
            <a:extLst>
              <a:ext uri="{FF2B5EF4-FFF2-40B4-BE49-F238E27FC236}">
                <a16:creationId xmlns:a16="http://schemas.microsoft.com/office/drawing/2014/main" id="{C3F74988-049E-456F-A8C2-AF6306EC9E0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A3F"/>
              </a:solidFill>
              <a:effectLst/>
              <a:uLnTx/>
              <a:uFillTx/>
              <a:latin typeface="Trebuchet MS"/>
              <a:ea typeface="+mn-ea"/>
              <a:cs typeface="+mn-cs"/>
            </a:endParaRPr>
          </a:p>
        </p:txBody>
      </p:sp>
      <p:sp>
        <p:nvSpPr>
          <p:cNvPr id="5" name="Slide Number Placeholder 4">
            <a:extLst>
              <a:ext uri="{FF2B5EF4-FFF2-40B4-BE49-F238E27FC236}">
                <a16:creationId xmlns:a16="http://schemas.microsoft.com/office/drawing/2014/main" id="{C493E72B-2024-4B5B-AFA0-A44A36F69C7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FF4D4A-9DAF-406F-B53D-35F99D574518}" type="slidenum">
              <a:rPr kumimoji="0" lang="en-US" sz="1800" b="0" i="0" u="none" strike="noStrike" kern="1200" cap="none" spc="0" normalizeH="0" baseline="0" noProof="0" smtClean="0">
                <a:ln>
                  <a:noFill/>
                </a:ln>
                <a:solidFill>
                  <a:srgbClr val="3A3A3F"/>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A3A3F"/>
              </a:solidFill>
              <a:effectLst/>
              <a:uLnTx/>
              <a:uFillTx/>
              <a:latin typeface="Trebuchet MS"/>
              <a:ea typeface="+mn-ea"/>
              <a:cs typeface="+mn-cs"/>
            </a:endParaRPr>
          </a:p>
        </p:txBody>
      </p:sp>
    </p:spTree>
    <p:extLst>
      <p:ext uri="{BB962C8B-B14F-4D97-AF65-F5344CB8AC3E}">
        <p14:creationId xmlns:p14="http://schemas.microsoft.com/office/powerpoint/2010/main" val="2569471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77944313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5F90F962-EC44-4B4B-88CC-6DE2AEAE4E2C}"/>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7" name="Textplatzhalter 7">
            <a:extLst>
              <a:ext uri="{FF2B5EF4-FFF2-40B4-BE49-F238E27FC236}">
                <a16:creationId xmlns:a16="http://schemas.microsoft.com/office/drawing/2014/main" id="{467AF61E-3DB1-46D3-B78F-353826D8C23C}"/>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9" name="Rechteck 1">
            <a:extLst>
              <a:ext uri="{FF2B5EF4-FFF2-40B4-BE49-F238E27FC236}">
                <a16:creationId xmlns:a16="http://schemas.microsoft.com/office/drawing/2014/main" id="{035B4328-DEEE-478B-89C8-2C140DE8D96C}"/>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7277835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416172322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46394529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90989554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0734699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51386282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408175817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8774526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7183870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945493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5423847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347935419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216202434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384820909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42382540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6406260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144212117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124864612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03337550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22641751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05282182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83783499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287867" y="2492897"/>
            <a:ext cx="5664117" cy="3311810"/>
          </a:xfrm>
          <a:prstGeom prst="rect">
            <a:avLst/>
          </a:prstGeom>
        </p:spPr>
        <p:txBody>
          <a:bodyPr/>
          <a:lstStyle>
            <a:lvl1pPr algn="l">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40016" y="2492897"/>
            <a:ext cx="5664117" cy="3311810"/>
          </a:xfrm>
          <a:prstGeom prst="rect">
            <a:avLst/>
          </a:prstGeom>
        </p:spPr>
        <p:txBody>
          <a:bodyPr/>
          <a:lstStyle>
            <a:lvl1pPr>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244461264"/>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Page-1">
    <p:spTree>
      <p:nvGrpSpPr>
        <p:cNvPr id="1" name=""/>
        <p:cNvGrpSpPr/>
        <p:nvPr/>
      </p:nvGrpSpPr>
      <p:grpSpPr>
        <a:xfrm>
          <a:off x="0" y="0"/>
          <a:ext cx="0" cy="0"/>
          <a:chOff x="0" y="0"/>
          <a:chExt cx="0" cy="0"/>
        </a:xfrm>
      </p:grpSpPr>
      <p:pic>
        <p:nvPicPr>
          <p:cNvPr id="22" name="Afbeelding 21">
            <a:extLst>
              <a:ext uri="{FF2B5EF4-FFF2-40B4-BE49-F238E27FC236}">
                <a16:creationId xmlns:a16="http://schemas.microsoft.com/office/drawing/2014/main" id="{4A6A4D3C-46E1-B798-63F6-6C034F6C2D2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672"/>
            <a:ext cx="12192000" cy="6852655"/>
          </a:xfrm>
          <a:prstGeom prst="rect">
            <a:avLst/>
          </a:prstGeom>
        </p:spPr>
      </p:pic>
      <p:sp>
        <p:nvSpPr>
          <p:cNvPr id="10" name="Rechthoek 9">
            <a:extLst>
              <a:ext uri="{FF2B5EF4-FFF2-40B4-BE49-F238E27FC236}">
                <a16:creationId xmlns:a16="http://schemas.microsoft.com/office/drawing/2014/main" id="{023DBFAB-F136-116F-2627-9D84A782AF20}"/>
              </a:ext>
            </a:extLst>
          </p:cNvPr>
          <p:cNvSpPr/>
          <p:nvPr userDrawn="1"/>
        </p:nvSpPr>
        <p:spPr>
          <a:xfrm>
            <a:off x="-1" y="0"/>
            <a:ext cx="12191999" cy="6852654"/>
          </a:xfrm>
          <a:prstGeom prst="rect">
            <a:avLst/>
          </a:prstGeom>
          <a:gradFill flip="none" rotWithShape="1">
            <a:gsLst>
              <a:gs pos="31000">
                <a:schemeClr val="bg1">
                  <a:alpha val="94238"/>
                </a:schemeClr>
              </a:gs>
              <a:gs pos="76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000"/>
          </a:p>
        </p:txBody>
      </p:sp>
      <p:sp>
        <p:nvSpPr>
          <p:cNvPr id="2" name="Titel 1">
            <a:extLst>
              <a:ext uri="{FF2B5EF4-FFF2-40B4-BE49-F238E27FC236}">
                <a16:creationId xmlns:a16="http://schemas.microsoft.com/office/drawing/2014/main" id="{FA6C8219-2BF8-1C18-65B0-6F4E53B9C889}"/>
              </a:ext>
            </a:extLst>
          </p:cNvPr>
          <p:cNvSpPr>
            <a:spLocks noGrp="1"/>
          </p:cNvSpPr>
          <p:nvPr>
            <p:ph type="ctrTitle" hasCustomPrompt="1"/>
          </p:nvPr>
        </p:nvSpPr>
        <p:spPr>
          <a:xfrm>
            <a:off x="290669" y="4910051"/>
            <a:ext cx="7726634" cy="1005840"/>
          </a:xfrm>
          <a:prstGeom prst="rect">
            <a:avLst/>
          </a:prstGeom>
        </p:spPr>
        <p:txBody>
          <a:bodyPr anchor="t">
            <a:noAutofit/>
          </a:bodyPr>
          <a:lstStyle>
            <a:lvl1pPr algn="l">
              <a:defRPr sz="4000" b="1" i="0">
                <a:solidFill>
                  <a:srgbClr val="2C3051"/>
                </a:solidFill>
                <a:latin typeface="Avenir Black" panose="02000503020000020003" pitchFamily="2" charset="0"/>
              </a:defRPr>
            </a:lvl1pPr>
          </a:lstStyle>
          <a:p>
            <a:r>
              <a:rPr lang="nl-NL"/>
              <a:t>Presentation </a:t>
            </a:r>
            <a:r>
              <a:rPr lang="nl-NL" err="1"/>
              <a:t>Title</a:t>
            </a:r>
            <a:r>
              <a:rPr lang="nl-NL"/>
              <a:t> </a:t>
            </a:r>
            <a:r>
              <a:rPr lang="nl-NL" err="1"/>
              <a:t>one</a:t>
            </a:r>
            <a:endParaRPr lang="nl-BE"/>
          </a:p>
        </p:txBody>
      </p:sp>
      <p:pic>
        <p:nvPicPr>
          <p:cNvPr id="7" name="Afbeelding 28">
            <a:extLst>
              <a:ext uri="{FF2B5EF4-FFF2-40B4-BE49-F238E27FC236}">
                <a16:creationId xmlns:a16="http://schemas.microsoft.com/office/drawing/2014/main" id="{0AD7023A-44F6-01D4-15AB-6A067CF4F86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26033490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verPage-1">
    <p:spTree>
      <p:nvGrpSpPr>
        <p:cNvPr id="1" name=""/>
        <p:cNvGrpSpPr/>
        <p:nvPr/>
      </p:nvGrpSpPr>
      <p:grpSpPr>
        <a:xfrm>
          <a:off x="0" y="0"/>
          <a:ext cx="0" cy="0"/>
          <a:chOff x="0" y="0"/>
          <a:chExt cx="0" cy="0"/>
        </a:xfrm>
      </p:grpSpPr>
      <p:pic>
        <p:nvPicPr>
          <p:cNvPr id="22" name="Afbeelding 21">
            <a:extLst>
              <a:ext uri="{FF2B5EF4-FFF2-40B4-BE49-F238E27FC236}">
                <a16:creationId xmlns:a16="http://schemas.microsoft.com/office/drawing/2014/main" id="{4A6A4D3C-46E1-B798-63F6-6C034F6C2D2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672"/>
            <a:ext cx="12192000" cy="6852655"/>
          </a:xfrm>
          <a:prstGeom prst="rect">
            <a:avLst/>
          </a:prstGeom>
        </p:spPr>
      </p:pic>
      <p:sp>
        <p:nvSpPr>
          <p:cNvPr id="10" name="Rechthoek 9">
            <a:extLst>
              <a:ext uri="{FF2B5EF4-FFF2-40B4-BE49-F238E27FC236}">
                <a16:creationId xmlns:a16="http://schemas.microsoft.com/office/drawing/2014/main" id="{023DBFAB-F136-116F-2627-9D84A782AF20}"/>
              </a:ext>
            </a:extLst>
          </p:cNvPr>
          <p:cNvSpPr/>
          <p:nvPr userDrawn="1"/>
        </p:nvSpPr>
        <p:spPr>
          <a:xfrm>
            <a:off x="-2" y="5346"/>
            <a:ext cx="12192001" cy="6852654"/>
          </a:xfrm>
          <a:prstGeom prst="rect">
            <a:avLst/>
          </a:prstGeom>
          <a:gradFill flip="none" rotWithShape="1">
            <a:gsLst>
              <a:gs pos="31000">
                <a:schemeClr val="bg1">
                  <a:alpha val="94238"/>
                </a:schemeClr>
              </a:gs>
              <a:gs pos="76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000"/>
          </a:p>
        </p:txBody>
      </p:sp>
      <p:sp>
        <p:nvSpPr>
          <p:cNvPr id="2" name="Titel 1">
            <a:extLst>
              <a:ext uri="{FF2B5EF4-FFF2-40B4-BE49-F238E27FC236}">
                <a16:creationId xmlns:a16="http://schemas.microsoft.com/office/drawing/2014/main" id="{FA6C8219-2BF8-1C18-65B0-6F4E53B9C889}"/>
              </a:ext>
            </a:extLst>
          </p:cNvPr>
          <p:cNvSpPr>
            <a:spLocks noGrp="1"/>
          </p:cNvSpPr>
          <p:nvPr>
            <p:ph type="ctrTitle" hasCustomPrompt="1"/>
          </p:nvPr>
        </p:nvSpPr>
        <p:spPr>
          <a:xfrm>
            <a:off x="290669" y="4910051"/>
            <a:ext cx="7726634" cy="1005840"/>
          </a:xfrm>
          <a:prstGeom prst="rect">
            <a:avLst/>
          </a:prstGeom>
        </p:spPr>
        <p:txBody>
          <a:bodyPr anchor="t">
            <a:noAutofit/>
          </a:bodyPr>
          <a:lstStyle>
            <a:lvl1pPr algn="l">
              <a:defRPr sz="4000" b="1" i="0">
                <a:solidFill>
                  <a:srgbClr val="2C3051"/>
                </a:solidFill>
                <a:latin typeface="Avenir Black" panose="02000503020000020003" pitchFamily="2" charset="0"/>
              </a:defRPr>
            </a:lvl1pPr>
          </a:lstStyle>
          <a:p>
            <a:r>
              <a:rPr lang="nl-NL"/>
              <a:t>Presentation </a:t>
            </a:r>
            <a:r>
              <a:rPr lang="nl-NL" err="1"/>
              <a:t>Title</a:t>
            </a:r>
            <a:r>
              <a:rPr lang="nl-NL"/>
              <a:t> </a:t>
            </a:r>
            <a:r>
              <a:rPr lang="nl-NL" err="1"/>
              <a:t>Two</a:t>
            </a:r>
            <a:endParaRPr lang="nl-BE"/>
          </a:p>
        </p:txBody>
      </p:sp>
      <p:pic>
        <p:nvPicPr>
          <p:cNvPr id="7" name="Afbeelding 28">
            <a:extLst>
              <a:ext uri="{FF2B5EF4-FFF2-40B4-BE49-F238E27FC236}">
                <a16:creationId xmlns:a16="http://schemas.microsoft.com/office/drawing/2014/main" id="{0AD7023A-44F6-01D4-15AB-6A067CF4F86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41544400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verPage-2">
    <p:spTree>
      <p:nvGrpSpPr>
        <p:cNvPr id="1" name=""/>
        <p:cNvGrpSpPr/>
        <p:nvPr/>
      </p:nvGrpSpPr>
      <p:grpSpPr>
        <a:xfrm>
          <a:off x="0" y="0"/>
          <a:ext cx="0" cy="0"/>
          <a:chOff x="0" y="0"/>
          <a:chExt cx="0" cy="0"/>
        </a:xfrm>
      </p:grpSpPr>
      <p:pic>
        <p:nvPicPr>
          <p:cNvPr id="30" name="Afbeelding 29">
            <a:extLst>
              <a:ext uri="{FF2B5EF4-FFF2-40B4-BE49-F238E27FC236}">
                <a16:creationId xmlns:a16="http://schemas.microsoft.com/office/drawing/2014/main" id="{D5D9F547-9670-675B-490C-BDDE9CB7FD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6308" y="0"/>
            <a:ext cx="10284384" cy="6858000"/>
          </a:xfrm>
          <a:prstGeom prst="rect">
            <a:avLst/>
          </a:prstGeom>
        </p:spPr>
      </p:pic>
      <p:sp>
        <p:nvSpPr>
          <p:cNvPr id="37" name="object 2">
            <a:extLst>
              <a:ext uri="{FF2B5EF4-FFF2-40B4-BE49-F238E27FC236}">
                <a16:creationId xmlns:a16="http://schemas.microsoft.com/office/drawing/2014/main" id="{3D2B6280-E298-1950-32ED-44F945B94DA9}"/>
              </a:ext>
            </a:extLst>
          </p:cNvPr>
          <p:cNvSpPr/>
          <p:nvPr userDrawn="1"/>
        </p:nvSpPr>
        <p:spPr>
          <a:xfrm>
            <a:off x="-15456" y="-30067"/>
            <a:ext cx="8560742" cy="7016687"/>
          </a:xfrm>
          <a:custGeom>
            <a:avLst/>
            <a:gdLst>
              <a:gd name="connsiteX0" fmla="*/ 5991028 w 5991028"/>
              <a:gd name="connsiteY0" fmla="*/ 0 h 4904003"/>
              <a:gd name="connsiteX1" fmla="*/ 0 w 5991028"/>
              <a:gd name="connsiteY1" fmla="*/ 0 h 4904003"/>
              <a:gd name="connsiteX2" fmla="*/ 783063 w 5991028"/>
              <a:gd name="connsiteY2" fmla="*/ 4904003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5991028 w 5991028"/>
              <a:gd name="connsiteY0" fmla="*/ 0 h 4904003"/>
              <a:gd name="connsiteX1" fmla="*/ 0 w 5991028"/>
              <a:gd name="connsiteY1" fmla="*/ 0 h 4904003"/>
              <a:gd name="connsiteX2" fmla="*/ 530903 w 5991028"/>
              <a:gd name="connsiteY2" fmla="*/ 4841588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6002552 w 6002552"/>
              <a:gd name="connsiteY0" fmla="*/ 0 h 4929733"/>
              <a:gd name="connsiteX1" fmla="*/ 11524 w 6002552"/>
              <a:gd name="connsiteY1" fmla="*/ 0 h 4929733"/>
              <a:gd name="connsiteX2" fmla="*/ 0 w 6002552"/>
              <a:gd name="connsiteY2" fmla="*/ 4929733 h 4929733"/>
              <a:gd name="connsiteX3" fmla="*/ 814665 w 6002552"/>
              <a:gd name="connsiteY3" fmla="*/ 4904003 h 4929733"/>
              <a:gd name="connsiteX4" fmla="*/ 879931 w 6002552"/>
              <a:gd name="connsiteY4" fmla="*/ 4897516 h 4929733"/>
              <a:gd name="connsiteX5" fmla="*/ 944213 w 6002552"/>
              <a:gd name="connsiteY5" fmla="*/ 4890395 h 4929733"/>
              <a:gd name="connsiteX6" fmla="*/ 1007522 w 6002552"/>
              <a:gd name="connsiteY6" fmla="*/ 4882647 h 4929733"/>
              <a:gd name="connsiteX7" fmla="*/ 1069870 w 6002552"/>
              <a:gd name="connsiteY7" fmla="*/ 4874279 h 4929733"/>
              <a:gd name="connsiteX8" fmla="*/ 1131270 w 6002552"/>
              <a:gd name="connsiteY8" fmla="*/ 4865297 h 4929733"/>
              <a:gd name="connsiteX9" fmla="*/ 1191732 w 6002552"/>
              <a:gd name="connsiteY9" fmla="*/ 4855708 h 4929733"/>
              <a:gd name="connsiteX10" fmla="*/ 1251269 w 6002552"/>
              <a:gd name="connsiteY10" fmla="*/ 4845517 h 4929733"/>
              <a:gd name="connsiteX11" fmla="*/ 1309891 w 6002552"/>
              <a:gd name="connsiteY11" fmla="*/ 4834732 h 4929733"/>
              <a:gd name="connsiteX12" fmla="*/ 1367611 w 6002552"/>
              <a:gd name="connsiteY12" fmla="*/ 4823359 h 4929733"/>
              <a:gd name="connsiteX13" fmla="*/ 1424441 w 6002552"/>
              <a:gd name="connsiteY13" fmla="*/ 4811404 h 4929733"/>
              <a:gd name="connsiteX14" fmla="*/ 1480392 w 6002552"/>
              <a:gd name="connsiteY14" fmla="*/ 4798874 h 4929733"/>
              <a:gd name="connsiteX15" fmla="*/ 1535475 w 6002552"/>
              <a:gd name="connsiteY15" fmla="*/ 4785776 h 4929733"/>
              <a:gd name="connsiteX16" fmla="*/ 1589703 w 6002552"/>
              <a:gd name="connsiteY16" fmla="*/ 4772115 h 4929733"/>
              <a:gd name="connsiteX17" fmla="*/ 1643088 w 6002552"/>
              <a:gd name="connsiteY17" fmla="*/ 4757899 h 4929733"/>
              <a:gd name="connsiteX18" fmla="*/ 1695640 w 6002552"/>
              <a:gd name="connsiteY18" fmla="*/ 4743134 h 4929733"/>
              <a:gd name="connsiteX19" fmla="*/ 1747371 w 6002552"/>
              <a:gd name="connsiteY19" fmla="*/ 4727825 h 4929733"/>
              <a:gd name="connsiteX20" fmla="*/ 1798294 w 6002552"/>
              <a:gd name="connsiteY20" fmla="*/ 4711981 h 4929733"/>
              <a:gd name="connsiteX21" fmla="*/ 1848420 w 6002552"/>
              <a:gd name="connsiteY21" fmla="*/ 4695607 h 4929733"/>
              <a:gd name="connsiteX22" fmla="*/ 1897761 w 6002552"/>
              <a:gd name="connsiteY22" fmla="*/ 4678710 h 4929733"/>
              <a:gd name="connsiteX23" fmla="*/ 1946328 w 6002552"/>
              <a:gd name="connsiteY23" fmla="*/ 4661296 h 4929733"/>
              <a:gd name="connsiteX24" fmla="*/ 1994133 w 6002552"/>
              <a:gd name="connsiteY24" fmla="*/ 4643371 h 4929733"/>
              <a:gd name="connsiteX25" fmla="*/ 2041187 w 6002552"/>
              <a:gd name="connsiteY25" fmla="*/ 4624943 h 4929733"/>
              <a:gd name="connsiteX26" fmla="*/ 2087503 w 6002552"/>
              <a:gd name="connsiteY26" fmla="*/ 4606017 h 4929733"/>
              <a:gd name="connsiteX27" fmla="*/ 2133092 w 6002552"/>
              <a:gd name="connsiteY27" fmla="*/ 4586601 h 4929733"/>
              <a:gd name="connsiteX28" fmla="*/ 2177966 w 6002552"/>
              <a:gd name="connsiteY28" fmla="*/ 4566700 h 4929733"/>
              <a:gd name="connsiteX29" fmla="*/ 2222137 w 6002552"/>
              <a:gd name="connsiteY29" fmla="*/ 4546321 h 4929733"/>
              <a:gd name="connsiteX30" fmla="*/ 2265615 w 6002552"/>
              <a:gd name="connsiteY30" fmla="*/ 4525471 h 4929733"/>
              <a:gd name="connsiteX31" fmla="*/ 2308414 w 6002552"/>
              <a:gd name="connsiteY31" fmla="*/ 4504156 h 4929733"/>
              <a:gd name="connsiteX32" fmla="*/ 2350544 w 6002552"/>
              <a:gd name="connsiteY32" fmla="*/ 4482383 h 4929733"/>
              <a:gd name="connsiteX33" fmla="*/ 2392017 w 6002552"/>
              <a:gd name="connsiteY33" fmla="*/ 4460157 h 4929733"/>
              <a:gd name="connsiteX34" fmla="*/ 2432845 w 6002552"/>
              <a:gd name="connsiteY34" fmla="*/ 4437486 h 4929733"/>
              <a:gd name="connsiteX35" fmla="*/ 2473040 w 6002552"/>
              <a:gd name="connsiteY35" fmla="*/ 4414376 h 4929733"/>
              <a:gd name="connsiteX36" fmla="*/ 2512613 w 6002552"/>
              <a:gd name="connsiteY36" fmla="*/ 4390833 h 4929733"/>
              <a:gd name="connsiteX37" fmla="*/ 2551576 w 6002552"/>
              <a:gd name="connsiteY37" fmla="*/ 4366865 h 4929733"/>
              <a:gd name="connsiteX38" fmla="*/ 2589941 w 6002552"/>
              <a:gd name="connsiteY38" fmla="*/ 4342477 h 4929733"/>
              <a:gd name="connsiteX39" fmla="*/ 2627719 w 6002552"/>
              <a:gd name="connsiteY39" fmla="*/ 4317675 h 4929733"/>
              <a:gd name="connsiteX40" fmla="*/ 2664923 w 6002552"/>
              <a:gd name="connsiteY40" fmla="*/ 4292467 h 4929733"/>
              <a:gd name="connsiteX41" fmla="*/ 2701563 w 6002552"/>
              <a:gd name="connsiteY41" fmla="*/ 4266859 h 4929733"/>
              <a:gd name="connsiteX42" fmla="*/ 2737651 w 6002552"/>
              <a:gd name="connsiteY42" fmla="*/ 4240857 h 4929733"/>
              <a:gd name="connsiteX43" fmla="*/ 2773200 w 6002552"/>
              <a:gd name="connsiteY43" fmla="*/ 4214468 h 4929733"/>
              <a:gd name="connsiteX44" fmla="*/ 2808221 w 6002552"/>
              <a:gd name="connsiteY44" fmla="*/ 4187699 h 4929733"/>
              <a:gd name="connsiteX45" fmla="*/ 2842725 w 6002552"/>
              <a:gd name="connsiteY45" fmla="*/ 4160555 h 4929733"/>
              <a:gd name="connsiteX46" fmla="*/ 2876724 w 6002552"/>
              <a:gd name="connsiteY46" fmla="*/ 4133043 h 4929733"/>
              <a:gd name="connsiteX47" fmla="*/ 2910230 w 6002552"/>
              <a:gd name="connsiteY47" fmla="*/ 4105171 h 4929733"/>
              <a:gd name="connsiteX48" fmla="*/ 2943255 w 6002552"/>
              <a:gd name="connsiteY48" fmla="*/ 4076943 h 4929733"/>
              <a:gd name="connsiteX49" fmla="*/ 2975811 w 6002552"/>
              <a:gd name="connsiteY49" fmla="*/ 4048367 h 4929733"/>
              <a:gd name="connsiteX50" fmla="*/ 3007908 w 6002552"/>
              <a:gd name="connsiteY50" fmla="*/ 4019449 h 4929733"/>
              <a:gd name="connsiteX51" fmla="*/ 3039559 w 6002552"/>
              <a:gd name="connsiteY51" fmla="*/ 3990196 h 4929733"/>
              <a:gd name="connsiteX52" fmla="*/ 3070775 w 6002552"/>
              <a:gd name="connsiteY52" fmla="*/ 3960614 h 4929733"/>
              <a:gd name="connsiteX53" fmla="*/ 3101568 w 6002552"/>
              <a:gd name="connsiteY53" fmla="*/ 3930710 h 4929733"/>
              <a:gd name="connsiteX54" fmla="*/ 3131951 w 6002552"/>
              <a:gd name="connsiteY54" fmla="*/ 3900490 h 4929733"/>
              <a:gd name="connsiteX55" fmla="*/ 3161933 w 6002552"/>
              <a:gd name="connsiteY55" fmla="*/ 3869960 h 4929733"/>
              <a:gd name="connsiteX56" fmla="*/ 3191528 w 6002552"/>
              <a:gd name="connsiteY56" fmla="*/ 3839127 h 4929733"/>
              <a:gd name="connsiteX57" fmla="*/ 3220747 w 6002552"/>
              <a:gd name="connsiteY57" fmla="*/ 3807998 h 4929733"/>
              <a:gd name="connsiteX58" fmla="*/ 3249601 w 6002552"/>
              <a:gd name="connsiteY58" fmla="*/ 3776579 h 4929733"/>
              <a:gd name="connsiteX59" fmla="*/ 3278102 w 6002552"/>
              <a:gd name="connsiteY59" fmla="*/ 3744877 h 4929733"/>
              <a:gd name="connsiteX60" fmla="*/ 3306262 w 6002552"/>
              <a:gd name="connsiteY60" fmla="*/ 3712897 h 4929733"/>
              <a:gd name="connsiteX61" fmla="*/ 3334093 w 6002552"/>
              <a:gd name="connsiteY61" fmla="*/ 3680647 h 4929733"/>
              <a:gd name="connsiteX62" fmla="*/ 3361606 w 6002552"/>
              <a:gd name="connsiteY62" fmla="*/ 3648133 h 4929733"/>
              <a:gd name="connsiteX63" fmla="*/ 3388814 w 6002552"/>
              <a:gd name="connsiteY63" fmla="*/ 3615361 h 4929733"/>
              <a:gd name="connsiteX64" fmla="*/ 3415727 w 6002552"/>
              <a:gd name="connsiteY64" fmla="*/ 3582338 h 4929733"/>
              <a:gd name="connsiteX65" fmla="*/ 3442357 w 6002552"/>
              <a:gd name="connsiteY65" fmla="*/ 3549071 h 4929733"/>
              <a:gd name="connsiteX66" fmla="*/ 3468716 w 6002552"/>
              <a:gd name="connsiteY66" fmla="*/ 3515565 h 4929733"/>
              <a:gd name="connsiteX67" fmla="*/ 3494816 w 6002552"/>
              <a:gd name="connsiteY67" fmla="*/ 3481828 h 4929733"/>
              <a:gd name="connsiteX68" fmla="*/ 3520669 w 6002552"/>
              <a:gd name="connsiteY68" fmla="*/ 3447865 h 4929733"/>
              <a:gd name="connsiteX69" fmla="*/ 3546285 w 6002552"/>
              <a:gd name="connsiteY69" fmla="*/ 3413684 h 4929733"/>
              <a:gd name="connsiteX70" fmla="*/ 3571678 w 6002552"/>
              <a:gd name="connsiteY70" fmla="*/ 3379290 h 4929733"/>
              <a:gd name="connsiteX71" fmla="*/ 3596858 w 6002552"/>
              <a:gd name="connsiteY71" fmla="*/ 3344691 h 4929733"/>
              <a:gd name="connsiteX72" fmla="*/ 3621837 w 6002552"/>
              <a:gd name="connsiteY72" fmla="*/ 3309893 h 4929733"/>
              <a:gd name="connsiteX73" fmla="*/ 3671240 w 6002552"/>
              <a:gd name="connsiteY73" fmla="*/ 3239724 h 4929733"/>
              <a:gd name="connsiteX74" fmla="*/ 3719980 w 6002552"/>
              <a:gd name="connsiteY74" fmla="*/ 3168836 h 4929733"/>
              <a:gd name="connsiteX75" fmla="*/ 3768150 w 6002552"/>
              <a:gd name="connsiteY75" fmla="*/ 3097281 h 4929733"/>
              <a:gd name="connsiteX76" fmla="*/ 3815845 w 6002552"/>
              <a:gd name="connsiteY76" fmla="*/ 3025110 h 4929733"/>
              <a:gd name="connsiteX77" fmla="*/ 3863158 w 6002552"/>
              <a:gd name="connsiteY77" fmla="*/ 2952375 h 4929733"/>
              <a:gd name="connsiteX78" fmla="*/ 3933615 w 6002552"/>
              <a:gd name="connsiteY78" fmla="*/ 2842329 h 4929733"/>
              <a:gd name="connsiteX79" fmla="*/ 4215259 w 6002552"/>
              <a:gd name="connsiteY79" fmla="*/ 2394125 h 4929733"/>
              <a:gd name="connsiteX80" fmla="*/ 4287203 w 6002552"/>
              <a:gd name="connsiteY80" fmla="*/ 2280944 h 4929733"/>
              <a:gd name="connsiteX81" fmla="*/ 4335837 w 6002552"/>
              <a:gd name="connsiteY81" fmla="*/ 2205422 h 4929733"/>
              <a:gd name="connsiteX82" fmla="*/ 4416515 w 6002552"/>
              <a:gd name="connsiteY82" fmla="*/ 2081094 h 4929733"/>
              <a:gd name="connsiteX83" fmla="*/ 4500011 w 6002552"/>
              <a:gd name="connsiteY83" fmla="*/ 1950584 h 4929733"/>
              <a:gd name="connsiteX84" fmla="*/ 4775976 w 6002552"/>
              <a:gd name="connsiteY84" fmla="*/ 1513988 h 4929733"/>
              <a:gd name="connsiteX85" fmla="*/ 4859221 w 6002552"/>
              <a:gd name="connsiteY85" fmla="*/ 1383871 h 4929733"/>
              <a:gd name="connsiteX86" fmla="*/ 4915112 w 6002552"/>
              <a:gd name="connsiteY86" fmla="*/ 1297666 h 4929733"/>
              <a:gd name="connsiteX87" fmla="*/ 4971425 w 6002552"/>
              <a:gd name="connsiteY87" fmla="*/ 1212012 h 4929733"/>
              <a:gd name="connsiteX88" fmla="*/ 5028248 w 6002552"/>
              <a:gd name="connsiteY88" fmla="*/ 1127013 h 4929733"/>
              <a:gd name="connsiteX89" fmla="*/ 5085670 w 6002552"/>
              <a:gd name="connsiteY89" fmla="*/ 1042769 h 4929733"/>
              <a:gd name="connsiteX90" fmla="*/ 5114634 w 6002552"/>
              <a:gd name="connsiteY90" fmla="*/ 1000963 h 4929733"/>
              <a:gd name="connsiteX91" fmla="*/ 5143782 w 6002552"/>
              <a:gd name="connsiteY91" fmla="*/ 959384 h 4929733"/>
              <a:gd name="connsiteX92" fmla="*/ 5173123 w 6002552"/>
              <a:gd name="connsiteY92" fmla="*/ 918045 h 4929733"/>
              <a:gd name="connsiteX93" fmla="*/ 5202671 w 6002552"/>
              <a:gd name="connsiteY93" fmla="*/ 876959 h 4929733"/>
              <a:gd name="connsiteX94" fmla="*/ 5232435 w 6002552"/>
              <a:gd name="connsiteY94" fmla="*/ 836139 h 4929733"/>
              <a:gd name="connsiteX95" fmla="*/ 5262428 w 6002552"/>
              <a:gd name="connsiteY95" fmla="*/ 795597 h 4929733"/>
              <a:gd name="connsiteX96" fmla="*/ 5292659 w 6002552"/>
              <a:gd name="connsiteY96" fmla="*/ 755346 h 4929733"/>
              <a:gd name="connsiteX97" fmla="*/ 5323141 w 6002552"/>
              <a:gd name="connsiteY97" fmla="*/ 715400 h 4929733"/>
              <a:gd name="connsiteX98" fmla="*/ 5353885 w 6002552"/>
              <a:gd name="connsiteY98" fmla="*/ 675770 h 4929733"/>
              <a:gd name="connsiteX99" fmla="*/ 5384901 w 6002552"/>
              <a:gd name="connsiteY99" fmla="*/ 636470 h 4929733"/>
              <a:gd name="connsiteX100" fmla="*/ 5416201 w 6002552"/>
              <a:gd name="connsiteY100" fmla="*/ 597512 h 4929733"/>
              <a:gd name="connsiteX101" fmla="*/ 5447796 w 6002552"/>
              <a:gd name="connsiteY101" fmla="*/ 558910 h 4929733"/>
              <a:gd name="connsiteX102" fmla="*/ 5479697 w 6002552"/>
              <a:gd name="connsiteY102" fmla="*/ 520675 h 4929733"/>
              <a:gd name="connsiteX103" fmla="*/ 5511916 w 6002552"/>
              <a:gd name="connsiteY103" fmla="*/ 482821 h 4929733"/>
              <a:gd name="connsiteX104" fmla="*/ 5544463 w 6002552"/>
              <a:gd name="connsiteY104" fmla="*/ 445361 h 4929733"/>
              <a:gd name="connsiteX105" fmla="*/ 5577350 w 6002552"/>
              <a:gd name="connsiteY105" fmla="*/ 408306 h 4929733"/>
              <a:gd name="connsiteX106" fmla="*/ 5610587 w 6002552"/>
              <a:gd name="connsiteY106" fmla="*/ 371671 h 4929733"/>
              <a:gd name="connsiteX107" fmla="*/ 5644187 w 6002552"/>
              <a:gd name="connsiteY107" fmla="*/ 335468 h 4929733"/>
              <a:gd name="connsiteX108" fmla="*/ 5678160 w 6002552"/>
              <a:gd name="connsiteY108" fmla="*/ 299710 h 4929733"/>
              <a:gd name="connsiteX109" fmla="*/ 5712517 w 6002552"/>
              <a:gd name="connsiteY109" fmla="*/ 264408 h 4929733"/>
              <a:gd name="connsiteX110" fmla="*/ 5747270 w 6002552"/>
              <a:gd name="connsiteY110" fmla="*/ 229577 h 4929733"/>
              <a:gd name="connsiteX111" fmla="*/ 5782429 w 6002552"/>
              <a:gd name="connsiteY111" fmla="*/ 195229 h 4929733"/>
              <a:gd name="connsiteX112" fmla="*/ 5818007 w 6002552"/>
              <a:gd name="connsiteY112" fmla="*/ 161377 h 4929733"/>
              <a:gd name="connsiteX113" fmla="*/ 5854013 w 6002552"/>
              <a:gd name="connsiteY113" fmla="*/ 128033 h 4929733"/>
              <a:gd name="connsiteX114" fmla="*/ 5890459 w 6002552"/>
              <a:gd name="connsiteY114" fmla="*/ 95211 h 4929733"/>
              <a:gd name="connsiteX115" fmla="*/ 5927357 w 6002552"/>
              <a:gd name="connsiteY115" fmla="*/ 62923 h 4929733"/>
              <a:gd name="connsiteX116" fmla="*/ 5964718 w 6002552"/>
              <a:gd name="connsiteY116" fmla="*/ 31181 h 4929733"/>
              <a:gd name="connsiteX117" fmla="*/ 6002552 w 6002552"/>
              <a:gd name="connsiteY117" fmla="*/ 0 h 4929733"/>
              <a:gd name="connsiteX0" fmla="*/ 6014544 w 6014544"/>
              <a:gd name="connsiteY0" fmla="*/ 0 h 4929733"/>
              <a:gd name="connsiteX1" fmla="*/ 511 w 6014544"/>
              <a:gd name="connsiteY1" fmla="*/ 7668 h 4929733"/>
              <a:gd name="connsiteX2" fmla="*/ 11992 w 6014544"/>
              <a:gd name="connsiteY2" fmla="*/ 4929733 h 4929733"/>
              <a:gd name="connsiteX3" fmla="*/ 826657 w 6014544"/>
              <a:gd name="connsiteY3" fmla="*/ 4904003 h 4929733"/>
              <a:gd name="connsiteX4" fmla="*/ 891923 w 6014544"/>
              <a:gd name="connsiteY4" fmla="*/ 4897516 h 4929733"/>
              <a:gd name="connsiteX5" fmla="*/ 956205 w 6014544"/>
              <a:gd name="connsiteY5" fmla="*/ 4890395 h 4929733"/>
              <a:gd name="connsiteX6" fmla="*/ 1019514 w 6014544"/>
              <a:gd name="connsiteY6" fmla="*/ 4882647 h 4929733"/>
              <a:gd name="connsiteX7" fmla="*/ 1081862 w 6014544"/>
              <a:gd name="connsiteY7" fmla="*/ 4874279 h 4929733"/>
              <a:gd name="connsiteX8" fmla="*/ 1143262 w 6014544"/>
              <a:gd name="connsiteY8" fmla="*/ 4865297 h 4929733"/>
              <a:gd name="connsiteX9" fmla="*/ 1203724 w 6014544"/>
              <a:gd name="connsiteY9" fmla="*/ 4855708 h 4929733"/>
              <a:gd name="connsiteX10" fmla="*/ 1263261 w 6014544"/>
              <a:gd name="connsiteY10" fmla="*/ 4845517 h 4929733"/>
              <a:gd name="connsiteX11" fmla="*/ 1321883 w 6014544"/>
              <a:gd name="connsiteY11" fmla="*/ 4834732 h 4929733"/>
              <a:gd name="connsiteX12" fmla="*/ 1379603 w 6014544"/>
              <a:gd name="connsiteY12" fmla="*/ 4823359 h 4929733"/>
              <a:gd name="connsiteX13" fmla="*/ 1436433 w 6014544"/>
              <a:gd name="connsiteY13" fmla="*/ 4811404 h 4929733"/>
              <a:gd name="connsiteX14" fmla="*/ 1492384 w 6014544"/>
              <a:gd name="connsiteY14" fmla="*/ 4798874 h 4929733"/>
              <a:gd name="connsiteX15" fmla="*/ 1547467 w 6014544"/>
              <a:gd name="connsiteY15" fmla="*/ 4785776 h 4929733"/>
              <a:gd name="connsiteX16" fmla="*/ 1601695 w 6014544"/>
              <a:gd name="connsiteY16" fmla="*/ 4772115 h 4929733"/>
              <a:gd name="connsiteX17" fmla="*/ 1655080 w 6014544"/>
              <a:gd name="connsiteY17" fmla="*/ 4757899 h 4929733"/>
              <a:gd name="connsiteX18" fmla="*/ 1707632 w 6014544"/>
              <a:gd name="connsiteY18" fmla="*/ 4743134 h 4929733"/>
              <a:gd name="connsiteX19" fmla="*/ 1759363 w 6014544"/>
              <a:gd name="connsiteY19" fmla="*/ 4727825 h 4929733"/>
              <a:gd name="connsiteX20" fmla="*/ 1810286 w 6014544"/>
              <a:gd name="connsiteY20" fmla="*/ 4711981 h 4929733"/>
              <a:gd name="connsiteX21" fmla="*/ 1860412 w 6014544"/>
              <a:gd name="connsiteY21" fmla="*/ 4695607 h 4929733"/>
              <a:gd name="connsiteX22" fmla="*/ 1909753 w 6014544"/>
              <a:gd name="connsiteY22" fmla="*/ 4678710 h 4929733"/>
              <a:gd name="connsiteX23" fmla="*/ 1958320 w 6014544"/>
              <a:gd name="connsiteY23" fmla="*/ 4661296 h 4929733"/>
              <a:gd name="connsiteX24" fmla="*/ 2006125 w 6014544"/>
              <a:gd name="connsiteY24" fmla="*/ 4643371 h 4929733"/>
              <a:gd name="connsiteX25" fmla="*/ 2053179 w 6014544"/>
              <a:gd name="connsiteY25" fmla="*/ 4624943 h 4929733"/>
              <a:gd name="connsiteX26" fmla="*/ 2099495 w 6014544"/>
              <a:gd name="connsiteY26" fmla="*/ 4606017 h 4929733"/>
              <a:gd name="connsiteX27" fmla="*/ 2145084 w 6014544"/>
              <a:gd name="connsiteY27" fmla="*/ 4586601 h 4929733"/>
              <a:gd name="connsiteX28" fmla="*/ 2189958 w 6014544"/>
              <a:gd name="connsiteY28" fmla="*/ 4566700 h 4929733"/>
              <a:gd name="connsiteX29" fmla="*/ 2234129 w 6014544"/>
              <a:gd name="connsiteY29" fmla="*/ 4546321 h 4929733"/>
              <a:gd name="connsiteX30" fmla="*/ 2277607 w 6014544"/>
              <a:gd name="connsiteY30" fmla="*/ 4525471 h 4929733"/>
              <a:gd name="connsiteX31" fmla="*/ 2320406 w 6014544"/>
              <a:gd name="connsiteY31" fmla="*/ 4504156 h 4929733"/>
              <a:gd name="connsiteX32" fmla="*/ 2362536 w 6014544"/>
              <a:gd name="connsiteY32" fmla="*/ 4482383 h 4929733"/>
              <a:gd name="connsiteX33" fmla="*/ 2404009 w 6014544"/>
              <a:gd name="connsiteY33" fmla="*/ 4460157 h 4929733"/>
              <a:gd name="connsiteX34" fmla="*/ 2444837 w 6014544"/>
              <a:gd name="connsiteY34" fmla="*/ 4437486 h 4929733"/>
              <a:gd name="connsiteX35" fmla="*/ 2485032 w 6014544"/>
              <a:gd name="connsiteY35" fmla="*/ 4414376 h 4929733"/>
              <a:gd name="connsiteX36" fmla="*/ 2524605 w 6014544"/>
              <a:gd name="connsiteY36" fmla="*/ 4390833 h 4929733"/>
              <a:gd name="connsiteX37" fmla="*/ 2563568 w 6014544"/>
              <a:gd name="connsiteY37" fmla="*/ 4366865 h 4929733"/>
              <a:gd name="connsiteX38" fmla="*/ 2601933 w 6014544"/>
              <a:gd name="connsiteY38" fmla="*/ 4342477 h 4929733"/>
              <a:gd name="connsiteX39" fmla="*/ 2639711 w 6014544"/>
              <a:gd name="connsiteY39" fmla="*/ 4317675 h 4929733"/>
              <a:gd name="connsiteX40" fmla="*/ 2676915 w 6014544"/>
              <a:gd name="connsiteY40" fmla="*/ 4292467 h 4929733"/>
              <a:gd name="connsiteX41" fmla="*/ 2713555 w 6014544"/>
              <a:gd name="connsiteY41" fmla="*/ 4266859 h 4929733"/>
              <a:gd name="connsiteX42" fmla="*/ 2749643 w 6014544"/>
              <a:gd name="connsiteY42" fmla="*/ 4240857 h 4929733"/>
              <a:gd name="connsiteX43" fmla="*/ 2785192 w 6014544"/>
              <a:gd name="connsiteY43" fmla="*/ 4214468 h 4929733"/>
              <a:gd name="connsiteX44" fmla="*/ 2820213 w 6014544"/>
              <a:gd name="connsiteY44" fmla="*/ 4187699 h 4929733"/>
              <a:gd name="connsiteX45" fmla="*/ 2854717 w 6014544"/>
              <a:gd name="connsiteY45" fmla="*/ 4160555 h 4929733"/>
              <a:gd name="connsiteX46" fmla="*/ 2888716 w 6014544"/>
              <a:gd name="connsiteY46" fmla="*/ 4133043 h 4929733"/>
              <a:gd name="connsiteX47" fmla="*/ 2922222 w 6014544"/>
              <a:gd name="connsiteY47" fmla="*/ 4105171 h 4929733"/>
              <a:gd name="connsiteX48" fmla="*/ 2955247 w 6014544"/>
              <a:gd name="connsiteY48" fmla="*/ 4076943 h 4929733"/>
              <a:gd name="connsiteX49" fmla="*/ 2987803 w 6014544"/>
              <a:gd name="connsiteY49" fmla="*/ 4048367 h 4929733"/>
              <a:gd name="connsiteX50" fmla="*/ 3019900 w 6014544"/>
              <a:gd name="connsiteY50" fmla="*/ 4019449 h 4929733"/>
              <a:gd name="connsiteX51" fmla="*/ 3051551 w 6014544"/>
              <a:gd name="connsiteY51" fmla="*/ 3990196 h 4929733"/>
              <a:gd name="connsiteX52" fmla="*/ 3082767 w 6014544"/>
              <a:gd name="connsiteY52" fmla="*/ 3960614 h 4929733"/>
              <a:gd name="connsiteX53" fmla="*/ 3113560 w 6014544"/>
              <a:gd name="connsiteY53" fmla="*/ 3930710 h 4929733"/>
              <a:gd name="connsiteX54" fmla="*/ 3143943 w 6014544"/>
              <a:gd name="connsiteY54" fmla="*/ 3900490 h 4929733"/>
              <a:gd name="connsiteX55" fmla="*/ 3173925 w 6014544"/>
              <a:gd name="connsiteY55" fmla="*/ 3869960 h 4929733"/>
              <a:gd name="connsiteX56" fmla="*/ 3203520 w 6014544"/>
              <a:gd name="connsiteY56" fmla="*/ 3839127 h 4929733"/>
              <a:gd name="connsiteX57" fmla="*/ 3232739 w 6014544"/>
              <a:gd name="connsiteY57" fmla="*/ 3807998 h 4929733"/>
              <a:gd name="connsiteX58" fmla="*/ 3261593 w 6014544"/>
              <a:gd name="connsiteY58" fmla="*/ 3776579 h 4929733"/>
              <a:gd name="connsiteX59" fmla="*/ 3290094 w 6014544"/>
              <a:gd name="connsiteY59" fmla="*/ 3744877 h 4929733"/>
              <a:gd name="connsiteX60" fmla="*/ 3318254 w 6014544"/>
              <a:gd name="connsiteY60" fmla="*/ 3712897 h 4929733"/>
              <a:gd name="connsiteX61" fmla="*/ 3346085 w 6014544"/>
              <a:gd name="connsiteY61" fmla="*/ 3680647 h 4929733"/>
              <a:gd name="connsiteX62" fmla="*/ 3373598 w 6014544"/>
              <a:gd name="connsiteY62" fmla="*/ 3648133 h 4929733"/>
              <a:gd name="connsiteX63" fmla="*/ 3400806 w 6014544"/>
              <a:gd name="connsiteY63" fmla="*/ 3615361 h 4929733"/>
              <a:gd name="connsiteX64" fmla="*/ 3427719 w 6014544"/>
              <a:gd name="connsiteY64" fmla="*/ 3582338 h 4929733"/>
              <a:gd name="connsiteX65" fmla="*/ 3454349 w 6014544"/>
              <a:gd name="connsiteY65" fmla="*/ 3549071 h 4929733"/>
              <a:gd name="connsiteX66" fmla="*/ 3480708 w 6014544"/>
              <a:gd name="connsiteY66" fmla="*/ 3515565 h 4929733"/>
              <a:gd name="connsiteX67" fmla="*/ 3506808 w 6014544"/>
              <a:gd name="connsiteY67" fmla="*/ 3481828 h 4929733"/>
              <a:gd name="connsiteX68" fmla="*/ 3532661 w 6014544"/>
              <a:gd name="connsiteY68" fmla="*/ 3447865 h 4929733"/>
              <a:gd name="connsiteX69" fmla="*/ 3558277 w 6014544"/>
              <a:gd name="connsiteY69" fmla="*/ 3413684 h 4929733"/>
              <a:gd name="connsiteX70" fmla="*/ 3583670 w 6014544"/>
              <a:gd name="connsiteY70" fmla="*/ 3379290 h 4929733"/>
              <a:gd name="connsiteX71" fmla="*/ 3608850 w 6014544"/>
              <a:gd name="connsiteY71" fmla="*/ 3344691 h 4929733"/>
              <a:gd name="connsiteX72" fmla="*/ 3633829 w 6014544"/>
              <a:gd name="connsiteY72" fmla="*/ 3309893 h 4929733"/>
              <a:gd name="connsiteX73" fmla="*/ 3683232 w 6014544"/>
              <a:gd name="connsiteY73" fmla="*/ 3239724 h 4929733"/>
              <a:gd name="connsiteX74" fmla="*/ 3731972 w 6014544"/>
              <a:gd name="connsiteY74" fmla="*/ 3168836 h 4929733"/>
              <a:gd name="connsiteX75" fmla="*/ 3780142 w 6014544"/>
              <a:gd name="connsiteY75" fmla="*/ 3097281 h 4929733"/>
              <a:gd name="connsiteX76" fmla="*/ 3827837 w 6014544"/>
              <a:gd name="connsiteY76" fmla="*/ 3025110 h 4929733"/>
              <a:gd name="connsiteX77" fmla="*/ 3875150 w 6014544"/>
              <a:gd name="connsiteY77" fmla="*/ 2952375 h 4929733"/>
              <a:gd name="connsiteX78" fmla="*/ 3945607 w 6014544"/>
              <a:gd name="connsiteY78" fmla="*/ 2842329 h 4929733"/>
              <a:gd name="connsiteX79" fmla="*/ 4227251 w 6014544"/>
              <a:gd name="connsiteY79" fmla="*/ 2394125 h 4929733"/>
              <a:gd name="connsiteX80" fmla="*/ 4299195 w 6014544"/>
              <a:gd name="connsiteY80" fmla="*/ 2280944 h 4929733"/>
              <a:gd name="connsiteX81" fmla="*/ 4347829 w 6014544"/>
              <a:gd name="connsiteY81" fmla="*/ 2205422 h 4929733"/>
              <a:gd name="connsiteX82" fmla="*/ 4428507 w 6014544"/>
              <a:gd name="connsiteY82" fmla="*/ 2081094 h 4929733"/>
              <a:gd name="connsiteX83" fmla="*/ 4512003 w 6014544"/>
              <a:gd name="connsiteY83" fmla="*/ 1950584 h 4929733"/>
              <a:gd name="connsiteX84" fmla="*/ 4787968 w 6014544"/>
              <a:gd name="connsiteY84" fmla="*/ 1513988 h 4929733"/>
              <a:gd name="connsiteX85" fmla="*/ 4871213 w 6014544"/>
              <a:gd name="connsiteY85" fmla="*/ 1383871 h 4929733"/>
              <a:gd name="connsiteX86" fmla="*/ 4927104 w 6014544"/>
              <a:gd name="connsiteY86" fmla="*/ 1297666 h 4929733"/>
              <a:gd name="connsiteX87" fmla="*/ 4983417 w 6014544"/>
              <a:gd name="connsiteY87" fmla="*/ 1212012 h 4929733"/>
              <a:gd name="connsiteX88" fmla="*/ 5040240 w 6014544"/>
              <a:gd name="connsiteY88" fmla="*/ 1127013 h 4929733"/>
              <a:gd name="connsiteX89" fmla="*/ 5097662 w 6014544"/>
              <a:gd name="connsiteY89" fmla="*/ 1042769 h 4929733"/>
              <a:gd name="connsiteX90" fmla="*/ 5126626 w 6014544"/>
              <a:gd name="connsiteY90" fmla="*/ 1000963 h 4929733"/>
              <a:gd name="connsiteX91" fmla="*/ 5155774 w 6014544"/>
              <a:gd name="connsiteY91" fmla="*/ 959384 h 4929733"/>
              <a:gd name="connsiteX92" fmla="*/ 5185115 w 6014544"/>
              <a:gd name="connsiteY92" fmla="*/ 918045 h 4929733"/>
              <a:gd name="connsiteX93" fmla="*/ 5214663 w 6014544"/>
              <a:gd name="connsiteY93" fmla="*/ 876959 h 4929733"/>
              <a:gd name="connsiteX94" fmla="*/ 5244427 w 6014544"/>
              <a:gd name="connsiteY94" fmla="*/ 836139 h 4929733"/>
              <a:gd name="connsiteX95" fmla="*/ 5274420 w 6014544"/>
              <a:gd name="connsiteY95" fmla="*/ 795597 h 4929733"/>
              <a:gd name="connsiteX96" fmla="*/ 5304651 w 6014544"/>
              <a:gd name="connsiteY96" fmla="*/ 755346 h 4929733"/>
              <a:gd name="connsiteX97" fmla="*/ 5335133 w 6014544"/>
              <a:gd name="connsiteY97" fmla="*/ 715400 h 4929733"/>
              <a:gd name="connsiteX98" fmla="*/ 5365877 w 6014544"/>
              <a:gd name="connsiteY98" fmla="*/ 675770 h 4929733"/>
              <a:gd name="connsiteX99" fmla="*/ 5396893 w 6014544"/>
              <a:gd name="connsiteY99" fmla="*/ 636470 h 4929733"/>
              <a:gd name="connsiteX100" fmla="*/ 5428193 w 6014544"/>
              <a:gd name="connsiteY100" fmla="*/ 597512 h 4929733"/>
              <a:gd name="connsiteX101" fmla="*/ 5459788 w 6014544"/>
              <a:gd name="connsiteY101" fmla="*/ 558910 h 4929733"/>
              <a:gd name="connsiteX102" fmla="*/ 5491689 w 6014544"/>
              <a:gd name="connsiteY102" fmla="*/ 520675 h 4929733"/>
              <a:gd name="connsiteX103" fmla="*/ 5523908 w 6014544"/>
              <a:gd name="connsiteY103" fmla="*/ 482821 h 4929733"/>
              <a:gd name="connsiteX104" fmla="*/ 5556455 w 6014544"/>
              <a:gd name="connsiteY104" fmla="*/ 445361 h 4929733"/>
              <a:gd name="connsiteX105" fmla="*/ 5589342 w 6014544"/>
              <a:gd name="connsiteY105" fmla="*/ 408306 h 4929733"/>
              <a:gd name="connsiteX106" fmla="*/ 5622579 w 6014544"/>
              <a:gd name="connsiteY106" fmla="*/ 371671 h 4929733"/>
              <a:gd name="connsiteX107" fmla="*/ 5656179 w 6014544"/>
              <a:gd name="connsiteY107" fmla="*/ 335468 h 4929733"/>
              <a:gd name="connsiteX108" fmla="*/ 5690152 w 6014544"/>
              <a:gd name="connsiteY108" fmla="*/ 299710 h 4929733"/>
              <a:gd name="connsiteX109" fmla="*/ 5724509 w 6014544"/>
              <a:gd name="connsiteY109" fmla="*/ 264408 h 4929733"/>
              <a:gd name="connsiteX110" fmla="*/ 5759262 w 6014544"/>
              <a:gd name="connsiteY110" fmla="*/ 229577 h 4929733"/>
              <a:gd name="connsiteX111" fmla="*/ 5794421 w 6014544"/>
              <a:gd name="connsiteY111" fmla="*/ 195229 h 4929733"/>
              <a:gd name="connsiteX112" fmla="*/ 5829999 w 6014544"/>
              <a:gd name="connsiteY112" fmla="*/ 161377 h 4929733"/>
              <a:gd name="connsiteX113" fmla="*/ 5866005 w 6014544"/>
              <a:gd name="connsiteY113" fmla="*/ 128033 h 4929733"/>
              <a:gd name="connsiteX114" fmla="*/ 5902451 w 6014544"/>
              <a:gd name="connsiteY114" fmla="*/ 95211 h 4929733"/>
              <a:gd name="connsiteX115" fmla="*/ 5939349 w 6014544"/>
              <a:gd name="connsiteY115" fmla="*/ 62923 h 4929733"/>
              <a:gd name="connsiteX116" fmla="*/ 5976710 w 6014544"/>
              <a:gd name="connsiteY116" fmla="*/ 31181 h 4929733"/>
              <a:gd name="connsiteX117" fmla="*/ 6014544 w 6014544"/>
              <a:gd name="connsiteY117" fmla="*/ 0 h 49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14544" h="4929733">
                <a:moveTo>
                  <a:pt x="6014544" y="0"/>
                </a:moveTo>
                <a:lnTo>
                  <a:pt x="511" y="7668"/>
                </a:lnTo>
                <a:cubicBezTo>
                  <a:pt x="-3330" y="1650912"/>
                  <a:pt x="15833" y="3286489"/>
                  <a:pt x="11992" y="4929733"/>
                </a:cubicBezTo>
                <a:lnTo>
                  <a:pt x="826657" y="4904003"/>
                </a:lnTo>
                <a:lnTo>
                  <a:pt x="891923" y="4897516"/>
                </a:lnTo>
                <a:lnTo>
                  <a:pt x="956205" y="4890395"/>
                </a:lnTo>
                <a:lnTo>
                  <a:pt x="1019514" y="4882647"/>
                </a:lnTo>
                <a:lnTo>
                  <a:pt x="1081862" y="4874279"/>
                </a:lnTo>
                <a:lnTo>
                  <a:pt x="1143262" y="4865297"/>
                </a:lnTo>
                <a:lnTo>
                  <a:pt x="1203724" y="4855708"/>
                </a:lnTo>
                <a:lnTo>
                  <a:pt x="1263261" y="4845517"/>
                </a:lnTo>
                <a:lnTo>
                  <a:pt x="1321883" y="4834732"/>
                </a:lnTo>
                <a:lnTo>
                  <a:pt x="1379603" y="4823359"/>
                </a:lnTo>
                <a:lnTo>
                  <a:pt x="1436433" y="4811404"/>
                </a:lnTo>
                <a:lnTo>
                  <a:pt x="1492384" y="4798874"/>
                </a:lnTo>
                <a:lnTo>
                  <a:pt x="1547467" y="4785776"/>
                </a:lnTo>
                <a:lnTo>
                  <a:pt x="1601695" y="4772115"/>
                </a:lnTo>
                <a:lnTo>
                  <a:pt x="1655080" y="4757899"/>
                </a:lnTo>
                <a:lnTo>
                  <a:pt x="1707632" y="4743134"/>
                </a:lnTo>
                <a:lnTo>
                  <a:pt x="1759363" y="4727825"/>
                </a:lnTo>
                <a:lnTo>
                  <a:pt x="1810286" y="4711981"/>
                </a:lnTo>
                <a:lnTo>
                  <a:pt x="1860412" y="4695607"/>
                </a:lnTo>
                <a:lnTo>
                  <a:pt x="1909753" y="4678710"/>
                </a:lnTo>
                <a:lnTo>
                  <a:pt x="1958320" y="4661296"/>
                </a:lnTo>
                <a:lnTo>
                  <a:pt x="2006125" y="4643371"/>
                </a:lnTo>
                <a:lnTo>
                  <a:pt x="2053179" y="4624943"/>
                </a:lnTo>
                <a:lnTo>
                  <a:pt x="2099495" y="4606017"/>
                </a:lnTo>
                <a:lnTo>
                  <a:pt x="2145084" y="4586601"/>
                </a:lnTo>
                <a:lnTo>
                  <a:pt x="2189958" y="4566700"/>
                </a:lnTo>
                <a:lnTo>
                  <a:pt x="2234129" y="4546321"/>
                </a:lnTo>
                <a:lnTo>
                  <a:pt x="2277607" y="4525471"/>
                </a:lnTo>
                <a:lnTo>
                  <a:pt x="2320406" y="4504156"/>
                </a:lnTo>
                <a:lnTo>
                  <a:pt x="2362536" y="4482383"/>
                </a:lnTo>
                <a:lnTo>
                  <a:pt x="2404009" y="4460157"/>
                </a:lnTo>
                <a:lnTo>
                  <a:pt x="2444837" y="4437486"/>
                </a:lnTo>
                <a:lnTo>
                  <a:pt x="2485032" y="4414376"/>
                </a:lnTo>
                <a:lnTo>
                  <a:pt x="2524605" y="4390833"/>
                </a:lnTo>
                <a:lnTo>
                  <a:pt x="2563568" y="4366865"/>
                </a:lnTo>
                <a:lnTo>
                  <a:pt x="2601933" y="4342477"/>
                </a:lnTo>
                <a:lnTo>
                  <a:pt x="2639711" y="4317675"/>
                </a:lnTo>
                <a:lnTo>
                  <a:pt x="2676915" y="4292467"/>
                </a:lnTo>
                <a:lnTo>
                  <a:pt x="2713555" y="4266859"/>
                </a:lnTo>
                <a:lnTo>
                  <a:pt x="2749643" y="4240857"/>
                </a:lnTo>
                <a:lnTo>
                  <a:pt x="2785192" y="4214468"/>
                </a:lnTo>
                <a:lnTo>
                  <a:pt x="2820213" y="4187699"/>
                </a:lnTo>
                <a:lnTo>
                  <a:pt x="2854717" y="4160555"/>
                </a:lnTo>
                <a:lnTo>
                  <a:pt x="2888716" y="4133043"/>
                </a:lnTo>
                <a:lnTo>
                  <a:pt x="2922222" y="4105171"/>
                </a:lnTo>
                <a:lnTo>
                  <a:pt x="2955247" y="4076943"/>
                </a:lnTo>
                <a:lnTo>
                  <a:pt x="2987803" y="4048367"/>
                </a:lnTo>
                <a:lnTo>
                  <a:pt x="3019900" y="4019449"/>
                </a:lnTo>
                <a:lnTo>
                  <a:pt x="3051551" y="3990196"/>
                </a:lnTo>
                <a:lnTo>
                  <a:pt x="3082767" y="3960614"/>
                </a:lnTo>
                <a:lnTo>
                  <a:pt x="3113560" y="3930710"/>
                </a:lnTo>
                <a:lnTo>
                  <a:pt x="3143943" y="3900490"/>
                </a:lnTo>
                <a:lnTo>
                  <a:pt x="3173925" y="3869960"/>
                </a:lnTo>
                <a:lnTo>
                  <a:pt x="3203520" y="3839127"/>
                </a:lnTo>
                <a:lnTo>
                  <a:pt x="3232739" y="3807998"/>
                </a:lnTo>
                <a:lnTo>
                  <a:pt x="3261593" y="3776579"/>
                </a:lnTo>
                <a:lnTo>
                  <a:pt x="3290094" y="3744877"/>
                </a:lnTo>
                <a:lnTo>
                  <a:pt x="3318254" y="3712897"/>
                </a:lnTo>
                <a:lnTo>
                  <a:pt x="3346085" y="3680647"/>
                </a:lnTo>
                <a:lnTo>
                  <a:pt x="3373598" y="3648133"/>
                </a:lnTo>
                <a:lnTo>
                  <a:pt x="3400806" y="3615361"/>
                </a:lnTo>
                <a:lnTo>
                  <a:pt x="3427719" y="3582338"/>
                </a:lnTo>
                <a:lnTo>
                  <a:pt x="3454349" y="3549071"/>
                </a:lnTo>
                <a:lnTo>
                  <a:pt x="3480708" y="3515565"/>
                </a:lnTo>
                <a:lnTo>
                  <a:pt x="3506808" y="3481828"/>
                </a:lnTo>
                <a:lnTo>
                  <a:pt x="3532661" y="3447865"/>
                </a:lnTo>
                <a:lnTo>
                  <a:pt x="3558277" y="3413684"/>
                </a:lnTo>
                <a:lnTo>
                  <a:pt x="3583670" y="3379290"/>
                </a:lnTo>
                <a:lnTo>
                  <a:pt x="3608850" y="3344691"/>
                </a:lnTo>
                <a:lnTo>
                  <a:pt x="3633829" y="3309893"/>
                </a:lnTo>
                <a:lnTo>
                  <a:pt x="3683232" y="3239724"/>
                </a:lnTo>
                <a:lnTo>
                  <a:pt x="3731972" y="3168836"/>
                </a:lnTo>
                <a:lnTo>
                  <a:pt x="3780142" y="3097281"/>
                </a:lnTo>
                <a:lnTo>
                  <a:pt x="3827837" y="3025110"/>
                </a:lnTo>
                <a:lnTo>
                  <a:pt x="3875150" y="2952375"/>
                </a:lnTo>
                <a:lnTo>
                  <a:pt x="3945607" y="2842329"/>
                </a:lnTo>
                <a:lnTo>
                  <a:pt x="4227251" y="2394125"/>
                </a:lnTo>
                <a:lnTo>
                  <a:pt x="4299195" y="2280944"/>
                </a:lnTo>
                <a:lnTo>
                  <a:pt x="4347829" y="2205422"/>
                </a:lnTo>
                <a:lnTo>
                  <a:pt x="4428507" y="2081094"/>
                </a:lnTo>
                <a:lnTo>
                  <a:pt x="4512003" y="1950584"/>
                </a:lnTo>
                <a:lnTo>
                  <a:pt x="4787968" y="1513988"/>
                </a:lnTo>
                <a:lnTo>
                  <a:pt x="4871213" y="1383871"/>
                </a:lnTo>
                <a:lnTo>
                  <a:pt x="4927104" y="1297666"/>
                </a:lnTo>
                <a:lnTo>
                  <a:pt x="4983417" y="1212012"/>
                </a:lnTo>
                <a:lnTo>
                  <a:pt x="5040240" y="1127013"/>
                </a:lnTo>
                <a:lnTo>
                  <a:pt x="5097662" y="1042769"/>
                </a:lnTo>
                <a:lnTo>
                  <a:pt x="5126626" y="1000963"/>
                </a:lnTo>
                <a:lnTo>
                  <a:pt x="5155774" y="959384"/>
                </a:lnTo>
                <a:lnTo>
                  <a:pt x="5185115" y="918045"/>
                </a:lnTo>
                <a:lnTo>
                  <a:pt x="5214663" y="876959"/>
                </a:lnTo>
                <a:lnTo>
                  <a:pt x="5244427" y="836139"/>
                </a:lnTo>
                <a:lnTo>
                  <a:pt x="5274420" y="795597"/>
                </a:lnTo>
                <a:lnTo>
                  <a:pt x="5304651" y="755346"/>
                </a:lnTo>
                <a:lnTo>
                  <a:pt x="5335133" y="715400"/>
                </a:lnTo>
                <a:lnTo>
                  <a:pt x="5365877" y="675770"/>
                </a:lnTo>
                <a:lnTo>
                  <a:pt x="5396893" y="636470"/>
                </a:lnTo>
                <a:lnTo>
                  <a:pt x="5428193" y="597512"/>
                </a:lnTo>
                <a:lnTo>
                  <a:pt x="5459788" y="558910"/>
                </a:lnTo>
                <a:lnTo>
                  <a:pt x="5491689" y="520675"/>
                </a:lnTo>
                <a:lnTo>
                  <a:pt x="5523908" y="482821"/>
                </a:lnTo>
                <a:lnTo>
                  <a:pt x="5556455" y="445361"/>
                </a:lnTo>
                <a:lnTo>
                  <a:pt x="5589342" y="408306"/>
                </a:lnTo>
                <a:lnTo>
                  <a:pt x="5622579" y="371671"/>
                </a:lnTo>
                <a:lnTo>
                  <a:pt x="5656179" y="335468"/>
                </a:lnTo>
                <a:lnTo>
                  <a:pt x="5690152" y="299710"/>
                </a:lnTo>
                <a:lnTo>
                  <a:pt x="5724509" y="264408"/>
                </a:lnTo>
                <a:lnTo>
                  <a:pt x="5759262" y="229577"/>
                </a:lnTo>
                <a:lnTo>
                  <a:pt x="5794421" y="195229"/>
                </a:lnTo>
                <a:lnTo>
                  <a:pt x="5829999" y="161377"/>
                </a:lnTo>
                <a:lnTo>
                  <a:pt x="5866005" y="128033"/>
                </a:lnTo>
                <a:lnTo>
                  <a:pt x="5902451" y="95211"/>
                </a:lnTo>
                <a:lnTo>
                  <a:pt x="5939349" y="62923"/>
                </a:lnTo>
                <a:lnTo>
                  <a:pt x="5976710" y="31181"/>
                </a:lnTo>
                <a:lnTo>
                  <a:pt x="6014544" y="0"/>
                </a:lnTo>
                <a:close/>
              </a:path>
            </a:pathLst>
          </a:custGeom>
          <a:solidFill>
            <a:schemeClr val="bg1"/>
          </a:solidFill>
        </p:spPr>
        <p:txBody>
          <a:bodyPr wrap="square" lIns="0" tIns="0" rIns="0" bIns="0" rtlCol="0"/>
          <a:lstStyle/>
          <a:p>
            <a:endParaRPr/>
          </a:p>
        </p:txBody>
      </p:sp>
      <p:sp>
        <p:nvSpPr>
          <p:cNvPr id="39" name="Titel 1">
            <a:extLst>
              <a:ext uri="{FF2B5EF4-FFF2-40B4-BE49-F238E27FC236}">
                <a16:creationId xmlns:a16="http://schemas.microsoft.com/office/drawing/2014/main" id="{F420976D-DF05-5525-6577-F426180F9CA9}"/>
              </a:ext>
            </a:extLst>
          </p:cNvPr>
          <p:cNvSpPr>
            <a:spLocks noGrp="1"/>
          </p:cNvSpPr>
          <p:nvPr>
            <p:ph type="ctrTitle"/>
          </p:nvPr>
        </p:nvSpPr>
        <p:spPr>
          <a:xfrm>
            <a:off x="399922" y="2161077"/>
            <a:ext cx="5443315" cy="1725277"/>
          </a:xfrm>
          <a:prstGeom prst="rect">
            <a:avLst/>
          </a:prstGeom>
        </p:spPr>
        <p:txBody>
          <a:bodyPr anchor="b">
            <a:noAutofit/>
          </a:bodyPr>
          <a:lstStyle>
            <a:lvl1pPr algn="l">
              <a:defRPr sz="6000" b="1" i="0">
                <a:solidFill>
                  <a:srgbClr val="2C3051"/>
                </a:solidFill>
                <a:latin typeface="Avenir Black" panose="02000503020000020003" pitchFamily="2" charset="0"/>
              </a:defRPr>
            </a:lvl1pPr>
          </a:lstStyle>
          <a:p>
            <a:r>
              <a:rPr lang="en-US"/>
              <a:t>Click to edit Master title style</a:t>
            </a:r>
            <a:endParaRPr lang="nl-BE"/>
          </a:p>
        </p:txBody>
      </p:sp>
      <p:pic>
        <p:nvPicPr>
          <p:cNvPr id="8" name="Afbeelding 28">
            <a:extLst>
              <a:ext uri="{FF2B5EF4-FFF2-40B4-BE49-F238E27FC236}">
                <a16:creationId xmlns:a16="http://schemas.microsoft.com/office/drawing/2014/main" id="{83CAAACC-926A-7D84-2E91-B9FAC5A21B7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2275774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Page-2">
    <p:spTree>
      <p:nvGrpSpPr>
        <p:cNvPr id="1" name=""/>
        <p:cNvGrpSpPr/>
        <p:nvPr/>
      </p:nvGrpSpPr>
      <p:grpSpPr>
        <a:xfrm>
          <a:off x="0" y="0"/>
          <a:ext cx="0" cy="0"/>
          <a:chOff x="0" y="0"/>
          <a:chExt cx="0" cy="0"/>
        </a:xfrm>
      </p:grpSpPr>
      <p:pic>
        <p:nvPicPr>
          <p:cNvPr id="30" name="Afbeelding 29">
            <a:extLst>
              <a:ext uri="{FF2B5EF4-FFF2-40B4-BE49-F238E27FC236}">
                <a16:creationId xmlns:a16="http://schemas.microsoft.com/office/drawing/2014/main" id="{D5D9F547-9670-675B-490C-BDDE9CB7FD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 name="object 2">
            <a:extLst>
              <a:ext uri="{FF2B5EF4-FFF2-40B4-BE49-F238E27FC236}">
                <a16:creationId xmlns:a16="http://schemas.microsoft.com/office/drawing/2014/main" id="{3D2B6280-E298-1950-32ED-44F945B94DA9}"/>
              </a:ext>
            </a:extLst>
          </p:cNvPr>
          <p:cNvSpPr/>
          <p:nvPr userDrawn="1"/>
        </p:nvSpPr>
        <p:spPr>
          <a:xfrm>
            <a:off x="-15456" y="-30067"/>
            <a:ext cx="8560742" cy="7016687"/>
          </a:xfrm>
          <a:custGeom>
            <a:avLst/>
            <a:gdLst>
              <a:gd name="connsiteX0" fmla="*/ 5991028 w 5991028"/>
              <a:gd name="connsiteY0" fmla="*/ 0 h 4904003"/>
              <a:gd name="connsiteX1" fmla="*/ 0 w 5991028"/>
              <a:gd name="connsiteY1" fmla="*/ 0 h 4904003"/>
              <a:gd name="connsiteX2" fmla="*/ 783063 w 5991028"/>
              <a:gd name="connsiteY2" fmla="*/ 4904003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5991028 w 5991028"/>
              <a:gd name="connsiteY0" fmla="*/ 0 h 4904003"/>
              <a:gd name="connsiteX1" fmla="*/ 0 w 5991028"/>
              <a:gd name="connsiteY1" fmla="*/ 0 h 4904003"/>
              <a:gd name="connsiteX2" fmla="*/ 530903 w 5991028"/>
              <a:gd name="connsiteY2" fmla="*/ 4841588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6002552 w 6002552"/>
              <a:gd name="connsiteY0" fmla="*/ 0 h 4929733"/>
              <a:gd name="connsiteX1" fmla="*/ 11524 w 6002552"/>
              <a:gd name="connsiteY1" fmla="*/ 0 h 4929733"/>
              <a:gd name="connsiteX2" fmla="*/ 0 w 6002552"/>
              <a:gd name="connsiteY2" fmla="*/ 4929733 h 4929733"/>
              <a:gd name="connsiteX3" fmla="*/ 814665 w 6002552"/>
              <a:gd name="connsiteY3" fmla="*/ 4904003 h 4929733"/>
              <a:gd name="connsiteX4" fmla="*/ 879931 w 6002552"/>
              <a:gd name="connsiteY4" fmla="*/ 4897516 h 4929733"/>
              <a:gd name="connsiteX5" fmla="*/ 944213 w 6002552"/>
              <a:gd name="connsiteY5" fmla="*/ 4890395 h 4929733"/>
              <a:gd name="connsiteX6" fmla="*/ 1007522 w 6002552"/>
              <a:gd name="connsiteY6" fmla="*/ 4882647 h 4929733"/>
              <a:gd name="connsiteX7" fmla="*/ 1069870 w 6002552"/>
              <a:gd name="connsiteY7" fmla="*/ 4874279 h 4929733"/>
              <a:gd name="connsiteX8" fmla="*/ 1131270 w 6002552"/>
              <a:gd name="connsiteY8" fmla="*/ 4865297 h 4929733"/>
              <a:gd name="connsiteX9" fmla="*/ 1191732 w 6002552"/>
              <a:gd name="connsiteY9" fmla="*/ 4855708 h 4929733"/>
              <a:gd name="connsiteX10" fmla="*/ 1251269 w 6002552"/>
              <a:gd name="connsiteY10" fmla="*/ 4845517 h 4929733"/>
              <a:gd name="connsiteX11" fmla="*/ 1309891 w 6002552"/>
              <a:gd name="connsiteY11" fmla="*/ 4834732 h 4929733"/>
              <a:gd name="connsiteX12" fmla="*/ 1367611 w 6002552"/>
              <a:gd name="connsiteY12" fmla="*/ 4823359 h 4929733"/>
              <a:gd name="connsiteX13" fmla="*/ 1424441 w 6002552"/>
              <a:gd name="connsiteY13" fmla="*/ 4811404 h 4929733"/>
              <a:gd name="connsiteX14" fmla="*/ 1480392 w 6002552"/>
              <a:gd name="connsiteY14" fmla="*/ 4798874 h 4929733"/>
              <a:gd name="connsiteX15" fmla="*/ 1535475 w 6002552"/>
              <a:gd name="connsiteY15" fmla="*/ 4785776 h 4929733"/>
              <a:gd name="connsiteX16" fmla="*/ 1589703 w 6002552"/>
              <a:gd name="connsiteY16" fmla="*/ 4772115 h 4929733"/>
              <a:gd name="connsiteX17" fmla="*/ 1643088 w 6002552"/>
              <a:gd name="connsiteY17" fmla="*/ 4757899 h 4929733"/>
              <a:gd name="connsiteX18" fmla="*/ 1695640 w 6002552"/>
              <a:gd name="connsiteY18" fmla="*/ 4743134 h 4929733"/>
              <a:gd name="connsiteX19" fmla="*/ 1747371 w 6002552"/>
              <a:gd name="connsiteY19" fmla="*/ 4727825 h 4929733"/>
              <a:gd name="connsiteX20" fmla="*/ 1798294 w 6002552"/>
              <a:gd name="connsiteY20" fmla="*/ 4711981 h 4929733"/>
              <a:gd name="connsiteX21" fmla="*/ 1848420 w 6002552"/>
              <a:gd name="connsiteY21" fmla="*/ 4695607 h 4929733"/>
              <a:gd name="connsiteX22" fmla="*/ 1897761 w 6002552"/>
              <a:gd name="connsiteY22" fmla="*/ 4678710 h 4929733"/>
              <a:gd name="connsiteX23" fmla="*/ 1946328 w 6002552"/>
              <a:gd name="connsiteY23" fmla="*/ 4661296 h 4929733"/>
              <a:gd name="connsiteX24" fmla="*/ 1994133 w 6002552"/>
              <a:gd name="connsiteY24" fmla="*/ 4643371 h 4929733"/>
              <a:gd name="connsiteX25" fmla="*/ 2041187 w 6002552"/>
              <a:gd name="connsiteY25" fmla="*/ 4624943 h 4929733"/>
              <a:gd name="connsiteX26" fmla="*/ 2087503 w 6002552"/>
              <a:gd name="connsiteY26" fmla="*/ 4606017 h 4929733"/>
              <a:gd name="connsiteX27" fmla="*/ 2133092 w 6002552"/>
              <a:gd name="connsiteY27" fmla="*/ 4586601 h 4929733"/>
              <a:gd name="connsiteX28" fmla="*/ 2177966 w 6002552"/>
              <a:gd name="connsiteY28" fmla="*/ 4566700 h 4929733"/>
              <a:gd name="connsiteX29" fmla="*/ 2222137 w 6002552"/>
              <a:gd name="connsiteY29" fmla="*/ 4546321 h 4929733"/>
              <a:gd name="connsiteX30" fmla="*/ 2265615 w 6002552"/>
              <a:gd name="connsiteY30" fmla="*/ 4525471 h 4929733"/>
              <a:gd name="connsiteX31" fmla="*/ 2308414 w 6002552"/>
              <a:gd name="connsiteY31" fmla="*/ 4504156 h 4929733"/>
              <a:gd name="connsiteX32" fmla="*/ 2350544 w 6002552"/>
              <a:gd name="connsiteY32" fmla="*/ 4482383 h 4929733"/>
              <a:gd name="connsiteX33" fmla="*/ 2392017 w 6002552"/>
              <a:gd name="connsiteY33" fmla="*/ 4460157 h 4929733"/>
              <a:gd name="connsiteX34" fmla="*/ 2432845 w 6002552"/>
              <a:gd name="connsiteY34" fmla="*/ 4437486 h 4929733"/>
              <a:gd name="connsiteX35" fmla="*/ 2473040 w 6002552"/>
              <a:gd name="connsiteY35" fmla="*/ 4414376 h 4929733"/>
              <a:gd name="connsiteX36" fmla="*/ 2512613 w 6002552"/>
              <a:gd name="connsiteY36" fmla="*/ 4390833 h 4929733"/>
              <a:gd name="connsiteX37" fmla="*/ 2551576 w 6002552"/>
              <a:gd name="connsiteY37" fmla="*/ 4366865 h 4929733"/>
              <a:gd name="connsiteX38" fmla="*/ 2589941 w 6002552"/>
              <a:gd name="connsiteY38" fmla="*/ 4342477 h 4929733"/>
              <a:gd name="connsiteX39" fmla="*/ 2627719 w 6002552"/>
              <a:gd name="connsiteY39" fmla="*/ 4317675 h 4929733"/>
              <a:gd name="connsiteX40" fmla="*/ 2664923 w 6002552"/>
              <a:gd name="connsiteY40" fmla="*/ 4292467 h 4929733"/>
              <a:gd name="connsiteX41" fmla="*/ 2701563 w 6002552"/>
              <a:gd name="connsiteY41" fmla="*/ 4266859 h 4929733"/>
              <a:gd name="connsiteX42" fmla="*/ 2737651 w 6002552"/>
              <a:gd name="connsiteY42" fmla="*/ 4240857 h 4929733"/>
              <a:gd name="connsiteX43" fmla="*/ 2773200 w 6002552"/>
              <a:gd name="connsiteY43" fmla="*/ 4214468 h 4929733"/>
              <a:gd name="connsiteX44" fmla="*/ 2808221 w 6002552"/>
              <a:gd name="connsiteY44" fmla="*/ 4187699 h 4929733"/>
              <a:gd name="connsiteX45" fmla="*/ 2842725 w 6002552"/>
              <a:gd name="connsiteY45" fmla="*/ 4160555 h 4929733"/>
              <a:gd name="connsiteX46" fmla="*/ 2876724 w 6002552"/>
              <a:gd name="connsiteY46" fmla="*/ 4133043 h 4929733"/>
              <a:gd name="connsiteX47" fmla="*/ 2910230 w 6002552"/>
              <a:gd name="connsiteY47" fmla="*/ 4105171 h 4929733"/>
              <a:gd name="connsiteX48" fmla="*/ 2943255 w 6002552"/>
              <a:gd name="connsiteY48" fmla="*/ 4076943 h 4929733"/>
              <a:gd name="connsiteX49" fmla="*/ 2975811 w 6002552"/>
              <a:gd name="connsiteY49" fmla="*/ 4048367 h 4929733"/>
              <a:gd name="connsiteX50" fmla="*/ 3007908 w 6002552"/>
              <a:gd name="connsiteY50" fmla="*/ 4019449 h 4929733"/>
              <a:gd name="connsiteX51" fmla="*/ 3039559 w 6002552"/>
              <a:gd name="connsiteY51" fmla="*/ 3990196 h 4929733"/>
              <a:gd name="connsiteX52" fmla="*/ 3070775 w 6002552"/>
              <a:gd name="connsiteY52" fmla="*/ 3960614 h 4929733"/>
              <a:gd name="connsiteX53" fmla="*/ 3101568 w 6002552"/>
              <a:gd name="connsiteY53" fmla="*/ 3930710 h 4929733"/>
              <a:gd name="connsiteX54" fmla="*/ 3131951 w 6002552"/>
              <a:gd name="connsiteY54" fmla="*/ 3900490 h 4929733"/>
              <a:gd name="connsiteX55" fmla="*/ 3161933 w 6002552"/>
              <a:gd name="connsiteY55" fmla="*/ 3869960 h 4929733"/>
              <a:gd name="connsiteX56" fmla="*/ 3191528 w 6002552"/>
              <a:gd name="connsiteY56" fmla="*/ 3839127 h 4929733"/>
              <a:gd name="connsiteX57" fmla="*/ 3220747 w 6002552"/>
              <a:gd name="connsiteY57" fmla="*/ 3807998 h 4929733"/>
              <a:gd name="connsiteX58" fmla="*/ 3249601 w 6002552"/>
              <a:gd name="connsiteY58" fmla="*/ 3776579 h 4929733"/>
              <a:gd name="connsiteX59" fmla="*/ 3278102 w 6002552"/>
              <a:gd name="connsiteY59" fmla="*/ 3744877 h 4929733"/>
              <a:gd name="connsiteX60" fmla="*/ 3306262 w 6002552"/>
              <a:gd name="connsiteY60" fmla="*/ 3712897 h 4929733"/>
              <a:gd name="connsiteX61" fmla="*/ 3334093 w 6002552"/>
              <a:gd name="connsiteY61" fmla="*/ 3680647 h 4929733"/>
              <a:gd name="connsiteX62" fmla="*/ 3361606 w 6002552"/>
              <a:gd name="connsiteY62" fmla="*/ 3648133 h 4929733"/>
              <a:gd name="connsiteX63" fmla="*/ 3388814 w 6002552"/>
              <a:gd name="connsiteY63" fmla="*/ 3615361 h 4929733"/>
              <a:gd name="connsiteX64" fmla="*/ 3415727 w 6002552"/>
              <a:gd name="connsiteY64" fmla="*/ 3582338 h 4929733"/>
              <a:gd name="connsiteX65" fmla="*/ 3442357 w 6002552"/>
              <a:gd name="connsiteY65" fmla="*/ 3549071 h 4929733"/>
              <a:gd name="connsiteX66" fmla="*/ 3468716 w 6002552"/>
              <a:gd name="connsiteY66" fmla="*/ 3515565 h 4929733"/>
              <a:gd name="connsiteX67" fmla="*/ 3494816 w 6002552"/>
              <a:gd name="connsiteY67" fmla="*/ 3481828 h 4929733"/>
              <a:gd name="connsiteX68" fmla="*/ 3520669 w 6002552"/>
              <a:gd name="connsiteY68" fmla="*/ 3447865 h 4929733"/>
              <a:gd name="connsiteX69" fmla="*/ 3546285 w 6002552"/>
              <a:gd name="connsiteY69" fmla="*/ 3413684 h 4929733"/>
              <a:gd name="connsiteX70" fmla="*/ 3571678 w 6002552"/>
              <a:gd name="connsiteY70" fmla="*/ 3379290 h 4929733"/>
              <a:gd name="connsiteX71" fmla="*/ 3596858 w 6002552"/>
              <a:gd name="connsiteY71" fmla="*/ 3344691 h 4929733"/>
              <a:gd name="connsiteX72" fmla="*/ 3621837 w 6002552"/>
              <a:gd name="connsiteY72" fmla="*/ 3309893 h 4929733"/>
              <a:gd name="connsiteX73" fmla="*/ 3671240 w 6002552"/>
              <a:gd name="connsiteY73" fmla="*/ 3239724 h 4929733"/>
              <a:gd name="connsiteX74" fmla="*/ 3719980 w 6002552"/>
              <a:gd name="connsiteY74" fmla="*/ 3168836 h 4929733"/>
              <a:gd name="connsiteX75" fmla="*/ 3768150 w 6002552"/>
              <a:gd name="connsiteY75" fmla="*/ 3097281 h 4929733"/>
              <a:gd name="connsiteX76" fmla="*/ 3815845 w 6002552"/>
              <a:gd name="connsiteY76" fmla="*/ 3025110 h 4929733"/>
              <a:gd name="connsiteX77" fmla="*/ 3863158 w 6002552"/>
              <a:gd name="connsiteY77" fmla="*/ 2952375 h 4929733"/>
              <a:gd name="connsiteX78" fmla="*/ 3933615 w 6002552"/>
              <a:gd name="connsiteY78" fmla="*/ 2842329 h 4929733"/>
              <a:gd name="connsiteX79" fmla="*/ 4215259 w 6002552"/>
              <a:gd name="connsiteY79" fmla="*/ 2394125 h 4929733"/>
              <a:gd name="connsiteX80" fmla="*/ 4287203 w 6002552"/>
              <a:gd name="connsiteY80" fmla="*/ 2280944 h 4929733"/>
              <a:gd name="connsiteX81" fmla="*/ 4335837 w 6002552"/>
              <a:gd name="connsiteY81" fmla="*/ 2205422 h 4929733"/>
              <a:gd name="connsiteX82" fmla="*/ 4416515 w 6002552"/>
              <a:gd name="connsiteY82" fmla="*/ 2081094 h 4929733"/>
              <a:gd name="connsiteX83" fmla="*/ 4500011 w 6002552"/>
              <a:gd name="connsiteY83" fmla="*/ 1950584 h 4929733"/>
              <a:gd name="connsiteX84" fmla="*/ 4775976 w 6002552"/>
              <a:gd name="connsiteY84" fmla="*/ 1513988 h 4929733"/>
              <a:gd name="connsiteX85" fmla="*/ 4859221 w 6002552"/>
              <a:gd name="connsiteY85" fmla="*/ 1383871 h 4929733"/>
              <a:gd name="connsiteX86" fmla="*/ 4915112 w 6002552"/>
              <a:gd name="connsiteY86" fmla="*/ 1297666 h 4929733"/>
              <a:gd name="connsiteX87" fmla="*/ 4971425 w 6002552"/>
              <a:gd name="connsiteY87" fmla="*/ 1212012 h 4929733"/>
              <a:gd name="connsiteX88" fmla="*/ 5028248 w 6002552"/>
              <a:gd name="connsiteY88" fmla="*/ 1127013 h 4929733"/>
              <a:gd name="connsiteX89" fmla="*/ 5085670 w 6002552"/>
              <a:gd name="connsiteY89" fmla="*/ 1042769 h 4929733"/>
              <a:gd name="connsiteX90" fmla="*/ 5114634 w 6002552"/>
              <a:gd name="connsiteY90" fmla="*/ 1000963 h 4929733"/>
              <a:gd name="connsiteX91" fmla="*/ 5143782 w 6002552"/>
              <a:gd name="connsiteY91" fmla="*/ 959384 h 4929733"/>
              <a:gd name="connsiteX92" fmla="*/ 5173123 w 6002552"/>
              <a:gd name="connsiteY92" fmla="*/ 918045 h 4929733"/>
              <a:gd name="connsiteX93" fmla="*/ 5202671 w 6002552"/>
              <a:gd name="connsiteY93" fmla="*/ 876959 h 4929733"/>
              <a:gd name="connsiteX94" fmla="*/ 5232435 w 6002552"/>
              <a:gd name="connsiteY94" fmla="*/ 836139 h 4929733"/>
              <a:gd name="connsiteX95" fmla="*/ 5262428 w 6002552"/>
              <a:gd name="connsiteY95" fmla="*/ 795597 h 4929733"/>
              <a:gd name="connsiteX96" fmla="*/ 5292659 w 6002552"/>
              <a:gd name="connsiteY96" fmla="*/ 755346 h 4929733"/>
              <a:gd name="connsiteX97" fmla="*/ 5323141 w 6002552"/>
              <a:gd name="connsiteY97" fmla="*/ 715400 h 4929733"/>
              <a:gd name="connsiteX98" fmla="*/ 5353885 w 6002552"/>
              <a:gd name="connsiteY98" fmla="*/ 675770 h 4929733"/>
              <a:gd name="connsiteX99" fmla="*/ 5384901 w 6002552"/>
              <a:gd name="connsiteY99" fmla="*/ 636470 h 4929733"/>
              <a:gd name="connsiteX100" fmla="*/ 5416201 w 6002552"/>
              <a:gd name="connsiteY100" fmla="*/ 597512 h 4929733"/>
              <a:gd name="connsiteX101" fmla="*/ 5447796 w 6002552"/>
              <a:gd name="connsiteY101" fmla="*/ 558910 h 4929733"/>
              <a:gd name="connsiteX102" fmla="*/ 5479697 w 6002552"/>
              <a:gd name="connsiteY102" fmla="*/ 520675 h 4929733"/>
              <a:gd name="connsiteX103" fmla="*/ 5511916 w 6002552"/>
              <a:gd name="connsiteY103" fmla="*/ 482821 h 4929733"/>
              <a:gd name="connsiteX104" fmla="*/ 5544463 w 6002552"/>
              <a:gd name="connsiteY104" fmla="*/ 445361 h 4929733"/>
              <a:gd name="connsiteX105" fmla="*/ 5577350 w 6002552"/>
              <a:gd name="connsiteY105" fmla="*/ 408306 h 4929733"/>
              <a:gd name="connsiteX106" fmla="*/ 5610587 w 6002552"/>
              <a:gd name="connsiteY106" fmla="*/ 371671 h 4929733"/>
              <a:gd name="connsiteX107" fmla="*/ 5644187 w 6002552"/>
              <a:gd name="connsiteY107" fmla="*/ 335468 h 4929733"/>
              <a:gd name="connsiteX108" fmla="*/ 5678160 w 6002552"/>
              <a:gd name="connsiteY108" fmla="*/ 299710 h 4929733"/>
              <a:gd name="connsiteX109" fmla="*/ 5712517 w 6002552"/>
              <a:gd name="connsiteY109" fmla="*/ 264408 h 4929733"/>
              <a:gd name="connsiteX110" fmla="*/ 5747270 w 6002552"/>
              <a:gd name="connsiteY110" fmla="*/ 229577 h 4929733"/>
              <a:gd name="connsiteX111" fmla="*/ 5782429 w 6002552"/>
              <a:gd name="connsiteY111" fmla="*/ 195229 h 4929733"/>
              <a:gd name="connsiteX112" fmla="*/ 5818007 w 6002552"/>
              <a:gd name="connsiteY112" fmla="*/ 161377 h 4929733"/>
              <a:gd name="connsiteX113" fmla="*/ 5854013 w 6002552"/>
              <a:gd name="connsiteY113" fmla="*/ 128033 h 4929733"/>
              <a:gd name="connsiteX114" fmla="*/ 5890459 w 6002552"/>
              <a:gd name="connsiteY114" fmla="*/ 95211 h 4929733"/>
              <a:gd name="connsiteX115" fmla="*/ 5927357 w 6002552"/>
              <a:gd name="connsiteY115" fmla="*/ 62923 h 4929733"/>
              <a:gd name="connsiteX116" fmla="*/ 5964718 w 6002552"/>
              <a:gd name="connsiteY116" fmla="*/ 31181 h 4929733"/>
              <a:gd name="connsiteX117" fmla="*/ 6002552 w 6002552"/>
              <a:gd name="connsiteY117" fmla="*/ 0 h 4929733"/>
              <a:gd name="connsiteX0" fmla="*/ 6014544 w 6014544"/>
              <a:gd name="connsiteY0" fmla="*/ 0 h 4929733"/>
              <a:gd name="connsiteX1" fmla="*/ 511 w 6014544"/>
              <a:gd name="connsiteY1" fmla="*/ 7668 h 4929733"/>
              <a:gd name="connsiteX2" fmla="*/ 11992 w 6014544"/>
              <a:gd name="connsiteY2" fmla="*/ 4929733 h 4929733"/>
              <a:gd name="connsiteX3" fmla="*/ 826657 w 6014544"/>
              <a:gd name="connsiteY3" fmla="*/ 4904003 h 4929733"/>
              <a:gd name="connsiteX4" fmla="*/ 891923 w 6014544"/>
              <a:gd name="connsiteY4" fmla="*/ 4897516 h 4929733"/>
              <a:gd name="connsiteX5" fmla="*/ 956205 w 6014544"/>
              <a:gd name="connsiteY5" fmla="*/ 4890395 h 4929733"/>
              <a:gd name="connsiteX6" fmla="*/ 1019514 w 6014544"/>
              <a:gd name="connsiteY6" fmla="*/ 4882647 h 4929733"/>
              <a:gd name="connsiteX7" fmla="*/ 1081862 w 6014544"/>
              <a:gd name="connsiteY7" fmla="*/ 4874279 h 4929733"/>
              <a:gd name="connsiteX8" fmla="*/ 1143262 w 6014544"/>
              <a:gd name="connsiteY8" fmla="*/ 4865297 h 4929733"/>
              <a:gd name="connsiteX9" fmla="*/ 1203724 w 6014544"/>
              <a:gd name="connsiteY9" fmla="*/ 4855708 h 4929733"/>
              <a:gd name="connsiteX10" fmla="*/ 1263261 w 6014544"/>
              <a:gd name="connsiteY10" fmla="*/ 4845517 h 4929733"/>
              <a:gd name="connsiteX11" fmla="*/ 1321883 w 6014544"/>
              <a:gd name="connsiteY11" fmla="*/ 4834732 h 4929733"/>
              <a:gd name="connsiteX12" fmla="*/ 1379603 w 6014544"/>
              <a:gd name="connsiteY12" fmla="*/ 4823359 h 4929733"/>
              <a:gd name="connsiteX13" fmla="*/ 1436433 w 6014544"/>
              <a:gd name="connsiteY13" fmla="*/ 4811404 h 4929733"/>
              <a:gd name="connsiteX14" fmla="*/ 1492384 w 6014544"/>
              <a:gd name="connsiteY14" fmla="*/ 4798874 h 4929733"/>
              <a:gd name="connsiteX15" fmla="*/ 1547467 w 6014544"/>
              <a:gd name="connsiteY15" fmla="*/ 4785776 h 4929733"/>
              <a:gd name="connsiteX16" fmla="*/ 1601695 w 6014544"/>
              <a:gd name="connsiteY16" fmla="*/ 4772115 h 4929733"/>
              <a:gd name="connsiteX17" fmla="*/ 1655080 w 6014544"/>
              <a:gd name="connsiteY17" fmla="*/ 4757899 h 4929733"/>
              <a:gd name="connsiteX18" fmla="*/ 1707632 w 6014544"/>
              <a:gd name="connsiteY18" fmla="*/ 4743134 h 4929733"/>
              <a:gd name="connsiteX19" fmla="*/ 1759363 w 6014544"/>
              <a:gd name="connsiteY19" fmla="*/ 4727825 h 4929733"/>
              <a:gd name="connsiteX20" fmla="*/ 1810286 w 6014544"/>
              <a:gd name="connsiteY20" fmla="*/ 4711981 h 4929733"/>
              <a:gd name="connsiteX21" fmla="*/ 1860412 w 6014544"/>
              <a:gd name="connsiteY21" fmla="*/ 4695607 h 4929733"/>
              <a:gd name="connsiteX22" fmla="*/ 1909753 w 6014544"/>
              <a:gd name="connsiteY22" fmla="*/ 4678710 h 4929733"/>
              <a:gd name="connsiteX23" fmla="*/ 1958320 w 6014544"/>
              <a:gd name="connsiteY23" fmla="*/ 4661296 h 4929733"/>
              <a:gd name="connsiteX24" fmla="*/ 2006125 w 6014544"/>
              <a:gd name="connsiteY24" fmla="*/ 4643371 h 4929733"/>
              <a:gd name="connsiteX25" fmla="*/ 2053179 w 6014544"/>
              <a:gd name="connsiteY25" fmla="*/ 4624943 h 4929733"/>
              <a:gd name="connsiteX26" fmla="*/ 2099495 w 6014544"/>
              <a:gd name="connsiteY26" fmla="*/ 4606017 h 4929733"/>
              <a:gd name="connsiteX27" fmla="*/ 2145084 w 6014544"/>
              <a:gd name="connsiteY27" fmla="*/ 4586601 h 4929733"/>
              <a:gd name="connsiteX28" fmla="*/ 2189958 w 6014544"/>
              <a:gd name="connsiteY28" fmla="*/ 4566700 h 4929733"/>
              <a:gd name="connsiteX29" fmla="*/ 2234129 w 6014544"/>
              <a:gd name="connsiteY29" fmla="*/ 4546321 h 4929733"/>
              <a:gd name="connsiteX30" fmla="*/ 2277607 w 6014544"/>
              <a:gd name="connsiteY30" fmla="*/ 4525471 h 4929733"/>
              <a:gd name="connsiteX31" fmla="*/ 2320406 w 6014544"/>
              <a:gd name="connsiteY31" fmla="*/ 4504156 h 4929733"/>
              <a:gd name="connsiteX32" fmla="*/ 2362536 w 6014544"/>
              <a:gd name="connsiteY32" fmla="*/ 4482383 h 4929733"/>
              <a:gd name="connsiteX33" fmla="*/ 2404009 w 6014544"/>
              <a:gd name="connsiteY33" fmla="*/ 4460157 h 4929733"/>
              <a:gd name="connsiteX34" fmla="*/ 2444837 w 6014544"/>
              <a:gd name="connsiteY34" fmla="*/ 4437486 h 4929733"/>
              <a:gd name="connsiteX35" fmla="*/ 2485032 w 6014544"/>
              <a:gd name="connsiteY35" fmla="*/ 4414376 h 4929733"/>
              <a:gd name="connsiteX36" fmla="*/ 2524605 w 6014544"/>
              <a:gd name="connsiteY36" fmla="*/ 4390833 h 4929733"/>
              <a:gd name="connsiteX37" fmla="*/ 2563568 w 6014544"/>
              <a:gd name="connsiteY37" fmla="*/ 4366865 h 4929733"/>
              <a:gd name="connsiteX38" fmla="*/ 2601933 w 6014544"/>
              <a:gd name="connsiteY38" fmla="*/ 4342477 h 4929733"/>
              <a:gd name="connsiteX39" fmla="*/ 2639711 w 6014544"/>
              <a:gd name="connsiteY39" fmla="*/ 4317675 h 4929733"/>
              <a:gd name="connsiteX40" fmla="*/ 2676915 w 6014544"/>
              <a:gd name="connsiteY40" fmla="*/ 4292467 h 4929733"/>
              <a:gd name="connsiteX41" fmla="*/ 2713555 w 6014544"/>
              <a:gd name="connsiteY41" fmla="*/ 4266859 h 4929733"/>
              <a:gd name="connsiteX42" fmla="*/ 2749643 w 6014544"/>
              <a:gd name="connsiteY42" fmla="*/ 4240857 h 4929733"/>
              <a:gd name="connsiteX43" fmla="*/ 2785192 w 6014544"/>
              <a:gd name="connsiteY43" fmla="*/ 4214468 h 4929733"/>
              <a:gd name="connsiteX44" fmla="*/ 2820213 w 6014544"/>
              <a:gd name="connsiteY44" fmla="*/ 4187699 h 4929733"/>
              <a:gd name="connsiteX45" fmla="*/ 2854717 w 6014544"/>
              <a:gd name="connsiteY45" fmla="*/ 4160555 h 4929733"/>
              <a:gd name="connsiteX46" fmla="*/ 2888716 w 6014544"/>
              <a:gd name="connsiteY46" fmla="*/ 4133043 h 4929733"/>
              <a:gd name="connsiteX47" fmla="*/ 2922222 w 6014544"/>
              <a:gd name="connsiteY47" fmla="*/ 4105171 h 4929733"/>
              <a:gd name="connsiteX48" fmla="*/ 2955247 w 6014544"/>
              <a:gd name="connsiteY48" fmla="*/ 4076943 h 4929733"/>
              <a:gd name="connsiteX49" fmla="*/ 2987803 w 6014544"/>
              <a:gd name="connsiteY49" fmla="*/ 4048367 h 4929733"/>
              <a:gd name="connsiteX50" fmla="*/ 3019900 w 6014544"/>
              <a:gd name="connsiteY50" fmla="*/ 4019449 h 4929733"/>
              <a:gd name="connsiteX51" fmla="*/ 3051551 w 6014544"/>
              <a:gd name="connsiteY51" fmla="*/ 3990196 h 4929733"/>
              <a:gd name="connsiteX52" fmla="*/ 3082767 w 6014544"/>
              <a:gd name="connsiteY52" fmla="*/ 3960614 h 4929733"/>
              <a:gd name="connsiteX53" fmla="*/ 3113560 w 6014544"/>
              <a:gd name="connsiteY53" fmla="*/ 3930710 h 4929733"/>
              <a:gd name="connsiteX54" fmla="*/ 3143943 w 6014544"/>
              <a:gd name="connsiteY54" fmla="*/ 3900490 h 4929733"/>
              <a:gd name="connsiteX55" fmla="*/ 3173925 w 6014544"/>
              <a:gd name="connsiteY55" fmla="*/ 3869960 h 4929733"/>
              <a:gd name="connsiteX56" fmla="*/ 3203520 w 6014544"/>
              <a:gd name="connsiteY56" fmla="*/ 3839127 h 4929733"/>
              <a:gd name="connsiteX57" fmla="*/ 3232739 w 6014544"/>
              <a:gd name="connsiteY57" fmla="*/ 3807998 h 4929733"/>
              <a:gd name="connsiteX58" fmla="*/ 3261593 w 6014544"/>
              <a:gd name="connsiteY58" fmla="*/ 3776579 h 4929733"/>
              <a:gd name="connsiteX59" fmla="*/ 3290094 w 6014544"/>
              <a:gd name="connsiteY59" fmla="*/ 3744877 h 4929733"/>
              <a:gd name="connsiteX60" fmla="*/ 3318254 w 6014544"/>
              <a:gd name="connsiteY60" fmla="*/ 3712897 h 4929733"/>
              <a:gd name="connsiteX61" fmla="*/ 3346085 w 6014544"/>
              <a:gd name="connsiteY61" fmla="*/ 3680647 h 4929733"/>
              <a:gd name="connsiteX62" fmla="*/ 3373598 w 6014544"/>
              <a:gd name="connsiteY62" fmla="*/ 3648133 h 4929733"/>
              <a:gd name="connsiteX63" fmla="*/ 3400806 w 6014544"/>
              <a:gd name="connsiteY63" fmla="*/ 3615361 h 4929733"/>
              <a:gd name="connsiteX64" fmla="*/ 3427719 w 6014544"/>
              <a:gd name="connsiteY64" fmla="*/ 3582338 h 4929733"/>
              <a:gd name="connsiteX65" fmla="*/ 3454349 w 6014544"/>
              <a:gd name="connsiteY65" fmla="*/ 3549071 h 4929733"/>
              <a:gd name="connsiteX66" fmla="*/ 3480708 w 6014544"/>
              <a:gd name="connsiteY66" fmla="*/ 3515565 h 4929733"/>
              <a:gd name="connsiteX67" fmla="*/ 3506808 w 6014544"/>
              <a:gd name="connsiteY67" fmla="*/ 3481828 h 4929733"/>
              <a:gd name="connsiteX68" fmla="*/ 3532661 w 6014544"/>
              <a:gd name="connsiteY68" fmla="*/ 3447865 h 4929733"/>
              <a:gd name="connsiteX69" fmla="*/ 3558277 w 6014544"/>
              <a:gd name="connsiteY69" fmla="*/ 3413684 h 4929733"/>
              <a:gd name="connsiteX70" fmla="*/ 3583670 w 6014544"/>
              <a:gd name="connsiteY70" fmla="*/ 3379290 h 4929733"/>
              <a:gd name="connsiteX71" fmla="*/ 3608850 w 6014544"/>
              <a:gd name="connsiteY71" fmla="*/ 3344691 h 4929733"/>
              <a:gd name="connsiteX72" fmla="*/ 3633829 w 6014544"/>
              <a:gd name="connsiteY72" fmla="*/ 3309893 h 4929733"/>
              <a:gd name="connsiteX73" fmla="*/ 3683232 w 6014544"/>
              <a:gd name="connsiteY73" fmla="*/ 3239724 h 4929733"/>
              <a:gd name="connsiteX74" fmla="*/ 3731972 w 6014544"/>
              <a:gd name="connsiteY74" fmla="*/ 3168836 h 4929733"/>
              <a:gd name="connsiteX75" fmla="*/ 3780142 w 6014544"/>
              <a:gd name="connsiteY75" fmla="*/ 3097281 h 4929733"/>
              <a:gd name="connsiteX76" fmla="*/ 3827837 w 6014544"/>
              <a:gd name="connsiteY76" fmla="*/ 3025110 h 4929733"/>
              <a:gd name="connsiteX77" fmla="*/ 3875150 w 6014544"/>
              <a:gd name="connsiteY77" fmla="*/ 2952375 h 4929733"/>
              <a:gd name="connsiteX78" fmla="*/ 3945607 w 6014544"/>
              <a:gd name="connsiteY78" fmla="*/ 2842329 h 4929733"/>
              <a:gd name="connsiteX79" fmla="*/ 4227251 w 6014544"/>
              <a:gd name="connsiteY79" fmla="*/ 2394125 h 4929733"/>
              <a:gd name="connsiteX80" fmla="*/ 4299195 w 6014544"/>
              <a:gd name="connsiteY80" fmla="*/ 2280944 h 4929733"/>
              <a:gd name="connsiteX81" fmla="*/ 4347829 w 6014544"/>
              <a:gd name="connsiteY81" fmla="*/ 2205422 h 4929733"/>
              <a:gd name="connsiteX82" fmla="*/ 4428507 w 6014544"/>
              <a:gd name="connsiteY82" fmla="*/ 2081094 h 4929733"/>
              <a:gd name="connsiteX83" fmla="*/ 4512003 w 6014544"/>
              <a:gd name="connsiteY83" fmla="*/ 1950584 h 4929733"/>
              <a:gd name="connsiteX84" fmla="*/ 4787968 w 6014544"/>
              <a:gd name="connsiteY84" fmla="*/ 1513988 h 4929733"/>
              <a:gd name="connsiteX85" fmla="*/ 4871213 w 6014544"/>
              <a:gd name="connsiteY85" fmla="*/ 1383871 h 4929733"/>
              <a:gd name="connsiteX86" fmla="*/ 4927104 w 6014544"/>
              <a:gd name="connsiteY86" fmla="*/ 1297666 h 4929733"/>
              <a:gd name="connsiteX87" fmla="*/ 4983417 w 6014544"/>
              <a:gd name="connsiteY87" fmla="*/ 1212012 h 4929733"/>
              <a:gd name="connsiteX88" fmla="*/ 5040240 w 6014544"/>
              <a:gd name="connsiteY88" fmla="*/ 1127013 h 4929733"/>
              <a:gd name="connsiteX89" fmla="*/ 5097662 w 6014544"/>
              <a:gd name="connsiteY89" fmla="*/ 1042769 h 4929733"/>
              <a:gd name="connsiteX90" fmla="*/ 5126626 w 6014544"/>
              <a:gd name="connsiteY90" fmla="*/ 1000963 h 4929733"/>
              <a:gd name="connsiteX91" fmla="*/ 5155774 w 6014544"/>
              <a:gd name="connsiteY91" fmla="*/ 959384 h 4929733"/>
              <a:gd name="connsiteX92" fmla="*/ 5185115 w 6014544"/>
              <a:gd name="connsiteY92" fmla="*/ 918045 h 4929733"/>
              <a:gd name="connsiteX93" fmla="*/ 5214663 w 6014544"/>
              <a:gd name="connsiteY93" fmla="*/ 876959 h 4929733"/>
              <a:gd name="connsiteX94" fmla="*/ 5244427 w 6014544"/>
              <a:gd name="connsiteY94" fmla="*/ 836139 h 4929733"/>
              <a:gd name="connsiteX95" fmla="*/ 5274420 w 6014544"/>
              <a:gd name="connsiteY95" fmla="*/ 795597 h 4929733"/>
              <a:gd name="connsiteX96" fmla="*/ 5304651 w 6014544"/>
              <a:gd name="connsiteY96" fmla="*/ 755346 h 4929733"/>
              <a:gd name="connsiteX97" fmla="*/ 5335133 w 6014544"/>
              <a:gd name="connsiteY97" fmla="*/ 715400 h 4929733"/>
              <a:gd name="connsiteX98" fmla="*/ 5365877 w 6014544"/>
              <a:gd name="connsiteY98" fmla="*/ 675770 h 4929733"/>
              <a:gd name="connsiteX99" fmla="*/ 5396893 w 6014544"/>
              <a:gd name="connsiteY99" fmla="*/ 636470 h 4929733"/>
              <a:gd name="connsiteX100" fmla="*/ 5428193 w 6014544"/>
              <a:gd name="connsiteY100" fmla="*/ 597512 h 4929733"/>
              <a:gd name="connsiteX101" fmla="*/ 5459788 w 6014544"/>
              <a:gd name="connsiteY101" fmla="*/ 558910 h 4929733"/>
              <a:gd name="connsiteX102" fmla="*/ 5491689 w 6014544"/>
              <a:gd name="connsiteY102" fmla="*/ 520675 h 4929733"/>
              <a:gd name="connsiteX103" fmla="*/ 5523908 w 6014544"/>
              <a:gd name="connsiteY103" fmla="*/ 482821 h 4929733"/>
              <a:gd name="connsiteX104" fmla="*/ 5556455 w 6014544"/>
              <a:gd name="connsiteY104" fmla="*/ 445361 h 4929733"/>
              <a:gd name="connsiteX105" fmla="*/ 5589342 w 6014544"/>
              <a:gd name="connsiteY105" fmla="*/ 408306 h 4929733"/>
              <a:gd name="connsiteX106" fmla="*/ 5622579 w 6014544"/>
              <a:gd name="connsiteY106" fmla="*/ 371671 h 4929733"/>
              <a:gd name="connsiteX107" fmla="*/ 5656179 w 6014544"/>
              <a:gd name="connsiteY107" fmla="*/ 335468 h 4929733"/>
              <a:gd name="connsiteX108" fmla="*/ 5690152 w 6014544"/>
              <a:gd name="connsiteY108" fmla="*/ 299710 h 4929733"/>
              <a:gd name="connsiteX109" fmla="*/ 5724509 w 6014544"/>
              <a:gd name="connsiteY109" fmla="*/ 264408 h 4929733"/>
              <a:gd name="connsiteX110" fmla="*/ 5759262 w 6014544"/>
              <a:gd name="connsiteY110" fmla="*/ 229577 h 4929733"/>
              <a:gd name="connsiteX111" fmla="*/ 5794421 w 6014544"/>
              <a:gd name="connsiteY111" fmla="*/ 195229 h 4929733"/>
              <a:gd name="connsiteX112" fmla="*/ 5829999 w 6014544"/>
              <a:gd name="connsiteY112" fmla="*/ 161377 h 4929733"/>
              <a:gd name="connsiteX113" fmla="*/ 5866005 w 6014544"/>
              <a:gd name="connsiteY113" fmla="*/ 128033 h 4929733"/>
              <a:gd name="connsiteX114" fmla="*/ 5902451 w 6014544"/>
              <a:gd name="connsiteY114" fmla="*/ 95211 h 4929733"/>
              <a:gd name="connsiteX115" fmla="*/ 5939349 w 6014544"/>
              <a:gd name="connsiteY115" fmla="*/ 62923 h 4929733"/>
              <a:gd name="connsiteX116" fmla="*/ 5976710 w 6014544"/>
              <a:gd name="connsiteY116" fmla="*/ 31181 h 4929733"/>
              <a:gd name="connsiteX117" fmla="*/ 6014544 w 6014544"/>
              <a:gd name="connsiteY117" fmla="*/ 0 h 49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14544" h="4929733">
                <a:moveTo>
                  <a:pt x="6014544" y="0"/>
                </a:moveTo>
                <a:lnTo>
                  <a:pt x="511" y="7668"/>
                </a:lnTo>
                <a:cubicBezTo>
                  <a:pt x="-3330" y="1650912"/>
                  <a:pt x="15833" y="3286489"/>
                  <a:pt x="11992" y="4929733"/>
                </a:cubicBezTo>
                <a:lnTo>
                  <a:pt x="826657" y="4904003"/>
                </a:lnTo>
                <a:lnTo>
                  <a:pt x="891923" y="4897516"/>
                </a:lnTo>
                <a:lnTo>
                  <a:pt x="956205" y="4890395"/>
                </a:lnTo>
                <a:lnTo>
                  <a:pt x="1019514" y="4882647"/>
                </a:lnTo>
                <a:lnTo>
                  <a:pt x="1081862" y="4874279"/>
                </a:lnTo>
                <a:lnTo>
                  <a:pt x="1143262" y="4865297"/>
                </a:lnTo>
                <a:lnTo>
                  <a:pt x="1203724" y="4855708"/>
                </a:lnTo>
                <a:lnTo>
                  <a:pt x="1263261" y="4845517"/>
                </a:lnTo>
                <a:lnTo>
                  <a:pt x="1321883" y="4834732"/>
                </a:lnTo>
                <a:lnTo>
                  <a:pt x="1379603" y="4823359"/>
                </a:lnTo>
                <a:lnTo>
                  <a:pt x="1436433" y="4811404"/>
                </a:lnTo>
                <a:lnTo>
                  <a:pt x="1492384" y="4798874"/>
                </a:lnTo>
                <a:lnTo>
                  <a:pt x="1547467" y="4785776"/>
                </a:lnTo>
                <a:lnTo>
                  <a:pt x="1601695" y="4772115"/>
                </a:lnTo>
                <a:lnTo>
                  <a:pt x="1655080" y="4757899"/>
                </a:lnTo>
                <a:lnTo>
                  <a:pt x="1707632" y="4743134"/>
                </a:lnTo>
                <a:lnTo>
                  <a:pt x="1759363" y="4727825"/>
                </a:lnTo>
                <a:lnTo>
                  <a:pt x="1810286" y="4711981"/>
                </a:lnTo>
                <a:lnTo>
                  <a:pt x="1860412" y="4695607"/>
                </a:lnTo>
                <a:lnTo>
                  <a:pt x="1909753" y="4678710"/>
                </a:lnTo>
                <a:lnTo>
                  <a:pt x="1958320" y="4661296"/>
                </a:lnTo>
                <a:lnTo>
                  <a:pt x="2006125" y="4643371"/>
                </a:lnTo>
                <a:lnTo>
                  <a:pt x="2053179" y="4624943"/>
                </a:lnTo>
                <a:lnTo>
                  <a:pt x="2099495" y="4606017"/>
                </a:lnTo>
                <a:lnTo>
                  <a:pt x="2145084" y="4586601"/>
                </a:lnTo>
                <a:lnTo>
                  <a:pt x="2189958" y="4566700"/>
                </a:lnTo>
                <a:lnTo>
                  <a:pt x="2234129" y="4546321"/>
                </a:lnTo>
                <a:lnTo>
                  <a:pt x="2277607" y="4525471"/>
                </a:lnTo>
                <a:lnTo>
                  <a:pt x="2320406" y="4504156"/>
                </a:lnTo>
                <a:lnTo>
                  <a:pt x="2362536" y="4482383"/>
                </a:lnTo>
                <a:lnTo>
                  <a:pt x="2404009" y="4460157"/>
                </a:lnTo>
                <a:lnTo>
                  <a:pt x="2444837" y="4437486"/>
                </a:lnTo>
                <a:lnTo>
                  <a:pt x="2485032" y="4414376"/>
                </a:lnTo>
                <a:lnTo>
                  <a:pt x="2524605" y="4390833"/>
                </a:lnTo>
                <a:lnTo>
                  <a:pt x="2563568" y="4366865"/>
                </a:lnTo>
                <a:lnTo>
                  <a:pt x="2601933" y="4342477"/>
                </a:lnTo>
                <a:lnTo>
                  <a:pt x="2639711" y="4317675"/>
                </a:lnTo>
                <a:lnTo>
                  <a:pt x="2676915" y="4292467"/>
                </a:lnTo>
                <a:lnTo>
                  <a:pt x="2713555" y="4266859"/>
                </a:lnTo>
                <a:lnTo>
                  <a:pt x="2749643" y="4240857"/>
                </a:lnTo>
                <a:lnTo>
                  <a:pt x="2785192" y="4214468"/>
                </a:lnTo>
                <a:lnTo>
                  <a:pt x="2820213" y="4187699"/>
                </a:lnTo>
                <a:lnTo>
                  <a:pt x="2854717" y="4160555"/>
                </a:lnTo>
                <a:lnTo>
                  <a:pt x="2888716" y="4133043"/>
                </a:lnTo>
                <a:lnTo>
                  <a:pt x="2922222" y="4105171"/>
                </a:lnTo>
                <a:lnTo>
                  <a:pt x="2955247" y="4076943"/>
                </a:lnTo>
                <a:lnTo>
                  <a:pt x="2987803" y="4048367"/>
                </a:lnTo>
                <a:lnTo>
                  <a:pt x="3019900" y="4019449"/>
                </a:lnTo>
                <a:lnTo>
                  <a:pt x="3051551" y="3990196"/>
                </a:lnTo>
                <a:lnTo>
                  <a:pt x="3082767" y="3960614"/>
                </a:lnTo>
                <a:lnTo>
                  <a:pt x="3113560" y="3930710"/>
                </a:lnTo>
                <a:lnTo>
                  <a:pt x="3143943" y="3900490"/>
                </a:lnTo>
                <a:lnTo>
                  <a:pt x="3173925" y="3869960"/>
                </a:lnTo>
                <a:lnTo>
                  <a:pt x="3203520" y="3839127"/>
                </a:lnTo>
                <a:lnTo>
                  <a:pt x="3232739" y="3807998"/>
                </a:lnTo>
                <a:lnTo>
                  <a:pt x="3261593" y="3776579"/>
                </a:lnTo>
                <a:lnTo>
                  <a:pt x="3290094" y="3744877"/>
                </a:lnTo>
                <a:lnTo>
                  <a:pt x="3318254" y="3712897"/>
                </a:lnTo>
                <a:lnTo>
                  <a:pt x="3346085" y="3680647"/>
                </a:lnTo>
                <a:lnTo>
                  <a:pt x="3373598" y="3648133"/>
                </a:lnTo>
                <a:lnTo>
                  <a:pt x="3400806" y="3615361"/>
                </a:lnTo>
                <a:lnTo>
                  <a:pt x="3427719" y="3582338"/>
                </a:lnTo>
                <a:lnTo>
                  <a:pt x="3454349" y="3549071"/>
                </a:lnTo>
                <a:lnTo>
                  <a:pt x="3480708" y="3515565"/>
                </a:lnTo>
                <a:lnTo>
                  <a:pt x="3506808" y="3481828"/>
                </a:lnTo>
                <a:lnTo>
                  <a:pt x="3532661" y="3447865"/>
                </a:lnTo>
                <a:lnTo>
                  <a:pt x="3558277" y="3413684"/>
                </a:lnTo>
                <a:lnTo>
                  <a:pt x="3583670" y="3379290"/>
                </a:lnTo>
                <a:lnTo>
                  <a:pt x="3608850" y="3344691"/>
                </a:lnTo>
                <a:lnTo>
                  <a:pt x="3633829" y="3309893"/>
                </a:lnTo>
                <a:lnTo>
                  <a:pt x="3683232" y="3239724"/>
                </a:lnTo>
                <a:lnTo>
                  <a:pt x="3731972" y="3168836"/>
                </a:lnTo>
                <a:lnTo>
                  <a:pt x="3780142" y="3097281"/>
                </a:lnTo>
                <a:lnTo>
                  <a:pt x="3827837" y="3025110"/>
                </a:lnTo>
                <a:lnTo>
                  <a:pt x="3875150" y="2952375"/>
                </a:lnTo>
                <a:lnTo>
                  <a:pt x="3945607" y="2842329"/>
                </a:lnTo>
                <a:lnTo>
                  <a:pt x="4227251" y="2394125"/>
                </a:lnTo>
                <a:lnTo>
                  <a:pt x="4299195" y="2280944"/>
                </a:lnTo>
                <a:lnTo>
                  <a:pt x="4347829" y="2205422"/>
                </a:lnTo>
                <a:lnTo>
                  <a:pt x="4428507" y="2081094"/>
                </a:lnTo>
                <a:lnTo>
                  <a:pt x="4512003" y="1950584"/>
                </a:lnTo>
                <a:lnTo>
                  <a:pt x="4787968" y="1513988"/>
                </a:lnTo>
                <a:lnTo>
                  <a:pt x="4871213" y="1383871"/>
                </a:lnTo>
                <a:lnTo>
                  <a:pt x="4927104" y="1297666"/>
                </a:lnTo>
                <a:lnTo>
                  <a:pt x="4983417" y="1212012"/>
                </a:lnTo>
                <a:lnTo>
                  <a:pt x="5040240" y="1127013"/>
                </a:lnTo>
                <a:lnTo>
                  <a:pt x="5097662" y="1042769"/>
                </a:lnTo>
                <a:lnTo>
                  <a:pt x="5126626" y="1000963"/>
                </a:lnTo>
                <a:lnTo>
                  <a:pt x="5155774" y="959384"/>
                </a:lnTo>
                <a:lnTo>
                  <a:pt x="5185115" y="918045"/>
                </a:lnTo>
                <a:lnTo>
                  <a:pt x="5214663" y="876959"/>
                </a:lnTo>
                <a:lnTo>
                  <a:pt x="5244427" y="836139"/>
                </a:lnTo>
                <a:lnTo>
                  <a:pt x="5274420" y="795597"/>
                </a:lnTo>
                <a:lnTo>
                  <a:pt x="5304651" y="755346"/>
                </a:lnTo>
                <a:lnTo>
                  <a:pt x="5335133" y="715400"/>
                </a:lnTo>
                <a:lnTo>
                  <a:pt x="5365877" y="675770"/>
                </a:lnTo>
                <a:lnTo>
                  <a:pt x="5396893" y="636470"/>
                </a:lnTo>
                <a:lnTo>
                  <a:pt x="5428193" y="597512"/>
                </a:lnTo>
                <a:lnTo>
                  <a:pt x="5459788" y="558910"/>
                </a:lnTo>
                <a:lnTo>
                  <a:pt x="5491689" y="520675"/>
                </a:lnTo>
                <a:lnTo>
                  <a:pt x="5523908" y="482821"/>
                </a:lnTo>
                <a:lnTo>
                  <a:pt x="5556455" y="445361"/>
                </a:lnTo>
                <a:lnTo>
                  <a:pt x="5589342" y="408306"/>
                </a:lnTo>
                <a:lnTo>
                  <a:pt x="5622579" y="371671"/>
                </a:lnTo>
                <a:lnTo>
                  <a:pt x="5656179" y="335468"/>
                </a:lnTo>
                <a:lnTo>
                  <a:pt x="5690152" y="299710"/>
                </a:lnTo>
                <a:lnTo>
                  <a:pt x="5724509" y="264408"/>
                </a:lnTo>
                <a:lnTo>
                  <a:pt x="5759262" y="229577"/>
                </a:lnTo>
                <a:lnTo>
                  <a:pt x="5794421" y="195229"/>
                </a:lnTo>
                <a:lnTo>
                  <a:pt x="5829999" y="161377"/>
                </a:lnTo>
                <a:lnTo>
                  <a:pt x="5866005" y="128033"/>
                </a:lnTo>
                <a:lnTo>
                  <a:pt x="5902451" y="95211"/>
                </a:lnTo>
                <a:lnTo>
                  <a:pt x="5939349" y="62923"/>
                </a:lnTo>
                <a:lnTo>
                  <a:pt x="5976710" y="31181"/>
                </a:lnTo>
                <a:lnTo>
                  <a:pt x="6014544" y="0"/>
                </a:lnTo>
                <a:close/>
              </a:path>
            </a:pathLst>
          </a:custGeom>
          <a:solidFill>
            <a:schemeClr val="bg1"/>
          </a:solidFill>
        </p:spPr>
        <p:txBody>
          <a:bodyPr wrap="square" lIns="0" tIns="0" rIns="0" bIns="0" rtlCol="0"/>
          <a:lstStyle/>
          <a:p>
            <a:endParaRPr/>
          </a:p>
        </p:txBody>
      </p:sp>
      <p:sp>
        <p:nvSpPr>
          <p:cNvPr id="39" name="Titel 1">
            <a:extLst>
              <a:ext uri="{FF2B5EF4-FFF2-40B4-BE49-F238E27FC236}">
                <a16:creationId xmlns:a16="http://schemas.microsoft.com/office/drawing/2014/main" id="{F420976D-DF05-5525-6577-F426180F9CA9}"/>
              </a:ext>
            </a:extLst>
          </p:cNvPr>
          <p:cNvSpPr>
            <a:spLocks noGrp="1"/>
          </p:cNvSpPr>
          <p:nvPr>
            <p:ph type="ctrTitle"/>
          </p:nvPr>
        </p:nvSpPr>
        <p:spPr>
          <a:xfrm>
            <a:off x="399922" y="2161077"/>
            <a:ext cx="5443315" cy="1725277"/>
          </a:xfrm>
          <a:prstGeom prst="rect">
            <a:avLst/>
          </a:prstGeom>
        </p:spPr>
        <p:txBody>
          <a:bodyPr anchor="b">
            <a:noAutofit/>
          </a:bodyPr>
          <a:lstStyle>
            <a:lvl1pPr algn="l">
              <a:defRPr sz="6000" b="1" i="0">
                <a:solidFill>
                  <a:srgbClr val="2C3051"/>
                </a:solidFill>
                <a:latin typeface="Avenir Black" panose="02000503020000020003" pitchFamily="2" charset="0"/>
              </a:defRPr>
            </a:lvl1pPr>
          </a:lstStyle>
          <a:p>
            <a:r>
              <a:rPr lang="en-US"/>
              <a:t>Click to edit Master title style</a:t>
            </a:r>
            <a:endParaRPr lang="nl-BE"/>
          </a:p>
        </p:txBody>
      </p:sp>
      <p:pic>
        <p:nvPicPr>
          <p:cNvPr id="8" name="Afbeelding 28">
            <a:extLst>
              <a:ext uri="{FF2B5EF4-FFF2-40B4-BE49-F238E27FC236}">
                <a16:creationId xmlns:a16="http://schemas.microsoft.com/office/drawing/2014/main" id="{83CAAACC-926A-7D84-2E91-B9FAC5A21B7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16938438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verPage-2">
    <p:spTree>
      <p:nvGrpSpPr>
        <p:cNvPr id="1" name=""/>
        <p:cNvGrpSpPr/>
        <p:nvPr/>
      </p:nvGrpSpPr>
      <p:grpSpPr>
        <a:xfrm>
          <a:off x="0" y="0"/>
          <a:ext cx="0" cy="0"/>
          <a:chOff x="0" y="0"/>
          <a:chExt cx="0" cy="0"/>
        </a:xfrm>
      </p:grpSpPr>
      <p:pic>
        <p:nvPicPr>
          <p:cNvPr id="30" name="Afbeelding 29">
            <a:extLst>
              <a:ext uri="{FF2B5EF4-FFF2-40B4-BE49-F238E27FC236}">
                <a16:creationId xmlns:a16="http://schemas.microsoft.com/office/drawing/2014/main" id="{D5D9F547-9670-675B-490C-BDDE9CB7FD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16170" y="0"/>
            <a:ext cx="10275830" cy="6858000"/>
          </a:xfrm>
          <a:prstGeom prst="rect">
            <a:avLst/>
          </a:prstGeom>
        </p:spPr>
      </p:pic>
      <p:sp>
        <p:nvSpPr>
          <p:cNvPr id="37" name="object 2">
            <a:extLst>
              <a:ext uri="{FF2B5EF4-FFF2-40B4-BE49-F238E27FC236}">
                <a16:creationId xmlns:a16="http://schemas.microsoft.com/office/drawing/2014/main" id="{3D2B6280-E298-1950-32ED-44F945B94DA9}"/>
              </a:ext>
            </a:extLst>
          </p:cNvPr>
          <p:cNvSpPr/>
          <p:nvPr userDrawn="1"/>
        </p:nvSpPr>
        <p:spPr>
          <a:xfrm>
            <a:off x="-15456" y="-30067"/>
            <a:ext cx="8560742" cy="7016687"/>
          </a:xfrm>
          <a:custGeom>
            <a:avLst/>
            <a:gdLst>
              <a:gd name="connsiteX0" fmla="*/ 5991028 w 5991028"/>
              <a:gd name="connsiteY0" fmla="*/ 0 h 4904003"/>
              <a:gd name="connsiteX1" fmla="*/ 0 w 5991028"/>
              <a:gd name="connsiteY1" fmla="*/ 0 h 4904003"/>
              <a:gd name="connsiteX2" fmla="*/ 783063 w 5991028"/>
              <a:gd name="connsiteY2" fmla="*/ 4904003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5991028 w 5991028"/>
              <a:gd name="connsiteY0" fmla="*/ 0 h 4904003"/>
              <a:gd name="connsiteX1" fmla="*/ 0 w 5991028"/>
              <a:gd name="connsiteY1" fmla="*/ 0 h 4904003"/>
              <a:gd name="connsiteX2" fmla="*/ 530903 w 5991028"/>
              <a:gd name="connsiteY2" fmla="*/ 4841588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6002552 w 6002552"/>
              <a:gd name="connsiteY0" fmla="*/ 0 h 4929733"/>
              <a:gd name="connsiteX1" fmla="*/ 11524 w 6002552"/>
              <a:gd name="connsiteY1" fmla="*/ 0 h 4929733"/>
              <a:gd name="connsiteX2" fmla="*/ 0 w 6002552"/>
              <a:gd name="connsiteY2" fmla="*/ 4929733 h 4929733"/>
              <a:gd name="connsiteX3" fmla="*/ 814665 w 6002552"/>
              <a:gd name="connsiteY3" fmla="*/ 4904003 h 4929733"/>
              <a:gd name="connsiteX4" fmla="*/ 879931 w 6002552"/>
              <a:gd name="connsiteY4" fmla="*/ 4897516 h 4929733"/>
              <a:gd name="connsiteX5" fmla="*/ 944213 w 6002552"/>
              <a:gd name="connsiteY5" fmla="*/ 4890395 h 4929733"/>
              <a:gd name="connsiteX6" fmla="*/ 1007522 w 6002552"/>
              <a:gd name="connsiteY6" fmla="*/ 4882647 h 4929733"/>
              <a:gd name="connsiteX7" fmla="*/ 1069870 w 6002552"/>
              <a:gd name="connsiteY7" fmla="*/ 4874279 h 4929733"/>
              <a:gd name="connsiteX8" fmla="*/ 1131270 w 6002552"/>
              <a:gd name="connsiteY8" fmla="*/ 4865297 h 4929733"/>
              <a:gd name="connsiteX9" fmla="*/ 1191732 w 6002552"/>
              <a:gd name="connsiteY9" fmla="*/ 4855708 h 4929733"/>
              <a:gd name="connsiteX10" fmla="*/ 1251269 w 6002552"/>
              <a:gd name="connsiteY10" fmla="*/ 4845517 h 4929733"/>
              <a:gd name="connsiteX11" fmla="*/ 1309891 w 6002552"/>
              <a:gd name="connsiteY11" fmla="*/ 4834732 h 4929733"/>
              <a:gd name="connsiteX12" fmla="*/ 1367611 w 6002552"/>
              <a:gd name="connsiteY12" fmla="*/ 4823359 h 4929733"/>
              <a:gd name="connsiteX13" fmla="*/ 1424441 w 6002552"/>
              <a:gd name="connsiteY13" fmla="*/ 4811404 h 4929733"/>
              <a:gd name="connsiteX14" fmla="*/ 1480392 w 6002552"/>
              <a:gd name="connsiteY14" fmla="*/ 4798874 h 4929733"/>
              <a:gd name="connsiteX15" fmla="*/ 1535475 w 6002552"/>
              <a:gd name="connsiteY15" fmla="*/ 4785776 h 4929733"/>
              <a:gd name="connsiteX16" fmla="*/ 1589703 w 6002552"/>
              <a:gd name="connsiteY16" fmla="*/ 4772115 h 4929733"/>
              <a:gd name="connsiteX17" fmla="*/ 1643088 w 6002552"/>
              <a:gd name="connsiteY17" fmla="*/ 4757899 h 4929733"/>
              <a:gd name="connsiteX18" fmla="*/ 1695640 w 6002552"/>
              <a:gd name="connsiteY18" fmla="*/ 4743134 h 4929733"/>
              <a:gd name="connsiteX19" fmla="*/ 1747371 w 6002552"/>
              <a:gd name="connsiteY19" fmla="*/ 4727825 h 4929733"/>
              <a:gd name="connsiteX20" fmla="*/ 1798294 w 6002552"/>
              <a:gd name="connsiteY20" fmla="*/ 4711981 h 4929733"/>
              <a:gd name="connsiteX21" fmla="*/ 1848420 w 6002552"/>
              <a:gd name="connsiteY21" fmla="*/ 4695607 h 4929733"/>
              <a:gd name="connsiteX22" fmla="*/ 1897761 w 6002552"/>
              <a:gd name="connsiteY22" fmla="*/ 4678710 h 4929733"/>
              <a:gd name="connsiteX23" fmla="*/ 1946328 w 6002552"/>
              <a:gd name="connsiteY23" fmla="*/ 4661296 h 4929733"/>
              <a:gd name="connsiteX24" fmla="*/ 1994133 w 6002552"/>
              <a:gd name="connsiteY24" fmla="*/ 4643371 h 4929733"/>
              <a:gd name="connsiteX25" fmla="*/ 2041187 w 6002552"/>
              <a:gd name="connsiteY25" fmla="*/ 4624943 h 4929733"/>
              <a:gd name="connsiteX26" fmla="*/ 2087503 w 6002552"/>
              <a:gd name="connsiteY26" fmla="*/ 4606017 h 4929733"/>
              <a:gd name="connsiteX27" fmla="*/ 2133092 w 6002552"/>
              <a:gd name="connsiteY27" fmla="*/ 4586601 h 4929733"/>
              <a:gd name="connsiteX28" fmla="*/ 2177966 w 6002552"/>
              <a:gd name="connsiteY28" fmla="*/ 4566700 h 4929733"/>
              <a:gd name="connsiteX29" fmla="*/ 2222137 w 6002552"/>
              <a:gd name="connsiteY29" fmla="*/ 4546321 h 4929733"/>
              <a:gd name="connsiteX30" fmla="*/ 2265615 w 6002552"/>
              <a:gd name="connsiteY30" fmla="*/ 4525471 h 4929733"/>
              <a:gd name="connsiteX31" fmla="*/ 2308414 w 6002552"/>
              <a:gd name="connsiteY31" fmla="*/ 4504156 h 4929733"/>
              <a:gd name="connsiteX32" fmla="*/ 2350544 w 6002552"/>
              <a:gd name="connsiteY32" fmla="*/ 4482383 h 4929733"/>
              <a:gd name="connsiteX33" fmla="*/ 2392017 w 6002552"/>
              <a:gd name="connsiteY33" fmla="*/ 4460157 h 4929733"/>
              <a:gd name="connsiteX34" fmla="*/ 2432845 w 6002552"/>
              <a:gd name="connsiteY34" fmla="*/ 4437486 h 4929733"/>
              <a:gd name="connsiteX35" fmla="*/ 2473040 w 6002552"/>
              <a:gd name="connsiteY35" fmla="*/ 4414376 h 4929733"/>
              <a:gd name="connsiteX36" fmla="*/ 2512613 w 6002552"/>
              <a:gd name="connsiteY36" fmla="*/ 4390833 h 4929733"/>
              <a:gd name="connsiteX37" fmla="*/ 2551576 w 6002552"/>
              <a:gd name="connsiteY37" fmla="*/ 4366865 h 4929733"/>
              <a:gd name="connsiteX38" fmla="*/ 2589941 w 6002552"/>
              <a:gd name="connsiteY38" fmla="*/ 4342477 h 4929733"/>
              <a:gd name="connsiteX39" fmla="*/ 2627719 w 6002552"/>
              <a:gd name="connsiteY39" fmla="*/ 4317675 h 4929733"/>
              <a:gd name="connsiteX40" fmla="*/ 2664923 w 6002552"/>
              <a:gd name="connsiteY40" fmla="*/ 4292467 h 4929733"/>
              <a:gd name="connsiteX41" fmla="*/ 2701563 w 6002552"/>
              <a:gd name="connsiteY41" fmla="*/ 4266859 h 4929733"/>
              <a:gd name="connsiteX42" fmla="*/ 2737651 w 6002552"/>
              <a:gd name="connsiteY42" fmla="*/ 4240857 h 4929733"/>
              <a:gd name="connsiteX43" fmla="*/ 2773200 w 6002552"/>
              <a:gd name="connsiteY43" fmla="*/ 4214468 h 4929733"/>
              <a:gd name="connsiteX44" fmla="*/ 2808221 w 6002552"/>
              <a:gd name="connsiteY44" fmla="*/ 4187699 h 4929733"/>
              <a:gd name="connsiteX45" fmla="*/ 2842725 w 6002552"/>
              <a:gd name="connsiteY45" fmla="*/ 4160555 h 4929733"/>
              <a:gd name="connsiteX46" fmla="*/ 2876724 w 6002552"/>
              <a:gd name="connsiteY46" fmla="*/ 4133043 h 4929733"/>
              <a:gd name="connsiteX47" fmla="*/ 2910230 w 6002552"/>
              <a:gd name="connsiteY47" fmla="*/ 4105171 h 4929733"/>
              <a:gd name="connsiteX48" fmla="*/ 2943255 w 6002552"/>
              <a:gd name="connsiteY48" fmla="*/ 4076943 h 4929733"/>
              <a:gd name="connsiteX49" fmla="*/ 2975811 w 6002552"/>
              <a:gd name="connsiteY49" fmla="*/ 4048367 h 4929733"/>
              <a:gd name="connsiteX50" fmla="*/ 3007908 w 6002552"/>
              <a:gd name="connsiteY50" fmla="*/ 4019449 h 4929733"/>
              <a:gd name="connsiteX51" fmla="*/ 3039559 w 6002552"/>
              <a:gd name="connsiteY51" fmla="*/ 3990196 h 4929733"/>
              <a:gd name="connsiteX52" fmla="*/ 3070775 w 6002552"/>
              <a:gd name="connsiteY52" fmla="*/ 3960614 h 4929733"/>
              <a:gd name="connsiteX53" fmla="*/ 3101568 w 6002552"/>
              <a:gd name="connsiteY53" fmla="*/ 3930710 h 4929733"/>
              <a:gd name="connsiteX54" fmla="*/ 3131951 w 6002552"/>
              <a:gd name="connsiteY54" fmla="*/ 3900490 h 4929733"/>
              <a:gd name="connsiteX55" fmla="*/ 3161933 w 6002552"/>
              <a:gd name="connsiteY55" fmla="*/ 3869960 h 4929733"/>
              <a:gd name="connsiteX56" fmla="*/ 3191528 w 6002552"/>
              <a:gd name="connsiteY56" fmla="*/ 3839127 h 4929733"/>
              <a:gd name="connsiteX57" fmla="*/ 3220747 w 6002552"/>
              <a:gd name="connsiteY57" fmla="*/ 3807998 h 4929733"/>
              <a:gd name="connsiteX58" fmla="*/ 3249601 w 6002552"/>
              <a:gd name="connsiteY58" fmla="*/ 3776579 h 4929733"/>
              <a:gd name="connsiteX59" fmla="*/ 3278102 w 6002552"/>
              <a:gd name="connsiteY59" fmla="*/ 3744877 h 4929733"/>
              <a:gd name="connsiteX60" fmla="*/ 3306262 w 6002552"/>
              <a:gd name="connsiteY60" fmla="*/ 3712897 h 4929733"/>
              <a:gd name="connsiteX61" fmla="*/ 3334093 w 6002552"/>
              <a:gd name="connsiteY61" fmla="*/ 3680647 h 4929733"/>
              <a:gd name="connsiteX62" fmla="*/ 3361606 w 6002552"/>
              <a:gd name="connsiteY62" fmla="*/ 3648133 h 4929733"/>
              <a:gd name="connsiteX63" fmla="*/ 3388814 w 6002552"/>
              <a:gd name="connsiteY63" fmla="*/ 3615361 h 4929733"/>
              <a:gd name="connsiteX64" fmla="*/ 3415727 w 6002552"/>
              <a:gd name="connsiteY64" fmla="*/ 3582338 h 4929733"/>
              <a:gd name="connsiteX65" fmla="*/ 3442357 w 6002552"/>
              <a:gd name="connsiteY65" fmla="*/ 3549071 h 4929733"/>
              <a:gd name="connsiteX66" fmla="*/ 3468716 w 6002552"/>
              <a:gd name="connsiteY66" fmla="*/ 3515565 h 4929733"/>
              <a:gd name="connsiteX67" fmla="*/ 3494816 w 6002552"/>
              <a:gd name="connsiteY67" fmla="*/ 3481828 h 4929733"/>
              <a:gd name="connsiteX68" fmla="*/ 3520669 w 6002552"/>
              <a:gd name="connsiteY68" fmla="*/ 3447865 h 4929733"/>
              <a:gd name="connsiteX69" fmla="*/ 3546285 w 6002552"/>
              <a:gd name="connsiteY69" fmla="*/ 3413684 h 4929733"/>
              <a:gd name="connsiteX70" fmla="*/ 3571678 w 6002552"/>
              <a:gd name="connsiteY70" fmla="*/ 3379290 h 4929733"/>
              <a:gd name="connsiteX71" fmla="*/ 3596858 w 6002552"/>
              <a:gd name="connsiteY71" fmla="*/ 3344691 h 4929733"/>
              <a:gd name="connsiteX72" fmla="*/ 3621837 w 6002552"/>
              <a:gd name="connsiteY72" fmla="*/ 3309893 h 4929733"/>
              <a:gd name="connsiteX73" fmla="*/ 3671240 w 6002552"/>
              <a:gd name="connsiteY73" fmla="*/ 3239724 h 4929733"/>
              <a:gd name="connsiteX74" fmla="*/ 3719980 w 6002552"/>
              <a:gd name="connsiteY74" fmla="*/ 3168836 h 4929733"/>
              <a:gd name="connsiteX75" fmla="*/ 3768150 w 6002552"/>
              <a:gd name="connsiteY75" fmla="*/ 3097281 h 4929733"/>
              <a:gd name="connsiteX76" fmla="*/ 3815845 w 6002552"/>
              <a:gd name="connsiteY76" fmla="*/ 3025110 h 4929733"/>
              <a:gd name="connsiteX77" fmla="*/ 3863158 w 6002552"/>
              <a:gd name="connsiteY77" fmla="*/ 2952375 h 4929733"/>
              <a:gd name="connsiteX78" fmla="*/ 3933615 w 6002552"/>
              <a:gd name="connsiteY78" fmla="*/ 2842329 h 4929733"/>
              <a:gd name="connsiteX79" fmla="*/ 4215259 w 6002552"/>
              <a:gd name="connsiteY79" fmla="*/ 2394125 h 4929733"/>
              <a:gd name="connsiteX80" fmla="*/ 4287203 w 6002552"/>
              <a:gd name="connsiteY80" fmla="*/ 2280944 h 4929733"/>
              <a:gd name="connsiteX81" fmla="*/ 4335837 w 6002552"/>
              <a:gd name="connsiteY81" fmla="*/ 2205422 h 4929733"/>
              <a:gd name="connsiteX82" fmla="*/ 4416515 w 6002552"/>
              <a:gd name="connsiteY82" fmla="*/ 2081094 h 4929733"/>
              <a:gd name="connsiteX83" fmla="*/ 4500011 w 6002552"/>
              <a:gd name="connsiteY83" fmla="*/ 1950584 h 4929733"/>
              <a:gd name="connsiteX84" fmla="*/ 4775976 w 6002552"/>
              <a:gd name="connsiteY84" fmla="*/ 1513988 h 4929733"/>
              <a:gd name="connsiteX85" fmla="*/ 4859221 w 6002552"/>
              <a:gd name="connsiteY85" fmla="*/ 1383871 h 4929733"/>
              <a:gd name="connsiteX86" fmla="*/ 4915112 w 6002552"/>
              <a:gd name="connsiteY86" fmla="*/ 1297666 h 4929733"/>
              <a:gd name="connsiteX87" fmla="*/ 4971425 w 6002552"/>
              <a:gd name="connsiteY87" fmla="*/ 1212012 h 4929733"/>
              <a:gd name="connsiteX88" fmla="*/ 5028248 w 6002552"/>
              <a:gd name="connsiteY88" fmla="*/ 1127013 h 4929733"/>
              <a:gd name="connsiteX89" fmla="*/ 5085670 w 6002552"/>
              <a:gd name="connsiteY89" fmla="*/ 1042769 h 4929733"/>
              <a:gd name="connsiteX90" fmla="*/ 5114634 w 6002552"/>
              <a:gd name="connsiteY90" fmla="*/ 1000963 h 4929733"/>
              <a:gd name="connsiteX91" fmla="*/ 5143782 w 6002552"/>
              <a:gd name="connsiteY91" fmla="*/ 959384 h 4929733"/>
              <a:gd name="connsiteX92" fmla="*/ 5173123 w 6002552"/>
              <a:gd name="connsiteY92" fmla="*/ 918045 h 4929733"/>
              <a:gd name="connsiteX93" fmla="*/ 5202671 w 6002552"/>
              <a:gd name="connsiteY93" fmla="*/ 876959 h 4929733"/>
              <a:gd name="connsiteX94" fmla="*/ 5232435 w 6002552"/>
              <a:gd name="connsiteY94" fmla="*/ 836139 h 4929733"/>
              <a:gd name="connsiteX95" fmla="*/ 5262428 w 6002552"/>
              <a:gd name="connsiteY95" fmla="*/ 795597 h 4929733"/>
              <a:gd name="connsiteX96" fmla="*/ 5292659 w 6002552"/>
              <a:gd name="connsiteY96" fmla="*/ 755346 h 4929733"/>
              <a:gd name="connsiteX97" fmla="*/ 5323141 w 6002552"/>
              <a:gd name="connsiteY97" fmla="*/ 715400 h 4929733"/>
              <a:gd name="connsiteX98" fmla="*/ 5353885 w 6002552"/>
              <a:gd name="connsiteY98" fmla="*/ 675770 h 4929733"/>
              <a:gd name="connsiteX99" fmla="*/ 5384901 w 6002552"/>
              <a:gd name="connsiteY99" fmla="*/ 636470 h 4929733"/>
              <a:gd name="connsiteX100" fmla="*/ 5416201 w 6002552"/>
              <a:gd name="connsiteY100" fmla="*/ 597512 h 4929733"/>
              <a:gd name="connsiteX101" fmla="*/ 5447796 w 6002552"/>
              <a:gd name="connsiteY101" fmla="*/ 558910 h 4929733"/>
              <a:gd name="connsiteX102" fmla="*/ 5479697 w 6002552"/>
              <a:gd name="connsiteY102" fmla="*/ 520675 h 4929733"/>
              <a:gd name="connsiteX103" fmla="*/ 5511916 w 6002552"/>
              <a:gd name="connsiteY103" fmla="*/ 482821 h 4929733"/>
              <a:gd name="connsiteX104" fmla="*/ 5544463 w 6002552"/>
              <a:gd name="connsiteY104" fmla="*/ 445361 h 4929733"/>
              <a:gd name="connsiteX105" fmla="*/ 5577350 w 6002552"/>
              <a:gd name="connsiteY105" fmla="*/ 408306 h 4929733"/>
              <a:gd name="connsiteX106" fmla="*/ 5610587 w 6002552"/>
              <a:gd name="connsiteY106" fmla="*/ 371671 h 4929733"/>
              <a:gd name="connsiteX107" fmla="*/ 5644187 w 6002552"/>
              <a:gd name="connsiteY107" fmla="*/ 335468 h 4929733"/>
              <a:gd name="connsiteX108" fmla="*/ 5678160 w 6002552"/>
              <a:gd name="connsiteY108" fmla="*/ 299710 h 4929733"/>
              <a:gd name="connsiteX109" fmla="*/ 5712517 w 6002552"/>
              <a:gd name="connsiteY109" fmla="*/ 264408 h 4929733"/>
              <a:gd name="connsiteX110" fmla="*/ 5747270 w 6002552"/>
              <a:gd name="connsiteY110" fmla="*/ 229577 h 4929733"/>
              <a:gd name="connsiteX111" fmla="*/ 5782429 w 6002552"/>
              <a:gd name="connsiteY111" fmla="*/ 195229 h 4929733"/>
              <a:gd name="connsiteX112" fmla="*/ 5818007 w 6002552"/>
              <a:gd name="connsiteY112" fmla="*/ 161377 h 4929733"/>
              <a:gd name="connsiteX113" fmla="*/ 5854013 w 6002552"/>
              <a:gd name="connsiteY113" fmla="*/ 128033 h 4929733"/>
              <a:gd name="connsiteX114" fmla="*/ 5890459 w 6002552"/>
              <a:gd name="connsiteY114" fmla="*/ 95211 h 4929733"/>
              <a:gd name="connsiteX115" fmla="*/ 5927357 w 6002552"/>
              <a:gd name="connsiteY115" fmla="*/ 62923 h 4929733"/>
              <a:gd name="connsiteX116" fmla="*/ 5964718 w 6002552"/>
              <a:gd name="connsiteY116" fmla="*/ 31181 h 4929733"/>
              <a:gd name="connsiteX117" fmla="*/ 6002552 w 6002552"/>
              <a:gd name="connsiteY117" fmla="*/ 0 h 4929733"/>
              <a:gd name="connsiteX0" fmla="*/ 6014544 w 6014544"/>
              <a:gd name="connsiteY0" fmla="*/ 0 h 4929733"/>
              <a:gd name="connsiteX1" fmla="*/ 511 w 6014544"/>
              <a:gd name="connsiteY1" fmla="*/ 7668 h 4929733"/>
              <a:gd name="connsiteX2" fmla="*/ 11992 w 6014544"/>
              <a:gd name="connsiteY2" fmla="*/ 4929733 h 4929733"/>
              <a:gd name="connsiteX3" fmla="*/ 826657 w 6014544"/>
              <a:gd name="connsiteY3" fmla="*/ 4904003 h 4929733"/>
              <a:gd name="connsiteX4" fmla="*/ 891923 w 6014544"/>
              <a:gd name="connsiteY4" fmla="*/ 4897516 h 4929733"/>
              <a:gd name="connsiteX5" fmla="*/ 956205 w 6014544"/>
              <a:gd name="connsiteY5" fmla="*/ 4890395 h 4929733"/>
              <a:gd name="connsiteX6" fmla="*/ 1019514 w 6014544"/>
              <a:gd name="connsiteY6" fmla="*/ 4882647 h 4929733"/>
              <a:gd name="connsiteX7" fmla="*/ 1081862 w 6014544"/>
              <a:gd name="connsiteY7" fmla="*/ 4874279 h 4929733"/>
              <a:gd name="connsiteX8" fmla="*/ 1143262 w 6014544"/>
              <a:gd name="connsiteY8" fmla="*/ 4865297 h 4929733"/>
              <a:gd name="connsiteX9" fmla="*/ 1203724 w 6014544"/>
              <a:gd name="connsiteY9" fmla="*/ 4855708 h 4929733"/>
              <a:gd name="connsiteX10" fmla="*/ 1263261 w 6014544"/>
              <a:gd name="connsiteY10" fmla="*/ 4845517 h 4929733"/>
              <a:gd name="connsiteX11" fmla="*/ 1321883 w 6014544"/>
              <a:gd name="connsiteY11" fmla="*/ 4834732 h 4929733"/>
              <a:gd name="connsiteX12" fmla="*/ 1379603 w 6014544"/>
              <a:gd name="connsiteY12" fmla="*/ 4823359 h 4929733"/>
              <a:gd name="connsiteX13" fmla="*/ 1436433 w 6014544"/>
              <a:gd name="connsiteY13" fmla="*/ 4811404 h 4929733"/>
              <a:gd name="connsiteX14" fmla="*/ 1492384 w 6014544"/>
              <a:gd name="connsiteY14" fmla="*/ 4798874 h 4929733"/>
              <a:gd name="connsiteX15" fmla="*/ 1547467 w 6014544"/>
              <a:gd name="connsiteY15" fmla="*/ 4785776 h 4929733"/>
              <a:gd name="connsiteX16" fmla="*/ 1601695 w 6014544"/>
              <a:gd name="connsiteY16" fmla="*/ 4772115 h 4929733"/>
              <a:gd name="connsiteX17" fmla="*/ 1655080 w 6014544"/>
              <a:gd name="connsiteY17" fmla="*/ 4757899 h 4929733"/>
              <a:gd name="connsiteX18" fmla="*/ 1707632 w 6014544"/>
              <a:gd name="connsiteY18" fmla="*/ 4743134 h 4929733"/>
              <a:gd name="connsiteX19" fmla="*/ 1759363 w 6014544"/>
              <a:gd name="connsiteY19" fmla="*/ 4727825 h 4929733"/>
              <a:gd name="connsiteX20" fmla="*/ 1810286 w 6014544"/>
              <a:gd name="connsiteY20" fmla="*/ 4711981 h 4929733"/>
              <a:gd name="connsiteX21" fmla="*/ 1860412 w 6014544"/>
              <a:gd name="connsiteY21" fmla="*/ 4695607 h 4929733"/>
              <a:gd name="connsiteX22" fmla="*/ 1909753 w 6014544"/>
              <a:gd name="connsiteY22" fmla="*/ 4678710 h 4929733"/>
              <a:gd name="connsiteX23" fmla="*/ 1958320 w 6014544"/>
              <a:gd name="connsiteY23" fmla="*/ 4661296 h 4929733"/>
              <a:gd name="connsiteX24" fmla="*/ 2006125 w 6014544"/>
              <a:gd name="connsiteY24" fmla="*/ 4643371 h 4929733"/>
              <a:gd name="connsiteX25" fmla="*/ 2053179 w 6014544"/>
              <a:gd name="connsiteY25" fmla="*/ 4624943 h 4929733"/>
              <a:gd name="connsiteX26" fmla="*/ 2099495 w 6014544"/>
              <a:gd name="connsiteY26" fmla="*/ 4606017 h 4929733"/>
              <a:gd name="connsiteX27" fmla="*/ 2145084 w 6014544"/>
              <a:gd name="connsiteY27" fmla="*/ 4586601 h 4929733"/>
              <a:gd name="connsiteX28" fmla="*/ 2189958 w 6014544"/>
              <a:gd name="connsiteY28" fmla="*/ 4566700 h 4929733"/>
              <a:gd name="connsiteX29" fmla="*/ 2234129 w 6014544"/>
              <a:gd name="connsiteY29" fmla="*/ 4546321 h 4929733"/>
              <a:gd name="connsiteX30" fmla="*/ 2277607 w 6014544"/>
              <a:gd name="connsiteY30" fmla="*/ 4525471 h 4929733"/>
              <a:gd name="connsiteX31" fmla="*/ 2320406 w 6014544"/>
              <a:gd name="connsiteY31" fmla="*/ 4504156 h 4929733"/>
              <a:gd name="connsiteX32" fmla="*/ 2362536 w 6014544"/>
              <a:gd name="connsiteY32" fmla="*/ 4482383 h 4929733"/>
              <a:gd name="connsiteX33" fmla="*/ 2404009 w 6014544"/>
              <a:gd name="connsiteY33" fmla="*/ 4460157 h 4929733"/>
              <a:gd name="connsiteX34" fmla="*/ 2444837 w 6014544"/>
              <a:gd name="connsiteY34" fmla="*/ 4437486 h 4929733"/>
              <a:gd name="connsiteX35" fmla="*/ 2485032 w 6014544"/>
              <a:gd name="connsiteY35" fmla="*/ 4414376 h 4929733"/>
              <a:gd name="connsiteX36" fmla="*/ 2524605 w 6014544"/>
              <a:gd name="connsiteY36" fmla="*/ 4390833 h 4929733"/>
              <a:gd name="connsiteX37" fmla="*/ 2563568 w 6014544"/>
              <a:gd name="connsiteY37" fmla="*/ 4366865 h 4929733"/>
              <a:gd name="connsiteX38" fmla="*/ 2601933 w 6014544"/>
              <a:gd name="connsiteY38" fmla="*/ 4342477 h 4929733"/>
              <a:gd name="connsiteX39" fmla="*/ 2639711 w 6014544"/>
              <a:gd name="connsiteY39" fmla="*/ 4317675 h 4929733"/>
              <a:gd name="connsiteX40" fmla="*/ 2676915 w 6014544"/>
              <a:gd name="connsiteY40" fmla="*/ 4292467 h 4929733"/>
              <a:gd name="connsiteX41" fmla="*/ 2713555 w 6014544"/>
              <a:gd name="connsiteY41" fmla="*/ 4266859 h 4929733"/>
              <a:gd name="connsiteX42" fmla="*/ 2749643 w 6014544"/>
              <a:gd name="connsiteY42" fmla="*/ 4240857 h 4929733"/>
              <a:gd name="connsiteX43" fmla="*/ 2785192 w 6014544"/>
              <a:gd name="connsiteY43" fmla="*/ 4214468 h 4929733"/>
              <a:gd name="connsiteX44" fmla="*/ 2820213 w 6014544"/>
              <a:gd name="connsiteY44" fmla="*/ 4187699 h 4929733"/>
              <a:gd name="connsiteX45" fmla="*/ 2854717 w 6014544"/>
              <a:gd name="connsiteY45" fmla="*/ 4160555 h 4929733"/>
              <a:gd name="connsiteX46" fmla="*/ 2888716 w 6014544"/>
              <a:gd name="connsiteY46" fmla="*/ 4133043 h 4929733"/>
              <a:gd name="connsiteX47" fmla="*/ 2922222 w 6014544"/>
              <a:gd name="connsiteY47" fmla="*/ 4105171 h 4929733"/>
              <a:gd name="connsiteX48" fmla="*/ 2955247 w 6014544"/>
              <a:gd name="connsiteY48" fmla="*/ 4076943 h 4929733"/>
              <a:gd name="connsiteX49" fmla="*/ 2987803 w 6014544"/>
              <a:gd name="connsiteY49" fmla="*/ 4048367 h 4929733"/>
              <a:gd name="connsiteX50" fmla="*/ 3019900 w 6014544"/>
              <a:gd name="connsiteY50" fmla="*/ 4019449 h 4929733"/>
              <a:gd name="connsiteX51" fmla="*/ 3051551 w 6014544"/>
              <a:gd name="connsiteY51" fmla="*/ 3990196 h 4929733"/>
              <a:gd name="connsiteX52" fmla="*/ 3082767 w 6014544"/>
              <a:gd name="connsiteY52" fmla="*/ 3960614 h 4929733"/>
              <a:gd name="connsiteX53" fmla="*/ 3113560 w 6014544"/>
              <a:gd name="connsiteY53" fmla="*/ 3930710 h 4929733"/>
              <a:gd name="connsiteX54" fmla="*/ 3143943 w 6014544"/>
              <a:gd name="connsiteY54" fmla="*/ 3900490 h 4929733"/>
              <a:gd name="connsiteX55" fmla="*/ 3173925 w 6014544"/>
              <a:gd name="connsiteY55" fmla="*/ 3869960 h 4929733"/>
              <a:gd name="connsiteX56" fmla="*/ 3203520 w 6014544"/>
              <a:gd name="connsiteY56" fmla="*/ 3839127 h 4929733"/>
              <a:gd name="connsiteX57" fmla="*/ 3232739 w 6014544"/>
              <a:gd name="connsiteY57" fmla="*/ 3807998 h 4929733"/>
              <a:gd name="connsiteX58" fmla="*/ 3261593 w 6014544"/>
              <a:gd name="connsiteY58" fmla="*/ 3776579 h 4929733"/>
              <a:gd name="connsiteX59" fmla="*/ 3290094 w 6014544"/>
              <a:gd name="connsiteY59" fmla="*/ 3744877 h 4929733"/>
              <a:gd name="connsiteX60" fmla="*/ 3318254 w 6014544"/>
              <a:gd name="connsiteY60" fmla="*/ 3712897 h 4929733"/>
              <a:gd name="connsiteX61" fmla="*/ 3346085 w 6014544"/>
              <a:gd name="connsiteY61" fmla="*/ 3680647 h 4929733"/>
              <a:gd name="connsiteX62" fmla="*/ 3373598 w 6014544"/>
              <a:gd name="connsiteY62" fmla="*/ 3648133 h 4929733"/>
              <a:gd name="connsiteX63" fmla="*/ 3400806 w 6014544"/>
              <a:gd name="connsiteY63" fmla="*/ 3615361 h 4929733"/>
              <a:gd name="connsiteX64" fmla="*/ 3427719 w 6014544"/>
              <a:gd name="connsiteY64" fmla="*/ 3582338 h 4929733"/>
              <a:gd name="connsiteX65" fmla="*/ 3454349 w 6014544"/>
              <a:gd name="connsiteY65" fmla="*/ 3549071 h 4929733"/>
              <a:gd name="connsiteX66" fmla="*/ 3480708 w 6014544"/>
              <a:gd name="connsiteY66" fmla="*/ 3515565 h 4929733"/>
              <a:gd name="connsiteX67" fmla="*/ 3506808 w 6014544"/>
              <a:gd name="connsiteY67" fmla="*/ 3481828 h 4929733"/>
              <a:gd name="connsiteX68" fmla="*/ 3532661 w 6014544"/>
              <a:gd name="connsiteY68" fmla="*/ 3447865 h 4929733"/>
              <a:gd name="connsiteX69" fmla="*/ 3558277 w 6014544"/>
              <a:gd name="connsiteY69" fmla="*/ 3413684 h 4929733"/>
              <a:gd name="connsiteX70" fmla="*/ 3583670 w 6014544"/>
              <a:gd name="connsiteY70" fmla="*/ 3379290 h 4929733"/>
              <a:gd name="connsiteX71" fmla="*/ 3608850 w 6014544"/>
              <a:gd name="connsiteY71" fmla="*/ 3344691 h 4929733"/>
              <a:gd name="connsiteX72" fmla="*/ 3633829 w 6014544"/>
              <a:gd name="connsiteY72" fmla="*/ 3309893 h 4929733"/>
              <a:gd name="connsiteX73" fmla="*/ 3683232 w 6014544"/>
              <a:gd name="connsiteY73" fmla="*/ 3239724 h 4929733"/>
              <a:gd name="connsiteX74" fmla="*/ 3731972 w 6014544"/>
              <a:gd name="connsiteY74" fmla="*/ 3168836 h 4929733"/>
              <a:gd name="connsiteX75" fmla="*/ 3780142 w 6014544"/>
              <a:gd name="connsiteY75" fmla="*/ 3097281 h 4929733"/>
              <a:gd name="connsiteX76" fmla="*/ 3827837 w 6014544"/>
              <a:gd name="connsiteY76" fmla="*/ 3025110 h 4929733"/>
              <a:gd name="connsiteX77" fmla="*/ 3875150 w 6014544"/>
              <a:gd name="connsiteY77" fmla="*/ 2952375 h 4929733"/>
              <a:gd name="connsiteX78" fmla="*/ 3945607 w 6014544"/>
              <a:gd name="connsiteY78" fmla="*/ 2842329 h 4929733"/>
              <a:gd name="connsiteX79" fmla="*/ 4227251 w 6014544"/>
              <a:gd name="connsiteY79" fmla="*/ 2394125 h 4929733"/>
              <a:gd name="connsiteX80" fmla="*/ 4299195 w 6014544"/>
              <a:gd name="connsiteY80" fmla="*/ 2280944 h 4929733"/>
              <a:gd name="connsiteX81" fmla="*/ 4347829 w 6014544"/>
              <a:gd name="connsiteY81" fmla="*/ 2205422 h 4929733"/>
              <a:gd name="connsiteX82" fmla="*/ 4428507 w 6014544"/>
              <a:gd name="connsiteY82" fmla="*/ 2081094 h 4929733"/>
              <a:gd name="connsiteX83" fmla="*/ 4512003 w 6014544"/>
              <a:gd name="connsiteY83" fmla="*/ 1950584 h 4929733"/>
              <a:gd name="connsiteX84" fmla="*/ 4787968 w 6014544"/>
              <a:gd name="connsiteY84" fmla="*/ 1513988 h 4929733"/>
              <a:gd name="connsiteX85" fmla="*/ 4871213 w 6014544"/>
              <a:gd name="connsiteY85" fmla="*/ 1383871 h 4929733"/>
              <a:gd name="connsiteX86" fmla="*/ 4927104 w 6014544"/>
              <a:gd name="connsiteY86" fmla="*/ 1297666 h 4929733"/>
              <a:gd name="connsiteX87" fmla="*/ 4983417 w 6014544"/>
              <a:gd name="connsiteY87" fmla="*/ 1212012 h 4929733"/>
              <a:gd name="connsiteX88" fmla="*/ 5040240 w 6014544"/>
              <a:gd name="connsiteY88" fmla="*/ 1127013 h 4929733"/>
              <a:gd name="connsiteX89" fmla="*/ 5097662 w 6014544"/>
              <a:gd name="connsiteY89" fmla="*/ 1042769 h 4929733"/>
              <a:gd name="connsiteX90" fmla="*/ 5126626 w 6014544"/>
              <a:gd name="connsiteY90" fmla="*/ 1000963 h 4929733"/>
              <a:gd name="connsiteX91" fmla="*/ 5155774 w 6014544"/>
              <a:gd name="connsiteY91" fmla="*/ 959384 h 4929733"/>
              <a:gd name="connsiteX92" fmla="*/ 5185115 w 6014544"/>
              <a:gd name="connsiteY92" fmla="*/ 918045 h 4929733"/>
              <a:gd name="connsiteX93" fmla="*/ 5214663 w 6014544"/>
              <a:gd name="connsiteY93" fmla="*/ 876959 h 4929733"/>
              <a:gd name="connsiteX94" fmla="*/ 5244427 w 6014544"/>
              <a:gd name="connsiteY94" fmla="*/ 836139 h 4929733"/>
              <a:gd name="connsiteX95" fmla="*/ 5274420 w 6014544"/>
              <a:gd name="connsiteY95" fmla="*/ 795597 h 4929733"/>
              <a:gd name="connsiteX96" fmla="*/ 5304651 w 6014544"/>
              <a:gd name="connsiteY96" fmla="*/ 755346 h 4929733"/>
              <a:gd name="connsiteX97" fmla="*/ 5335133 w 6014544"/>
              <a:gd name="connsiteY97" fmla="*/ 715400 h 4929733"/>
              <a:gd name="connsiteX98" fmla="*/ 5365877 w 6014544"/>
              <a:gd name="connsiteY98" fmla="*/ 675770 h 4929733"/>
              <a:gd name="connsiteX99" fmla="*/ 5396893 w 6014544"/>
              <a:gd name="connsiteY99" fmla="*/ 636470 h 4929733"/>
              <a:gd name="connsiteX100" fmla="*/ 5428193 w 6014544"/>
              <a:gd name="connsiteY100" fmla="*/ 597512 h 4929733"/>
              <a:gd name="connsiteX101" fmla="*/ 5459788 w 6014544"/>
              <a:gd name="connsiteY101" fmla="*/ 558910 h 4929733"/>
              <a:gd name="connsiteX102" fmla="*/ 5491689 w 6014544"/>
              <a:gd name="connsiteY102" fmla="*/ 520675 h 4929733"/>
              <a:gd name="connsiteX103" fmla="*/ 5523908 w 6014544"/>
              <a:gd name="connsiteY103" fmla="*/ 482821 h 4929733"/>
              <a:gd name="connsiteX104" fmla="*/ 5556455 w 6014544"/>
              <a:gd name="connsiteY104" fmla="*/ 445361 h 4929733"/>
              <a:gd name="connsiteX105" fmla="*/ 5589342 w 6014544"/>
              <a:gd name="connsiteY105" fmla="*/ 408306 h 4929733"/>
              <a:gd name="connsiteX106" fmla="*/ 5622579 w 6014544"/>
              <a:gd name="connsiteY106" fmla="*/ 371671 h 4929733"/>
              <a:gd name="connsiteX107" fmla="*/ 5656179 w 6014544"/>
              <a:gd name="connsiteY107" fmla="*/ 335468 h 4929733"/>
              <a:gd name="connsiteX108" fmla="*/ 5690152 w 6014544"/>
              <a:gd name="connsiteY108" fmla="*/ 299710 h 4929733"/>
              <a:gd name="connsiteX109" fmla="*/ 5724509 w 6014544"/>
              <a:gd name="connsiteY109" fmla="*/ 264408 h 4929733"/>
              <a:gd name="connsiteX110" fmla="*/ 5759262 w 6014544"/>
              <a:gd name="connsiteY110" fmla="*/ 229577 h 4929733"/>
              <a:gd name="connsiteX111" fmla="*/ 5794421 w 6014544"/>
              <a:gd name="connsiteY111" fmla="*/ 195229 h 4929733"/>
              <a:gd name="connsiteX112" fmla="*/ 5829999 w 6014544"/>
              <a:gd name="connsiteY112" fmla="*/ 161377 h 4929733"/>
              <a:gd name="connsiteX113" fmla="*/ 5866005 w 6014544"/>
              <a:gd name="connsiteY113" fmla="*/ 128033 h 4929733"/>
              <a:gd name="connsiteX114" fmla="*/ 5902451 w 6014544"/>
              <a:gd name="connsiteY114" fmla="*/ 95211 h 4929733"/>
              <a:gd name="connsiteX115" fmla="*/ 5939349 w 6014544"/>
              <a:gd name="connsiteY115" fmla="*/ 62923 h 4929733"/>
              <a:gd name="connsiteX116" fmla="*/ 5976710 w 6014544"/>
              <a:gd name="connsiteY116" fmla="*/ 31181 h 4929733"/>
              <a:gd name="connsiteX117" fmla="*/ 6014544 w 6014544"/>
              <a:gd name="connsiteY117" fmla="*/ 0 h 49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14544" h="4929733">
                <a:moveTo>
                  <a:pt x="6014544" y="0"/>
                </a:moveTo>
                <a:lnTo>
                  <a:pt x="511" y="7668"/>
                </a:lnTo>
                <a:cubicBezTo>
                  <a:pt x="-3330" y="1650912"/>
                  <a:pt x="15833" y="3286489"/>
                  <a:pt x="11992" y="4929733"/>
                </a:cubicBezTo>
                <a:lnTo>
                  <a:pt x="826657" y="4904003"/>
                </a:lnTo>
                <a:lnTo>
                  <a:pt x="891923" y="4897516"/>
                </a:lnTo>
                <a:lnTo>
                  <a:pt x="956205" y="4890395"/>
                </a:lnTo>
                <a:lnTo>
                  <a:pt x="1019514" y="4882647"/>
                </a:lnTo>
                <a:lnTo>
                  <a:pt x="1081862" y="4874279"/>
                </a:lnTo>
                <a:lnTo>
                  <a:pt x="1143262" y="4865297"/>
                </a:lnTo>
                <a:lnTo>
                  <a:pt x="1203724" y="4855708"/>
                </a:lnTo>
                <a:lnTo>
                  <a:pt x="1263261" y="4845517"/>
                </a:lnTo>
                <a:lnTo>
                  <a:pt x="1321883" y="4834732"/>
                </a:lnTo>
                <a:lnTo>
                  <a:pt x="1379603" y="4823359"/>
                </a:lnTo>
                <a:lnTo>
                  <a:pt x="1436433" y="4811404"/>
                </a:lnTo>
                <a:lnTo>
                  <a:pt x="1492384" y="4798874"/>
                </a:lnTo>
                <a:lnTo>
                  <a:pt x="1547467" y="4785776"/>
                </a:lnTo>
                <a:lnTo>
                  <a:pt x="1601695" y="4772115"/>
                </a:lnTo>
                <a:lnTo>
                  <a:pt x="1655080" y="4757899"/>
                </a:lnTo>
                <a:lnTo>
                  <a:pt x="1707632" y="4743134"/>
                </a:lnTo>
                <a:lnTo>
                  <a:pt x="1759363" y="4727825"/>
                </a:lnTo>
                <a:lnTo>
                  <a:pt x="1810286" y="4711981"/>
                </a:lnTo>
                <a:lnTo>
                  <a:pt x="1860412" y="4695607"/>
                </a:lnTo>
                <a:lnTo>
                  <a:pt x="1909753" y="4678710"/>
                </a:lnTo>
                <a:lnTo>
                  <a:pt x="1958320" y="4661296"/>
                </a:lnTo>
                <a:lnTo>
                  <a:pt x="2006125" y="4643371"/>
                </a:lnTo>
                <a:lnTo>
                  <a:pt x="2053179" y="4624943"/>
                </a:lnTo>
                <a:lnTo>
                  <a:pt x="2099495" y="4606017"/>
                </a:lnTo>
                <a:lnTo>
                  <a:pt x="2145084" y="4586601"/>
                </a:lnTo>
                <a:lnTo>
                  <a:pt x="2189958" y="4566700"/>
                </a:lnTo>
                <a:lnTo>
                  <a:pt x="2234129" y="4546321"/>
                </a:lnTo>
                <a:lnTo>
                  <a:pt x="2277607" y="4525471"/>
                </a:lnTo>
                <a:lnTo>
                  <a:pt x="2320406" y="4504156"/>
                </a:lnTo>
                <a:lnTo>
                  <a:pt x="2362536" y="4482383"/>
                </a:lnTo>
                <a:lnTo>
                  <a:pt x="2404009" y="4460157"/>
                </a:lnTo>
                <a:lnTo>
                  <a:pt x="2444837" y="4437486"/>
                </a:lnTo>
                <a:lnTo>
                  <a:pt x="2485032" y="4414376"/>
                </a:lnTo>
                <a:lnTo>
                  <a:pt x="2524605" y="4390833"/>
                </a:lnTo>
                <a:lnTo>
                  <a:pt x="2563568" y="4366865"/>
                </a:lnTo>
                <a:lnTo>
                  <a:pt x="2601933" y="4342477"/>
                </a:lnTo>
                <a:lnTo>
                  <a:pt x="2639711" y="4317675"/>
                </a:lnTo>
                <a:lnTo>
                  <a:pt x="2676915" y="4292467"/>
                </a:lnTo>
                <a:lnTo>
                  <a:pt x="2713555" y="4266859"/>
                </a:lnTo>
                <a:lnTo>
                  <a:pt x="2749643" y="4240857"/>
                </a:lnTo>
                <a:lnTo>
                  <a:pt x="2785192" y="4214468"/>
                </a:lnTo>
                <a:lnTo>
                  <a:pt x="2820213" y="4187699"/>
                </a:lnTo>
                <a:lnTo>
                  <a:pt x="2854717" y="4160555"/>
                </a:lnTo>
                <a:lnTo>
                  <a:pt x="2888716" y="4133043"/>
                </a:lnTo>
                <a:lnTo>
                  <a:pt x="2922222" y="4105171"/>
                </a:lnTo>
                <a:lnTo>
                  <a:pt x="2955247" y="4076943"/>
                </a:lnTo>
                <a:lnTo>
                  <a:pt x="2987803" y="4048367"/>
                </a:lnTo>
                <a:lnTo>
                  <a:pt x="3019900" y="4019449"/>
                </a:lnTo>
                <a:lnTo>
                  <a:pt x="3051551" y="3990196"/>
                </a:lnTo>
                <a:lnTo>
                  <a:pt x="3082767" y="3960614"/>
                </a:lnTo>
                <a:lnTo>
                  <a:pt x="3113560" y="3930710"/>
                </a:lnTo>
                <a:lnTo>
                  <a:pt x="3143943" y="3900490"/>
                </a:lnTo>
                <a:lnTo>
                  <a:pt x="3173925" y="3869960"/>
                </a:lnTo>
                <a:lnTo>
                  <a:pt x="3203520" y="3839127"/>
                </a:lnTo>
                <a:lnTo>
                  <a:pt x="3232739" y="3807998"/>
                </a:lnTo>
                <a:lnTo>
                  <a:pt x="3261593" y="3776579"/>
                </a:lnTo>
                <a:lnTo>
                  <a:pt x="3290094" y="3744877"/>
                </a:lnTo>
                <a:lnTo>
                  <a:pt x="3318254" y="3712897"/>
                </a:lnTo>
                <a:lnTo>
                  <a:pt x="3346085" y="3680647"/>
                </a:lnTo>
                <a:lnTo>
                  <a:pt x="3373598" y="3648133"/>
                </a:lnTo>
                <a:lnTo>
                  <a:pt x="3400806" y="3615361"/>
                </a:lnTo>
                <a:lnTo>
                  <a:pt x="3427719" y="3582338"/>
                </a:lnTo>
                <a:lnTo>
                  <a:pt x="3454349" y="3549071"/>
                </a:lnTo>
                <a:lnTo>
                  <a:pt x="3480708" y="3515565"/>
                </a:lnTo>
                <a:lnTo>
                  <a:pt x="3506808" y="3481828"/>
                </a:lnTo>
                <a:lnTo>
                  <a:pt x="3532661" y="3447865"/>
                </a:lnTo>
                <a:lnTo>
                  <a:pt x="3558277" y="3413684"/>
                </a:lnTo>
                <a:lnTo>
                  <a:pt x="3583670" y="3379290"/>
                </a:lnTo>
                <a:lnTo>
                  <a:pt x="3608850" y="3344691"/>
                </a:lnTo>
                <a:lnTo>
                  <a:pt x="3633829" y="3309893"/>
                </a:lnTo>
                <a:lnTo>
                  <a:pt x="3683232" y="3239724"/>
                </a:lnTo>
                <a:lnTo>
                  <a:pt x="3731972" y="3168836"/>
                </a:lnTo>
                <a:lnTo>
                  <a:pt x="3780142" y="3097281"/>
                </a:lnTo>
                <a:lnTo>
                  <a:pt x="3827837" y="3025110"/>
                </a:lnTo>
                <a:lnTo>
                  <a:pt x="3875150" y="2952375"/>
                </a:lnTo>
                <a:lnTo>
                  <a:pt x="3945607" y="2842329"/>
                </a:lnTo>
                <a:lnTo>
                  <a:pt x="4227251" y="2394125"/>
                </a:lnTo>
                <a:lnTo>
                  <a:pt x="4299195" y="2280944"/>
                </a:lnTo>
                <a:lnTo>
                  <a:pt x="4347829" y="2205422"/>
                </a:lnTo>
                <a:lnTo>
                  <a:pt x="4428507" y="2081094"/>
                </a:lnTo>
                <a:lnTo>
                  <a:pt x="4512003" y="1950584"/>
                </a:lnTo>
                <a:lnTo>
                  <a:pt x="4787968" y="1513988"/>
                </a:lnTo>
                <a:lnTo>
                  <a:pt x="4871213" y="1383871"/>
                </a:lnTo>
                <a:lnTo>
                  <a:pt x="4927104" y="1297666"/>
                </a:lnTo>
                <a:lnTo>
                  <a:pt x="4983417" y="1212012"/>
                </a:lnTo>
                <a:lnTo>
                  <a:pt x="5040240" y="1127013"/>
                </a:lnTo>
                <a:lnTo>
                  <a:pt x="5097662" y="1042769"/>
                </a:lnTo>
                <a:lnTo>
                  <a:pt x="5126626" y="1000963"/>
                </a:lnTo>
                <a:lnTo>
                  <a:pt x="5155774" y="959384"/>
                </a:lnTo>
                <a:lnTo>
                  <a:pt x="5185115" y="918045"/>
                </a:lnTo>
                <a:lnTo>
                  <a:pt x="5214663" y="876959"/>
                </a:lnTo>
                <a:lnTo>
                  <a:pt x="5244427" y="836139"/>
                </a:lnTo>
                <a:lnTo>
                  <a:pt x="5274420" y="795597"/>
                </a:lnTo>
                <a:lnTo>
                  <a:pt x="5304651" y="755346"/>
                </a:lnTo>
                <a:lnTo>
                  <a:pt x="5335133" y="715400"/>
                </a:lnTo>
                <a:lnTo>
                  <a:pt x="5365877" y="675770"/>
                </a:lnTo>
                <a:lnTo>
                  <a:pt x="5396893" y="636470"/>
                </a:lnTo>
                <a:lnTo>
                  <a:pt x="5428193" y="597512"/>
                </a:lnTo>
                <a:lnTo>
                  <a:pt x="5459788" y="558910"/>
                </a:lnTo>
                <a:lnTo>
                  <a:pt x="5491689" y="520675"/>
                </a:lnTo>
                <a:lnTo>
                  <a:pt x="5523908" y="482821"/>
                </a:lnTo>
                <a:lnTo>
                  <a:pt x="5556455" y="445361"/>
                </a:lnTo>
                <a:lnTo>
                  <a:pt x="5589342" y="408306"/>
                </a:lnTo>
                <a:lnTo>
                  <a:pt x="5622579" y="371671"/>
                </a:lnTo>
                <a:lnTo>
                  <a:pt x="5656179" y="335468"/>
                </a:lnTo>
                <a:lnTo>
                  <a:pt x="5690152" y="299710"/>
                </a:lnTo>
                <a:lnTo>
                  <a:pt x="5724509" y="264408"/>
                </a:lnTo>
                <a:lnTo>
                  <a:pt x="5759262" y="229577"/>
                </a:lnTo>
                <a:lnTo>
                  <a:pt x="5794421" y="195229"/>
                </a:lnTo>
                <a:lnTo>
                  <a:pt x="5829999" y="161377"/>
                </a:lnTo>
                <a:lnTo>
                  <a:pt x="5866005" y="128033"/>
                </a:lnTo>
                <a:lnTo>
                  <a:pt x="5902451" y="95211"/>
                </a:lnTo>
                <a:lnTo>
                  <a:pt x="5939349" y="62923"/>
                </a:lnTo>
                <a:lnTo>
                  <a:pt x="5976710" y="31181"/>
                </a:lnTo>
                <a:lnTo>
                  <a:pt x="6014544" y="0"/>
                </a:lnTo>
                <a:close/>
              </a:path>
            </a:pathLst>
          </a:custGeom>
          <a:solidFill>
            <a:schemeClr val="bg1"/>
          </a:solidFill>
        </p:spPr>
        <p:txBody>
          <a:bodyPr wrap="square" lIns="0" tIns="0" rIns="0" bIns="0" rtlCol="0"/>
          <a:lstStyle/>
          <a:p>
            <a:endParaRPr/>
          </a:p>
        </p:txBody>
      </p:sp>
      <p:sp>
        <p:nvSpPr>
          <p:cNvPr id="39" name="Titel 1">
            <a:extLst>
              <a:ext uri="{FF2B5EF4-FFF2-40B4-BE49-F238E27FC236}">
                <a16:creationId xmlns:a16="http://schemas.microsoft.com/office/drawing/2014/main" id="{F420976D-DF05-5525-6577-F426180F9CA9}"/>
              </a:ext>
            </a:extLst>
          </p:cNvPr>
          <p:cNvSpPr>
            <a:spLocks noGrp="1"/>
          </p:cNvSpPr>
          <p:nvPr>
            <p:ph type="ctrTitle"/>
          </p:nvPr>
        </p:nvSpPr>
        <p:spPr>
          <a:xfrm>
            <a:off x="399922" y="2161077"/>
            <a:ext cx="5443315" cy="1725277"/>
          </a:xfrm>
          <a:prstGeom prst="rect">
            <a:avLst/>
          </a:prstGeom>
        </p:spPr>
        <p:txBody>
          <a:bodyPr anchor="b">
            <a:noAutofit/>
          </a:bodyPr>
          <a:lstStyle>
            <a:lvl1pPr algn="l">
              <a:defRPr sz="6000" b="1" i="0">
                <a:solidFill>
                  <a:srgbClr val="2C3051"/>
                </a:solidFill>
                <a:latin typeface="Avenir Black" panose="02000503020000020003" pitchFamily="2" charset="0"/>
              </a:defRPr>
            </a:lvl1pPr>
          </a:lstStyle>
          <a:p>
            <a:r>
              <a:rPr lang="en-US"/>
              <a:t>Click to edit Master title style</a:t>
            </a:r>
            <a:endParaRPr lang="nl-BE"/>
          </a:p>
        </p:txBody>
      </p:sp>
      <p:pic>
        <p:nvPicPr>
          <p:cNvPr id="8" name="Afbeelding 28">
            <a:extLst>
              <a:ext uri="{FF2B5EF4-FFF2-40B4-BE49-F238E27FC236}">
                <a16:creationId xmlns:a16="http://schemas.microsoft.com/office/drawing/2014/main" id="{83CAAACC-926A-7D84-2E91-B9FAC5A21B7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19963537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Page+Image">
    <p:spTree>
      <p:nvGrpSpPr>
        <p:cNvPr id="1" name=""/>
        <p:cNvGrpSpPr/>
        <p:nvPr/>
      </p:nvGrpSpPr>
      <p:grpSpPr>
        <a:xfrm>
          <a:off x="0" y="0"/>
          <a:ext cx="0" cy="0"/>
          <a:chOff x="0" y="0"/>
          <a:chExt cx="0" cy="0"/>
        </a:xfrm>
      </p:grpSpPr>
      <p:pic>
        <p:nvPicPr>
          <p:cNvPr id="24" name="Afbeelding 23">
            <a:extLst>
              <a:ext uri="{FF2B5EF4-FFF2-40B4-BE49-F238E27FC236}">
                <a16:creationId xmlns:a16="http://schemas.microsoft.com/office/drawing/2014/main" id="{E3554B7D-52B0-F6C3-CA8B-A419B665E9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02476" y="-1"/>
            <a:ext cx="10689524" cy="6879523"/>
          </a:xfrm>
          <a:prstGeom prst="rect">
            <a:avLst/>
          </a:prstGeom>
        </p:spPr>
      </p:pic>
      <p:sp>
        <p:nvSpPr>
          <p:cNvPr id="21" name="object 2">
            <a:extLst>
              <a:ext uri="{FF2B5EF4-FFF2-40B4-BE49-F238E27FC236}">
                <a16:creationId xmlns:a16="http://schemas.microsoft.com/office/drawing/2014/main" id="{7FB5D4F0-26ED-CC75-D041-B96DBFB98F5E}"/>
              </a:ext>
            </a:extLst>
          </p:cNvPr>
          <p:cNvSpPr/>
          <p:nvPr userDrawn="1"/>
        </p:nvSpPr>
        <p:spPr>
          <a:xfrm>
            <a:off x="-15277" y="0"/>
            <a:ext cx="7567544" cy="6879523"/>
          </a:xfrm>
          <a:custGeom>
            <a:avLst/>
            <a:gdLst/>
            <a:ahLst/>
            <a:cxnLst/>
            <a:rect l="l" t="t" r="r" b="b"/>
            <a:pathLst>
              <a:path w="8631555" h="6687820">
                <a:moveTo>
                  <a:pt x="8631301" y="0"/>
                </a:moveTo>
                <a:lnTo>
                  <a:pt x="0" y="0"/>
                </a:lnTo>
                <a:lnTo>
                  <a:pt x="0" y="6687210"/>
                </a:lnTo>
                <a:lnTo>
                  <a:pt x="1556981" y="6687210"/>
                </a:lnTo>
                <a:lnTo>
                  <a:pt x="1622552" y="6680790"/>
                </a:lnTo>
                <a:lnTo>
                  <a:pt x="1687395" y="6673902"/>
                </a:lnTo>
                <a:lnTo>
                  <a:pt x="1751517" y="6666549"/>
                </a:lnTo>
                <a:lnTo>
                  <a:pt x="1814923" y="6658735"/>
                </a:lnTo>
                <a:lnTo>
                  <a:pt x="1877621" y="6650463"/>
                </a:lnTo>
                <a:lnTo>
                  <a:pt x="1939616" y="6641737"/>
                </a:lnTo>
                <a:lnTo>
                  <a:pt x="2000915" y="6632561"/>
                </a:lnTo>
                <a:lnTo>
                  <a:pt x="2061524" y="6622937"/>
                </a:lnTo>
                <a:lnTo>
                  <a:pt x="2121449" y="6612869"/>
                </a:lnTo>
                <a:lnTo>
                  <a:pt x="2180698" y="6602362"/>
                </a:lnTo>
                <a:lnTo>
                  <a:pt x="2239276" y="6591417"/>
                </a:lnTo>
                <a:lnTo>
                  <a:pt x="2297189" y="6580040"/>
                </a:lnTo>
                <a:lnTo>
                  <a:pt x="2354444" y="6568233"/>
                </a:lnTo>
                <a:lnTo>
                  <a:pt x="2411048" y="6555999"/>
                </a:lnTo>
                <a:lnTo>
                  <a:pt x="2467006" y="6543344"/>
                </a:lnTo>
                <a:lnTo>
                  <a:pt x="2522325" y="6530269"/>
                </a:lnTo>
                <a:lnTo>
                  <a:pt x="2577011" y="6516778"/>
                </a:lnTo>
                <a:lnTo>
                  <a:pt x="2631071" y="6502876"/>
                </a:lnTo>
                <a:lnTo>
                  <a:pt x="2684511" y="6488565"/>
                </a:lnTo>
                <a:lnTo>
                  <a:pt x="2737336" y="6473849"/>
                </a:lnTo>
                <a:lnTo>
                  <a:pt x="2789555" y="6458731"/>
                </a:lnTo>
                <a:lnTo>
                  <a:pt x="2841173" y="6443216"/>
                </a:lnTo>
                <a:lnTo>
                  <a:pt x="2892195" y="6427305"/>
                </a:lnTo>
                <a:lnTo>
                  <a:pt x="2942630" y="6411004"/>
                </a:lnTo>
                <a:lnTo>
                  <a:pt x="2992482" y="6394316"/>
                </a:lnTo>
                <a:lnTo>
                  <a:pt x="3041759" y="6377243"/>
                </a:lnTo>
                <a:lnTo>
                  <a:pt x="3090466" y="6359791"/>
                </a:lnTo>
                <a:lnTo>
                  <a:pt x="3138610" y="6341961"/>
                </a:lnTo>
                <a:lnTo>
                  <a:pt x="3186198" y="6323757"/>
                </a:lnTo>
                <a:lnTo>
                  <a:pt x="3233235" y="6305184"/>
                </a:lnTo>
                <a:lnTo>
                  <a:pt x="3279728" y="6286245"/>
                </a:lnTo>
                <a:lnTo>
                  <a:pt x="3325684" y="6266942"/>
                </a:lnTo>
                <a:lnTo>
                  <a:pt x="3371108" y="6247281"/>
                </a:lnTo>
                <a:lnTo>
                  <a:pt x="3416007" y="6227263"/>
                </a:lnTo>
                <a:lnTo>
                  <a:pt x="3460387" y="6206893"/>
                </a:lnTo>
                <a:lnTo>
                  <a:pt x="3504255" y="6186174"/>
                </a:lnTo>
                <a:lnTo>
                  <a:pt x="3547617" y="6165110"/>
                </a:lnTo>
                <a:lnTo>
                  <a:pt x="3590480" y="6143704"/>
                </a:lnTo>
                <a:lnTo>
                  <a:pt x="3632849" y="6121960"/>
                </a:lnTo>
                <a:lnTo>
                  <a:pt x="3674731" y="6099881"/>
                </a:lnTo>
                <a:lnTo>
                  <a:pt x="3716133" y="6077471"/>
                </a:lnTo>
                <a:lnTo>
                  <a:pt x="3757060" y="6054733"/>
                </a:lnTo>
                <a:lnTo>
                  <a:pt x="3797519" y="6031671"/>
                </a:lnTo>
                <a:lnTo>
                  <a:pt x="3837517" y="6008288"/>
                </a:lnTo>
                <a:lnTo>
                  <a:pt x="3877059" y="5984588"/>
                </a:lnTo>
                <a:lnTo>
                  <a:pt x="3916152" y="5960574"/>
                </a:lnTo>
                <a:lnTo>
                  <a:pt x="3954803" y="5936250"/>
                </a:lnTo>
                <a:lnTo>
                  <a:pt x="3993018" y="5911619"/>
                </a:lnTo>
                <a:lnTo>
                  <a:pt x="4030802" y="5886685"/>
                </a:lnTo>
                <a:lnTo>
                  <a:pt x="4068163" y="5861452"/>
                </a:lnTo>
                <a:lnTo>
                  <a:pt x="4105107" y="5835922"/>
                </a:lnTo>
                <a:lnTo>
                  <a:pt x="4141640" y="5810100"/>
                </a:lnTo>
                <a:lnTo>
                  <a:pt x="4177768" y="5783988"/>
                </a:lnTo>
                <a:lnTo>
                  <a:pt x="4213498" y="5757591"/>
                </a:lnTo>
                <a:lnTo>
                  <a:pt x="4248836" y="5730912"/>
                </a:lnTo>
                <a:lnTo>
                  <a:pt x="4283788" y="5703955"/>
                </a:lnTo>
                <a:lnTo>
                  <a:pt x="4318361" y="5676722"/>
                </a:lnTo>
                <a:lnTo>
                  <a:pt x="4352561" y="5649218"/>
                </a:lnTo>
                <a:lnTo>
                  <a:pt x="4386395" y="5621446"/>
                </a:lnTo>
                <a:lnTo>
                  <a:pt x="4419869" y="5593409"/>
                </a:lnTo>
                <a:lnTo>
                  <a:pt x="4452988" y="5565111"/>
                </a:lnTo>
                <a:lnTo>
                  <a:pt x="4485760" y="5536556"/>
                </a:lnTo>
                <a:lnTo>
                  <a:pt x="4518191" y="5507747"/>
                </a:lnTo>
                <a:lnTo>
                  <a:pt x="4550287" y="5478687"/>
                </a:lnTo>
                <a:lnTo>
                  <a:pt x="4582054" y="5449380"/>
                </a:lnTo>
                <a:lnTo>
                  <a:pt x="4613500" y="5419830"/>
                </a:lnTo>
                <a:lnTo>
                  <a:pt x="4644629" y="5390040"/>
                </a:lnTo>
                <a:lnTo>
                  <a:pt x="4675449" y="5360014"/>
                </a:lnTo>
                <a:lnTo>
                  <a:pt x="4705966" y="5329755"/>
                </a:lnTo>
                <a:lnTo>
                  <a:pt x="4736185" y="5299266"/>
                </a:lnTo>
                <a:lnTo>
                  <a:pt x="4766115" y="5268551"/>
                </a:lnTo>
                <a:lnTo>
                  <a:pt x="4795760" y="5237614"/>
                </a:lnTo>
                <a:lnTo>
                  <a:pt x="4825127" y="5206458"/>
                </a:lnTo>
                <a:lnTo>
                  <a:pt x="4854223" y="5175087"/>
                </a:lnTo>
                <a:lnTo>
                  <a:pt x="4883054" y="5143504"/>
                </a:lnTo>
                <a:lnTo>
                  <a:pt x="4911626" y="5111713"/>
                </a:lnTo>
                <a:lnTo>
                  <a:pt x="4939945" y="5079717"/>
                </a:lnTo>
                <a:lnTo>
                  <a:pt x="4968018" y="5047519"/>
                </a:lnTo>
                <a:lnTo>
                  <a:pt x="4995852" y="5015124"/>
                </a:lnTo>
                <a:lnTo>
                  <a:pt x="5023452" y="4982535"/>
                </a:lnTo>
                <a:lnTo>
                  <a:pt x="5050824" y="4949755"/>
                </a:lnTo>
                <a:lnTo>
                  <a:pt x="5077976" y="4916787"/>
                </a:lnTo>
                <a:lnTo>
                  <a:pt x="5104914" y="4883636"/>
                </a:lnTo>
                <a:lnTo>
                  <a:pt x="5131644" y="4850305"/>
                </a:lnTo>
                <a:lnTo>
                  <a:pt x="5158171" y="4816797"/>
                </a:lnTo>
                <a:lnTo>
                  <a:pt x="5210647" y="4749265"/>
                </a:lnTo>
                <a:lnTo>
                  <a:pt x="5262391" y="4681068"/>
                </a:lnTo>
                <a:lnTo>
                  <a:pt x="5313455" y="4612234"/>
                </a:lnTo>
                <a:lnTo>
                  <a:pt x="5363889" y="4542793"/>
                </a:lnTo>
                <a:lnTo>
                  <a:pt x="5413745" y="4472771"/>
                </a:lnTo>
                <a:lnTo>
                  <a:pt x="5463072" y="4402196"/>
                </a:lnTo>
                <a:lnTo>
                  <a:pt x="5511922" y="4331098"/>
                </a:lnTo>
                <a:lnTo>
                  <a:pt x="5560344" y="4259503"/>
                </a:lnTo>
                <a:lnTo>
                  <a:pt x="5608391" y="4187441"/>
                </a:lnTo>
                <a:lnTo>
                  <a:pt x="5679867" y="4078531"/>
                </a:lnTo>
                <a:lnTo>
                  <a:pt x="5750781" y="3968727"/>
                </a:lnTo>
                <a:lnTo>
                  <a:pt x="5868190" y="3783989"/>
                </a:lnTo>
                <a:lnTo>
                  <a:pt x="6197916" y="3258640"/>
                </a:lnTo>
                <a:lnTo>
                  <a:pt x="6294137" y="3107321"/>
                </a:lnTo>
                <a:lnTo>
                  <a:pt x="6367357" y="2993735"/>
                </a:lnTo>
                <a:lnTo>
                  <a:pt x="6447904" y="2869788"/>
                </a:lnTo>
                <a:lnTo>
                  <a:pt x="6558874" y="2696807"/>
                </a:lnTo>
                <a:lnTo>
                  <a:pt x="6970940" y="2045274"/>
                </a:lnTo>
                <a:lnTo>
                  <a:pt x="7081462" y="1872743"/>
                </a:lnTo>
                <a:lnTo>
                  <a:pt x="7164986" y="1744202"/>
                </a:lnTo>
                <a:lnTo>
                  <a:pt x="7221058" y="1659017"/>
                </a:lnTo>
                <a:lnTo>
                  <a:pt x="7277496" y="1574303"/>
                </a:lnTo>
                <a:lnTo>
                  <a:pt x="7334350" y="1490113"/>
                </a:lnTo>
                <a:lnTo>
                  <a:pt x="7391664" y="1406503"/>
                </a:lnTo>
                <a:lnTo>
                  <a:pt x="7449488" y="1323526"/>
                </a:lnTo>
                <a:lnTo>
                  <a:pt x="7507868" y="1241237"/>
                </a:lnTo>
                <a:lnTo>
                  <a:pt x="7566851" y="1159689"/>
                </a:lnTo>
                <a:lnTo>
                  <a:pt x="7596584" y="1119210"/>
                </a:lnTo>
                <a:lnTo>
                  <a:pt x="7626486" y="1078937"/>
                </a:lnTo>
                <a:lnTo>
                  <a:pt x="7656562" y="1038876"/>
                </a:lnTo>
                <a:lnTo>
                  <a:pt x="7686818" y="999035"/>
                </a:lnTo>
                <a:lnTo>
                  <a:pt x="7717261" y="959419"/>
                </a:lnTo>
                <a:lnTo>
                  <a:pt x="7747897" y="920037"/>
                </a:lnTo>
                <a:lnTo>
                  <a:pt x="7778730" y="880894"/>
                </a:lnTo>
                <a:lnTo>
                  <a:pt x="7809768" y="841997"/>
                </a:lnTo>
                <a:lnTo>
                  <a:pt x="7841015" y="803354"/>
                </a:lnTo>
                <a:lnTo>
                  <a:pt x="7872479" y="764970"/>
                </a:lnTo>
                <a:lnTo>
                  <a:pt x="7904165" y="726853"/>
                </a:lnTo>
                <a:lnTo>
                  <a:pt x="7936078" y="689010"/>
                </a:lnTo>
                <a:lnTo>
                  <a:pt x="7968225" y="651447"/>
                </a:lnTo>
                <a:lnTo>
                  <a:pt x="8000612" y="614171"/>
                </a:lnTo>
                <a:lnTo>
                  <a:pt x="8033245" y="577189"/>
                </a:lnTo>
                <a:lnTo>
                  <a:pt x="8066128" y="540507"/>
                </a:lnTo>
                <a:lnTo>
                  <a:pt x="8099270" y="504132"/>
                </a:lnTo>
                <a:lnTo>
                  <a:pt x="8132674" y="468072"/>
                </a:lnTo>
                <a:lnTo>
                  <a:pt x="8166348" y="432332"/>
                </a:lnTo>
                <a:lnTo>
                  <a:pt x="8200297" y="396920"/>
                </a:lnTo>
                <a:lnTo>
                  <a:pt x="8234527" y="361843"/>
                </a:lnTo>
                <a:lnTo>
                  <a:pt x="8269044" y="327107"/>
                </a:lnTo>
                <a:lnTo>
                  <a:pt x="8303854" y="292718"/>
                </a:lnTo>
                <a:lnTo>
                  <a:pt x="8338963" y="258685"/>
                </a:lnTo>
                <a:lnTo>
                  <a:pt x="8374376" y="225013"/>
                </a:lnTo>
                <a:lnTo>
                  <a:pt x="8410101" y="191709"/>
                </a:lnTo>
                <a:lnTo>
                  <a:pt x="8446141" y="158780"/>
                </a:lnTo>
                <a:lnTo>
                  <a:pt x="8482505" y="126233"/>
                </a:lnTo>
                <a:lnTo>
                  <a:pt x="8519196" y="94075"/>
                </a:lnTo>
                <a:lnTo>
                  <a:pt x="8556222" y="62312"/>
                </a:lnTo>
                <a:lnTo>
                  <a:pt x="8593588" y="30951"/>
                </a:lnTo>
                <a:lnTo>
                  <a:pt x="8631301" y="0"/>
                </a:lnTo>
                <a:close/>
              </a:path>
            </a:pathLst>
          </a:custGeom>
          <a:solidFill>
            <a:schemeClr val="bg1"/>
          </a:solidFill>
        </p:spPr>
        <p:txBody>
          <a:bodyPr wrap="square" lIns="0" tIns="0" rIns="0" bIns="0" rtlCol="0"/>
          <a:lstStyle/>
          <a:p>
            <a:endParaRPr/>
          </a:p>
        </p:txBody>
      </p:sp>
      <p:sp>
        <p:nvSpPr>
          <p:cNvPr id="22" name="object 2">
            <a:extLst>
              <a:ext uri="{FF2B5EF4-FFF2-40B4-BE49-F238E27FC236}">
                <a16:creationId xmlns:a16="http://schemas.microsoft.com/office/drawing/2014/main" id="{25DF2A79-3B4E-0CAB-8620-E6EA8B837FB4}"/>
              </a:ext>
            </a:extLst>
          </p:cNvPr>
          <p:cNvSpPr/>
          <p:nvPr userDrawn="1"/>
        </p:nvSpPr>
        <p:spPr>
          <a:xfrm>
            <a:off x="6096000" y="21527"/>
            <a:ext cx="6111274" cy="6879523"/>
          </a:xfrm>
          <a:custGeom>
            <a:avLst/>
            <a:gdLst/>
            <a:ahLst/>
            <a:cxnLst/>
            <a:rect l="l" t="t" r="r" b="b"/>
            <a:pathLst>
              <a:path w="7153909" h="6666230">
                <a:moveTo>
                  <a:pt x="7153585" y="0"/>
                </a:moveTo>
                <a:lnTo>
                  <a:pt x="7077662" y="2636"/>
                </a:lnTo>
                <a:lnTo>
                  <a:pt x="6956764" y="8470"/>
                </a:lnTo>
                <a:lnTo>
                  <a:pt x="6838039" y="16137"/>
                </a:lnTo>
                <a:lnTo>
                  <a:pt x="6721457" y="25610"/>
                </a:lnTo>
                <a:lnTo>
                  <a:pt x="6606991" y="36860"/>
                </a:lnTo>
                <a:lnTo>
                  <a:pt x="6494610" y="49859"/>
                </a:lnTo>
                <a:lnTo>
                  <a:pt x="6384287" y="64580"/>
                </a:lnTo>
                <a:lnTo>
                  <a:pt x="6275993" y="80995"/>
                </a:lnTo>
                <a:lnTo>
                  <a:pt x="6169699" y="99075"/>
                </a:lnTo>
                <a:lnTo>
                  <a:pt x="6065376" y="118794"/>
                </a:lnTo>
                <a:lnTo>
                  <a:pt x="5962996" y="140122"/>
                </a:lnTo>
                <a:lnTo>
                  <a:pt x="5862530" y="163032"/>
                </a:lnTo>
                <a:lnTo>
                  <a:pt x="5813005" y="175071"/>
                </a:lnTo>
                <a:lnTo>
                  <a:pt x="5763949" y="187496"/>
                </a:lnTo>
                <a:lnTo>
                  <a:pt x="5715356" y="200302"/>
                </a:lnTo>
                <a:lnTo>
                  <a:pt x="5667224" y="213486"/>
                </a:lnTo>
                <a:lnTo>
                  <a:pt x="5619549" y="227045"/>
                </a:lnTo>
                <a:lnTo>
                  <a:pt x="5572328" y="240975"/>
                </a:lnTo>
                <a:lnTo>
                  <a:pt x="5525556" y="255272"/>
                </a:lnTo>
                <a:lnTo>
                  <a:pt x="5479230" y="269933"/>
                </a:lnTo>
                <a:lnTo>
                  <a:pt x="5433347" y="284956"/>
                </a:lnTo>
                <a:lnTo>
                  <a:pt x="5387903" y="300335"/>
                </a:lnTo>
                <a:lnTo>
                  <a:pt x="5342895" y="316067"/>
                </a:lnTo>
                <a:lnTo>
                  <a:pt x="5298318" y="332150"/>
                </a:lnTo>
                <a:lnTo>
                  <a:pt x="5254170" y="348580"/>
                </a:lnTo>
                <a:lnTo>
                  <a:pt x="5210446" y="365352"/>
                </a:lnTo>
                <a:lnTo>
                  <a:pt x="5167143" y="382465"/>
                </a:lnTo>
                <a:lnTo>
                  <a:pt x="5124258" y="399913"/>
                </a:lnTo>
                <a:lnTo>
                  <a:pt x="5081786" y="417694"/>
                </a:lnTo>
                <a:lnTo>
                  <a:pt x="5039725" y="435805"/>
                </a:lnTo>
                <a:lnTo>
                  <a:pt x="4998071" y="454241"/>
                </a:lnTo>
                <a:lnTo>
                  <a:pt x="4956820" y="472999"/>
                </a:lnTo>
                <a:lnTo>
                  <a:pt x="4915968" y="492076"/>
                </a:lnTo>
                <a:lnTo>
                  <a:pt x="4875513" y="511468"/>
                </a:lnTo>
                <a:lnTo>
                  <a:pt x="4835449" y="531172"/>
                </a:lnTo>
                <a:lnTo>
                  <a:pt x="4795775" y="551184"/>
                </a:lnTo>
                <a:lnTo>
                  <a:pt x="4756485" y="571501"/>
                </a:lnTo>
                <a:lnTo>
                  <a:pt x="4717577" y="592119"/>
                </a:lnTo>
                <a:lnTo>
                  <a:pt x="4679048" y="613035"/>
                </a:lnTo>
                <a:lnTo>
                  <a:pt x="4640892" y="634245"/>
                </a:lnTo>
                <a:lnTo>
                  <a:pt x="4603108" y="655746"/>
                </a:lnTo>
                <a:lnTo>
                  <a:pt x="4565691" y="677534"/>
                </a:lnTo>
                <a:lnTo>
                  <a:pt x="4528637" y="699606"/>
                </a:lnTo>
                <a:lnTo>
                  <a:pt x="4491943" y="721959"/>
                </a:lnTo>
                <a:lnTo>
                  <a:pt x="4455606" y="744588"/>
                </a:lnTo>
                <a:lnTo>
                  <a:pt x="4419622" y="767491"/>
                </a:lnTo>
                <a:lnTo>
                  <a:pt x="4383987" y="790663"/>
                </a:lnTo>
                <a:lnTo>
                  <a:pt x="4348698" y="814102"/>
                </a:lnTo>
                <a:lnTo>
                  <a:pt x="4313751" y="837804"/>
                </a:lnTo>
                <a:lnTo>
                  <a:pt x="4279143" y="861765"/>
                </a:lnTo>
                <a:lnTo>
                  <a:pt x="4244869" y="885982"/>
                </a:lnTo>
                <a:lnTo>
                  <a:pt x="4210927" y="910451"/>
                </a:lnTo>
                <a:lnTo>
                  <a:pt x="4177312" y="935169"/>
                </a:lnTo>
                <a:lnTo>
                  <a:pt x="4144022" y="960133"/>
                </a:lnTo>
                <a:lnTo>
                  <a:pt x="4111053" y="985339"/>
                </a:lnTo>
                <a:lnTo>
                  <a:pt x="4078400" y="1010783"/>
                </a:lnTo>
                <a:lnTo>
                  <a:pt x="4046061" y="1036462"/>
                </a:lnTo>
                <a:lnTo>
                  <a:pt x="4014031" y="1062372"/>
                </a:lnTo>
                <a:lnTo>
                  <a:pt x="3982308" y="1088511"/>
                </a:lnTo>
                <a:lnTo>
                  <a:pt x="3950888" y="1114874"/>
                </a:lnTo>
                <a:lnTo>
                  <a:pt x="3919766" y="1141458"/>
                </a:lnTo>
                <a:lnTo>
                  <a:pt x="3888940" y="1168259"/>
                </a:lnTo>
                <a:lnTo>
                  <a:pt x="3858406" y="1195275"/>
                </a:lnTo>
                <a:lnTo>
                  <a:pt x="3828160" y="1222501"/>
                </a:lnTo>
                <a:lnTo>
                  <a:pt x="3798199" y="1249934"/>
                </a:lnTo>
                <a:lnTo>
                  <a:pt x="3768519" y="1277571"/>
                </a:lnTo>
                <a:lnTo>
                  <a:pt x="3739117" y="1305407"/>
                </a:lnTo>
                <a:lnTo>
                  <a:pt x="3709988" y="1333441"/>
                </a:lnTo>
                <a:lnTo>
                  <a:pt x="3681130" y="1361667"/>
                </a:lnTo>
                <a:lnTo>
                  <a:pt x="3652539" y="1390083"/>
                </a:lnTo>
                <a:lnTo>
                  <a:pt x="3624211" y="1418685"/>
                </a:lnTo>
                <a:lnTo>
                  <a:pt x="3596142" y="1447469"/>
                </a:lnTo>
                <a:lnTo>
                  <a:pt x="3568330" y="1476433"/>
                </a:lnTo>
                <a:lnTo>
                  <a:pt x="3540769" y="1505572"/>
                </a:lnTo>
                <a:lnTo>
                  <a:pt x="3513458" y="1534884"/>
                </a:lnTo>
                <a:lnTo>
                  <a:pt x="3486392" y="1564364"/>
                </a:lnTo>
                <a:lnTo>
                  <a:pt x="3459567" y="1594009"/>
                </a:lnTo>
                <a:lnTo>
                  <a:pt x="3432981" y="1623816"/>
                </a:lnTo>
                <a:lnTo>
                  <a:pt x="3406629" y="1653781"/>
                </a:lnTo>
                <a:lnTo>
                  <a:pt x="3380508" y="1683901"/>
                </a:lnTo>
                <a:lnTo>
                  <a:pt x="3354614" y="1714172"/>
                </a:lnTo>
                <a:lnTo>
                  <a:pt x="3328944" y="1744591"/>
                </a:lnTo>
                <a:lnTo>
                  <a:pt x="3303494" y="1775154"/>
                </a:lnTo>
                <a:lnTo>
                  <a:pt x="3278261" y="1805858"/>
                </a:lnTo>
                <a:lnTo>
                  <a:pt x="3253240" y="1836699"/>
                </a:lnTo>
                <a:lnTo>
                  <a:pt x="3228429" y="1867673"/>
                </a:lnTo>
                <a:lnTo>
                  <a:pt x="3203823" y="1898778"/>
                </a:lnTo>
                <a:lnTo>
                  <a:pt x="3179420" y="1930010"/>
                </a:lnTo>
                <a:lnTo>
                  <a:pt x="3155216" y="1961365"/>
                </a:lnTo>
                <a:lnTo>
                  <a:pt x="3131206" y="1992840"/>
                </a:lnTo>
                <a:lnTo>
                  <a:pt x="3107388" y="2024431"/>
                </a:lnTo>
                <a:lnTo>
                  <a:pt x="3083757" y="2056135"/>
                </a:lnTo>
                <a:lnTo>
                  <a:pt x="3060311" y="2087948"/>
                </a:lnTo>
                <a:lnTo>
                  <a:pt x="3037045" y="2119867"/>
                </a:lnTo>
                <a:lnTo>
                  <a:pt x="3013957" y="2151888"/>
                </a:lnTo>
                <a:lnTo>
                  <a:pt x="2991042" y="2184008"/>
                </a:lnTo>
                <a:lnTo>
                  <a:pt x="2968297" y="2216224"/>
                </a:lnTo>
                <a:lnTo>
                  <a:pt x="2945718" y="2248531"/>
                </a:lnTo>
                <a:lnTo>
                  <a:pt x="2923302" y="2280927"/>
                </a:lnTo>
                <a:lnTo>
                  <a:pt x="2901044" y="2313408"/>
                </a:lnTo>
                <a:lnTo>
                  <a:pt x="2878943" y="2345970"/>
                </a:lnTo>
                <a:lnTo>
                  <a:pt x="2856993" y="2378610"/>
                </a:lnTo>
                <a:lnTo>
                  <a:pt x="2835192" y="2411324"/>
                </a:lnTo>
                <a:lnTo>
                  <a:pt x="2813535" y="2444110"/>
                </a:lnTo>
                <a:lnTo>
                  <a:pt x="2792020" y="2476962"/>
                </a:lnTo>
                <a:lnTo>
                  <a:pt x="2770642" y="2509879"/>
                </a:lnTo>
                <a:lnTo>
                  <a:pt x="2749398" y="2542856"/>
                </a:lnTo>
                <a:lnTo>
                  <a:pt x="2728285" y="2575891"/>
                </a:lnTo>
                <a:lnTo>
                  <a:pt x="2707298" y="2608978"/>
                </a:lnTo>
                <a:lnTo>
                  <a:pt x="2686435" y="2642116"/>
                </a:lnTo>
                <a:lnTo>
                  <a:pt x="2665691" y="2675300"/>
                </a:lnTo>
                <a:lnTo>
                  <a:pt x="2645064" y="2708527"/>
                </a:lnTo>
                <a:lnTo>
                  <a:pt x="2624548" y="2741794"/>
                </a:lnTo>
                <a:lnTo>
                  <a:pt x="2604142" y="2775097"/>
                </a:lnTo>
                <a:lnTo>
                  <a:pt x="2563642" y="2841796"/>
                </a:lnTo>
                <a:lnTo>
                  <a:pt x="2523534" y="2908598"/>
                </a:lnTo>
                <a:lnTo>
                  <a:pt x="2483789" y="2975474"/>
                </a:lnTo>
                <a:lnTo>
                  <a:pt x="2444380" y="3042396"/>
                </a:lnTo>
                <a:lnTo>
                  <a:pt x="2385831" y="3142806"/>
                </a:lnTo>
                <a:lnTo>
                  <a:pt x="2308671" y="3276588"/>
                </a:lnTo>
                <a:lnTo>
                  <a:pt x="2081210" y="3675137"/>
                </a:lnTo>
                <a:lnTo>
                  <a:pt x="1987147" y="3838924"/>
                </a:lnTo>
                <a:lnTo>
                  <a:pt x="1930624" y="3936274"/>
                </a:lnTo>
                <a:lnTo>
                  <a:pt x="1892846" y="4000732"/>
                </a:lnTo>
                <a:lnTo>
                  <a:pt x="1854958" y="4064803"/>
                </a:lnTo>
                <a:lnTo>
                  <a:pt x="1816931" y="4128461"/>
                </a:lnTo>
                <a:lnTo>
                  <a:pt x="1778737" y="4191676"/>
                </a:lnTo>
                <a:lnTo>
                  <a:pt x="1740346" y="4254421"/>
                </a:lnTo>
                <a:lnTo>
                  <a:pt x="1701731" y="4316668"/>
                </a:lnTo>
                <a:lnTo>
                  <a:pt x="1662863" y="4378389"/>
                </a:lnTo>
                <a:lnTo>
                  <a:pt x="1623712" y="4439556"/>
                </a:lnTo>
                <a:lnTo>
                  <a:pt x="1548540" y="4554758"/>
                </a:lnTo>
                <a:lnTo>
                  <a:pt x="1464414" y="4682071"/>
                </a:lnTo>
                <a:lnTo>
                  <a:pt x="1379232" y="4809390"/>
                </a:lnTo>
                <a:lnTo>
                  <a:pt x="1293029" y="4936640"/>
                </a:lnTo>
                <a:lnTo>
                  <a:pt x="1205837" y="5063744"/>
                </a:lnTo>
                <a:lnTo>
                  <a:pt x="1117691" y="5190628"/>
                </a:lnTo>
                <a:lnTo>
                  <a:pt x="1028624" y="5317216"/>
                </a:lnTo>
                <a:lnTo>
                  <a:pt x="938669" y="5443432"/>
                </a:lnTo>
                <a:lnTo>
                  <a:pt x="847860" y="5569200"/>
                </a:lnTo>
                <a:lnTo>
                  <a:pt x="756231" y="5694445"/>
                </a:lnTo>
                <a:lnTo>
                  <a:pt x="663815" y="5819091"/>
                </a:lnTo>
                <a:lnTo>
                  <a:pt x="570645" y="5943062"/>
                </a:lnTo>
                <a:lnTo>
                  <a:pt x="476756" y="6066284"/>
                </a:lnTo>
                <a:lnTo>
                  <a:pt x="382180" y="6188680"/>
                </a:lnTo>
                <a:lnTo>
                  <a:pt x="286951" y="6310174"/>
                </a:lnTo>
                <a:lnTo>
                  <a:pt x="191103" y="6430692"/>
                </a:lnTo>
                <a:lnTo>
                  <a:pt x="94669" y="6550157"/>
                </a:lnTo>
                <a:lnTo>
                  <a:pt x="0" y="6665681"/>
                </a:lnTo>
                <a:lnTo>
                  <a:pt x="7153585" y="6665681"/>
                </a:lnTo>
                <a:lnTo>
                  <a:pt x="7153585" y="0"/>
                </a:lnTo>
                <a:close/>
              </a:path>
            </a:pathLst>
          </a:custGeom>
          <a:solidFill>
            <a:schemeClr val="bg1">
              <a:alpha val="50000"/>
            </a:schemeClr>
          </a:solidFill>
        </p:spPr>
        <p:txBody>
          <a:bodyPr wrap="square" lIns="0" tIns="0" rIns="0" bIns="0" rtlCol="0"/>
          <a:lstStyle/>
          <a:p>
            <a:endParaRPr>
              <a:solidFill>
                <a:schemeClr val="bg1">
                  <a:lumMod val="95000"/>
                </a:schemeClr>
              </a:solidFill>
            </a:endParaRPr>
          </a:p>
        </p:txBody>
      </p:sp>
      <p:sp>
        <p:nvSpPr>
          <p:cNvPr id="11" name="Titel 1">
            <a:extLst>
              <a:ext uri="{FF2B5EF4-FFF2-40B4-BE49-F238E27FC236}">
                <a16:creationId xmlns:a16="http://schemas.microsoft.com/office/drawing/2014/main" id="{DFFA10CD-CE68-45C9-E35F-CB32F05459D3}"/>
              </a:ext>
            </a:extLst>
          </p:cNvPr>
          <p:cNvSpPr txBox="1">
            <a:spLocks/>
          </p:cNvSpPr>
          <p:nvPr userDrawn="1"/>
        </p:nvSpPr>
        <p:spPr>
          <a:xfrm>
            <a:off x="399922" y="2138966"/>
            <a:ext cx="4409145" cy="1725277"/>
          </a:xfrm>
          <a:prstGeom prst="rect">
            <a:avLst/>
          </a:prstGeom>
        </p:spPr>
        <p:txBody>
          <a:bodyPr anchor="b">
            <a:noAutofit/>
          </a:bodyPr>
          <a:lstStyle>
            <a:lvl1pPr algn="l" defTabSz="914400" rtl="0" eaLnBrk="1" latinLnBrk="0" hangingPunct="1">
              <a:lnSpc>
                <a:spcPct val="90000"/>
              </a:lnSpc>
              <a:spcBef>
                <a:spcPct val="0"/>
              </a:spcBef>
              <a:buNone/>
              <a:defRPr sz="6000" b="0" i="0" kern="1200">
                <a:solidFill>
                  <a:srgbClr val="2C3051"/>
                </a:solidFill>
                <a:latin typeface="Avenir" panose="02000503020000020003" pitchFamily="2" charset="0"/>
                <a:ea typeface="+mj-ea"/>
                <a:cs typeface="+mj-cs"/>
              </a:defRPr>
            </a:lvl1pPr>
          </a:lstStyle>
          <a:p>
            <a:endParaRPr lang="nl-BE"/>
          </a:p>
        </p:txBody>
      </p:sp>
      <p:pic>
        <p:nvPicPr>
          <p:cNvPr id="12" name="Afbeelding 28">
            <a:extLst>
              <a:ext uri="{FF2B5EF4-FFF2-40B4-BE49-F238E27FC236}">
                <a16:creationId xmlns:a16="http://schemas.microsoft.com/office/drawing/2014/main" id="{04C644F1-3747-0290-5EE3-AAD585D412C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
        <p:nvSpPr>
          <p:cNvPr id="14" name="TextBox 13">
            <a:extLst>
              <a:ext uri="{FF2B5EF4-FFF2-40B4-BE49-F238E27FC236}">
                <a16:creationId xmlns:a16="http://schemas.microsoft.com/office/drawing/2014/main" id="{7F3B95A2-ED2C-A76F-7AC1-B0A589852E58}"/>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pic>
        <p:nvPicPr>
          <p:cNvPr id="15" name="Afbeelding 9">
            <a:extLst>
              <a:ext uri="{FF2B5EF4-FFF2-40B4-BE49-F238E27FC236}">
                <a16:creationId xmlns:a16="http://schemas.microsoft.com/office/drawing/2014/main" id="{B4F767CF-9AB1-FE98-5FD1-044B7FB08C5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6" name="Straight Connector 15">
            <a:extLst>
              <a:ext uri="{FF2B5EF4-FFF2-40B4-BE49-F238E27FC236}">
                <a16:creationId xmlns:a16="http://schemas.microsoft.com/office/drawing/2014/main" id="{C14D8681-0F21-A256-61C3-ADEE28956767}"/>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0" name="Titel 1">
            <a:extLst>
              <a:ext uri="{FF2B5EF4-FFF2-40B4-BE49-F238E27FC236}">
                <a16:creationId xmlns:a16="http://schemas.microsoft.com/office/drawing/2014/main" id="{BAFEDB10-7D8A-C8C3-BB44-AB0931B419F1}"/>
              </a:ext>
            </a:extLst>
          </p:cNvPr>
          <p:cNvSpPr>
            <a:spLocks noGrp="1"/>
          </p:cNvSpPr>
          <p:nvPr>
            <p:ph type="ctrTitle"/>
          </p:nvPr>
        </p:nvSpPr>
        <p:spPr>
          <a:xfrm>
            <a:off x="399922" y="2161077"/>
            <a:ext cx="5443315" cy="1725277"/>
          </a:xfrm>
          <a:prstGeom prst="rect">
            <a:avLst/>
          </a:prstGeom>
        </p:spPr>
        <p:txBody>
          <a:bodyPr anchor="b">
            <a:noAutofit/>
          </a:bodyPr>
          <a:lstStyle>
            <a:lvl1pPr algn="l">
              <a:defRPr sz="4000" b="1" i="0">
                <a:solidFill>
                  <a:srgbClr val="2C3051"/>
                </a:solidFill>
                <a:latin typeface="Avenir LT Std 55 Roman" panose="020B0503020203020204" pitchFamily="34" charset="0"/>
              </a:defRPr>
            </a:lvl1pPr>
          </a:lstStyle>
          <a:p>
            <a:r>
              <a:rPr lang="en-US"/>
              <a:t>Click to edit Master title style</a:t>
            </a:r>
            <a:endParaRPr lang="nl-BE"/>
          </a:p>
        </p:txBody>
      </p:sp>
    </p:spTree>
    <p:extLst>
      <p:ext uri="{BB962C8B-B14F-4D97-AF65-F5344CB8AC3E}">
        <p14:creationId xmlns:p14="http://schemas.microsoft.com/office/powerpoint/2010/main" val="20795175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ntentPage+Image">
    <p:spTree>
      <p:nvGrpSpPr>
        <p:cNvPr id="1" name=""/>
        <p:cNvGrpSpPr/>
        <p:nvPr/>
      </p:nvGrpSpPr>
      <p:grpSpPr>
        <a:xfrm>
          <a:off x="0" y="0"/>
          <a:ext cx="0" cy="0"/>
          <a:chOff x="0" y="0"/>
          <a:chExt cx="0" cy="0"/>
        </a:xfrm>
      </p:grpSpPr>
      <p:pic>
        <p:nvPicPr>
          <p:cNvPr id="24" name="Afbeelding 23">
            <a:extLst>
              <a:ext uri="{FF2B5EF4-FFF2-40B4-BE49-F238E27FC236}">
                <a16:creationId xmlns:a16="http://schemas.microsoft.com/office/drawing/2014/main" id="{E3554B7D-52B0-F6C3-CA8B-A419B665E9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83653" y="-1"/>
            <a:ext cx="10342215" cy="6879523"/>
          </a:xfrm>
          <a:prstGeom prst="rect">
            <a:avLst/>
          </a:prstGeom>
          <a:ln>
            <a:noFill/>
          </a:ln>
        </p:spPr>
      </p:pic>
      <p:sp>
        <p:nvSpPr>
          <p:cNvPr id="21" name="object 2">
            <a:extLst>
              <a:ext uri="{FF2B5EF4-FFF2-40B4-BE49-F238E27FC236}">
                <a16:creationId xmlns:a16="http://schemas.microsoft.com/office/drawing/2014/main" id="{7FB5D4F0-26ED-CC75-D041-B96DBFB98F5E}"/>
              </a:ext>
            </a:extLst>
          </p:cNvPr>
          <p:cNvSpPr/>
          <p:nvPr userDrawn="1"/>
        </p:nvSpPr>
        <p:spPr>
          <a:xfrm>
            <a:off x="-15277" y="0"/>
            <a:ext cx="7567544" cy="6993467"/>
          </a:xfrm>
          <a:custGeom>
            <a:avLst/>
            <a:gdLst/>
            <a:ahLst/>
            <a:cxnLst/>
            <a:rect l="l" t="t" r="r" b="b"/>
            <a:pathLst>
              <a:path w="8631555" h="6687820">
                <a:moveTo>
                  <a:pt x="8631301" y="0"/>
                </a:moveTo>
                <a:lnTo>
                  <a:pt x="0" y="0"/>
                </a:lnTo>
                <a:lnTo>
                  <a:pt x="0" y="6687210"/>
                </a:lnTo>
                <a:lnTo>
                  <a:pt x="1556981" y="6687210"/>
                </a:lnTo>
                <a:lnTo>
                  <a:pt x="1622552" y="6680790"/>
                </a:lnTo>
                <a:lnTo>
                  <a:pt x="1687395" y="6673902"/>
                </a:lnTo>
                <a:lnTo>
                  <a:pt x="1751517" y="6666549"/>
                </a:lnTo>
                <a:lnTo>
                  <a:pt x="1814923" y="6658735"/>
                </a:lnTo>
                <a:lnTo>
                  <a:pt x="1877621" y="6650463"/>
                </a:lnTo>
                <a:lnTo>
                  <a:pt x="1939616" y="6641737"/>
                </a:lnTo>
                <a:lnTo>
                  <a:pt x="2000915" y="6632561"/>
                </a:lnTo>
                <a:lnTo>
                  <a:pt x="2061524" y="6622937"/>
                </a:lnTo>
                <a:lnTo>
                  <a:pt x="2121449" y="6612869"/>
                </a:lnTo>
                <a:lnTo>
                  <a:pt x="2180698" y="6602362"/>
                </a:lnTo>
                <a:lnTo>
                  <a:pt x="2239276" y="6591417"/>
                </a:lnTo>
                <a:lnTo>
                  <a:pt x="2297189" y="6580040"/>
                </a:lnTo>
                <a:lnTo>
                  <a:pt x="2354444" y="6568233"/>
                </a:lnTo>
                <a:lnTo>
                  <a:pt x="2411048" y="6555999"/>
                </a:lnTo>
                <a:lnTo>
                  <a:pt x="2467006" y="6543344"/>
                </a:lnTo>
                <a:lnTo>
                  <a:pt x="2522325" y="6530269"/>
                </a:lnTo>
                <a:lnTo>
                  <a:pt x="2577011" y="6516778"/>
                </a:lnTo>
                <a:lnTo>
                  <a:pt x="2631071" y="6502876"/>
                </a:lnTo>
                <a:lnTo>
                  <a:pt x="2684511" y="6488565"/>
                </a:lnTo>
                <a:lnTo>
                  <a:pt x="2737336" y="6473849"/>
                </a:lnTo>
                <a:lnTo>
                  <a:pt x="2789555" y="6458731"/>
                </a:lnTo>
                <a:lnTo>
                  <a:pt x="2841173" y="6443216"/>
                </a:lnTo>
                <a:lnTo>
                  <a:pt x="2892195" y="6427305"/>
                </a:lnTo>
                <a:lnTo>
                  <a:pt x="2942630" y="6411004"/>
                </a:lnTo>
                <a:lnTo>
                  <a:pt x="2992482" y="6394316"/>
                </a:lnTo>
                <a:lnTo>
                  <a:pt x="3041759" y="6377243"/>
                </a:lnTo>
                <a:lnTo>
                  <a:pt x="3090466" y="6359791"/>
                </a:lnTo>
                <a:lnTo>
                  <a:pt x="3138610" y="6341961"/>
                </a:lnTo>
                <a:lnTo>
                  <a:pt x="3186198" y="6323757"/>
                </a:lnTo>
                <a:lnTo>
                  <a:pt x="3233235" y="6305184"/>
                </a:lnTo>
                <a:lnTo>
                  <a:pt x="3279728" y="6286245"/>
                </a:lnTo>
                <a:lnTo>
                  <a:pt x="3325684" y="6266942"/>
                </a:lnTo>
                <a:lnTo>
                  <a:pt x="3371108" y="6247281"/>
                </a:lnTo>
                <a:lnTo>
                  <a:pt x="3416007" y="6227263"/>
                </a:lnTo>
                <a:lnTo>
                  <a:pt x="3460387" y="6206893"/>
                </a:lnTo>
                <a:lnTo>
                  <a:pt x="3504255" y="6186174"/>
                </a:lnTo>
                <a:lnTo>
                  <a:pt x="3547617" y="6165110"/>
                </a:lnTo>
                <a:lnTo>
                  <a:pt x="3590480" y="6143704"/>
                </a:lnTo>
                <a:lnTo>
                  <a:pt x="3632849" y="6121960"/>
                </a:lnTo>
                <a:lnTo>
                  <a:pt x="3674731" y="6099881"/>
                </a:lnTo>
                <a:lnTo>
                  <a:pt x="3716133" y="6077471"/>
                </a:lnTo>
                <a:lnTo>
                  <a:pt x="3757060" y="6054733"/>
                </a:lnTo>
                <a:lnTo>
                  <a:pt x="3797519" y="6031671"/>
                </a:lnTo>
                <a:lnTo>
                  <a:pt x="3837517" y="6008288"/>
                </a:lnTo>
                <a:lnTo>
                  <a:pt x="3877059" y="5984588"/>
                </a:lnTo>
                <a:lnTo>
                  <a:pt x="3916152" y="5960574"/>
                </a:lnTo>
                <a:lnTo>
                  <a:pt x="3954803" y="5936250"/>
                </a:lnTo>
                <a:lnTo>
                  <a:pt x="3993018" y="5911619"/>
                </a:lnTo>
                <a:lnTo>
                  <a:pt x="4030802" y="5886685"/>
                </a:lnTo>
                <a:lnTo>
                  <a:pt x="4068163" y="5861452"/>
                </a:lnTo>
                <a:lnTo>
                  <a:pt x="4105107" y="5835922"/>
                </a:lnTo>
                <a:lnTo>
                  <a:pt x="4141640" y="5810100"/>
                </a:lnTo>
                <a:lnTo>
                  <a:pt x="4177768" y="5783988"/>
                </a:lnTo>
                <a:lnTo>
                  <a:pt x="4213498" y="5757591"/>
                </a:lnTo>
                <a:lnTo>
                  <a:pt x="4248836" y="5730912"/>
                </a:lnTo>
                <a:lnTo>
                  <a:pt x="4283788" y="5703955"/>
                </a:lnTo>
                <a:lnTo>
                  <a:pt x="4318361" y="5676722"/>
                </a:lnTo>
                <a:lnTo>
                  <a:pt x="4352561" y="5649218"/>
                </a:lnTo>
                <a:lnTo>
                  <a:pt x="4386395" y="5621446"/>
                </a:lnTo>
                <a:lnTo>
                  <a:pt x="4419869" y="5593409"/>
                </a:lnTo>
                <a:lnTo>
                  <a:pt x="4452988" y="5565111"/>
                </a:lnTo>
                <a:lnTo>
                  <a:pt x="4485760" y="5536556"/>
                </a:lnTo>
                <a:lnTo>
                  <a:pt x="4518191" y="5507747"/>
                </a:lnTo>
                <a:lnTo>
                  <a:pt x="4550287" y="5478687"/>
                </a:lnTo>
                <a:lnTo>
                  <a:pt x="4582054" y="5449380"/>
                </a:lnTo>
                <a:lnTo>
                  <a:pt x="4613500" y="5419830"/>
                </a:lnTo>
                <a:lnTo>
                  <a:pt x="4644629" y="5390040"/>
                </a:lnTo>
                <a:lnTo>
                  <a:pt x="4675449" y="5360014"/>
                </a:lnTo>
                <a:lnTo>
                  <a:pt x="4705966" y="5329755"/>
                </a:lnTo>
                <a:lnTo>
                  <a:pt x="4736185" y="5299266"/>
                </a:lnTo>
                <a:lnTo>
                  <a:pt x="4766115" y="5268551"/>
                </a:lnTo>
                <a:lnTo>
                  <a:pt x="4795760" y="5237614"/>
                </a:lnTo>
                <a:lnTo>
                  <a:pt x="4825127" y="5206458"/>
                </a:lnTo>
                <a:lnTo>
                  <a:pt x="4854223" y="5175087"/>
                </a:lnTo>
                <a:lnTo>
                  <a:pt x="4883054" y="5143504"/>
                </a:lnTo>
                <a:lnTo>
                  <a:pt x="4911626" y="5111713"/>
                </a:lnTo>
                <a:lnTo>
                  <a:pt x="4939945" y="5079717"/>
                </a:lnTo>
                <a:lnTo>
                  <a:pt x="4968018" y="5047519"/>
                </a:lnTo>
                <a:lnTo>
                  <a:pt x="4995852" y="5015124"/>
                </a:lnTo>
                <a:lnTo>
                  <a:pt x="5023452" y="4982535"/>
                </a:lnTo>
                <a:lnTo>
                  <a:pt x="5050824" y="4949755"/>
                </a:lnTo>
                <a:lnTo>
                  <a:pt x="5077976" y="4916787"/>
                </a:lnTo>
                <a:lnTo>
                  <a:pt x="5104914" y="4883636"/>
                </a:lnTo>
                <a:lnTo>
                  <a:pt x="5131644" y="4850305"/>
                </a:lnTo>
                <a:lnTo>
                  <a:pt x="5158171" y="4816797"/>
                </a:lnTo>
                <a:lnTo>
                  <a:pt x="5210647" y="4749265"/>
                </a:lnTo>
                <a:lnTo>
                  <a:pt x="5262391" y="4681068"/>
                </a:lnTo>
                <a:lnTo>
                  <a:pt x="5313455" y="4612234"/>
                </a:lnTo>
                <a:lnTo>
                  <a:pt x="5363889" y="4542793"/>
                </a:lnTo>
                <a:lnTo>
                  <a:pt x="5413745" y="4472771"/>
                </a:lnTo>
                <a:lnTo>
                  <a:pt x="5463072" y="4402196"/>
                </a:lnTo>
                <a:lnTo>
                  <a:pt x="5511922" y="4331098"/>
                </a:lnTo>
                <a:lnTo>
                  <a:pt x="5560344" y="4259503"/>
                </a:lnTo>
                <a:lnTo>
                  <a:pt x="5608391" y="4187441"/>
                </a:lnTo>
                <a:lnTo>
                  <a:pt x="5679867" y="4078531"/>
                </a:lnTo>
                <a:lnTo>
                  <a:pt x="5750781" y="3968727"/>
                </a:lnTo>
                <a:lnTo>
                  <a:pt x="5868190" y="3783989"/>
                </a:lnTo>
                <a:lnTo>
                  <a:pt x="6197916" y="3258640"/>
                </a:lnTo>
                <a:lnTo>
                  <a:pt x="6294137" y="3107321"/>
                </a:lnTo>
                <a:lnTo>
                  <a:pt x="6367357" y="2993735"/>
                </a:lnTo>
                <a:lnTo>
                  <a:pt x="6447904" y="2869788"/>
                </a:lnTo>
                <a:lnTo>
                  <a:pt x="6558874" y="2696807"/>
                </a:lnTo>
                <a:lnTo>
                  <a:pt x="6970940" y="2045274"/>
                </a:lnTo>
                <a:lnTo>
                  <a:pt x="7081462" y="1872743"/>
                </a:lnTo>
                <a:lnTo>
                  <a:pt x="7164986" y="1744202"/>
                </a:lnTo>
                <a:lnTo>
                  <a:pt x="7221058" y="1659017"/>
                </a:lnTo>
                <a:lnTo>
                  <a:pt x="7277496" y="1574303"/>
                </a:lnTo>
                <a:lnTo>
                  <a:pt x="7334350" y="1490113"/>
                </a:lnTo>
                <a:lnTo>
                  <a:pt x="7391664" y="1406503"/>
                </a:lnTo>
                <a:lnTo>
                  <a:pt x="7449488" y="1323526"/>
                </a:lnTo>
                <a:lnTo>
                  <a:pt x="7507868" y="1241237"/>
                </a:lnTo>
                <a:lnTo>
                  <a:pt x="7566851" y="1159689"/>
                </a:lnTo>
                <a:lnTo>
                  <a:pt x="7596584" y="1119210"/>
                </a:lnTo>
                <a:lnTo>
                  <a:pt x="7626486" y="1078937"/>
                </a:lnTo>
                <a:lnTo>
                  <a:pt x="7656562" y="1038876"/>
                </a:lnTo>
                <a:lnTo>
                  <a:pt x="7686818" y="999035"/>
                </a:lnTo>
                <a:lnTo>
                  <a:pt x="7717261" y="959419"/>
                </a:lnTo>
                <a:lnTo>
                  <a:pt x="7747897" y="920037"/>
                </a:lnTo>
                <a:lnTo>
                  <a:pt x="7778730" y="880894"/>
                </a:lnTo>
                <a:lnTo>
                  <a:pt x="7809768" y="841997"/>
                </a:lnTo>
                <a:lnTo>
                  <a:pt x="7841015" y="803354"/>
                </a:lnTo>
                <a:lnTo>
                  <a:pt x="7872479" y="764970"/>
                </a:lnTo>
                <a:lnTo>
                  <a:pt x="7904165" y="726853"/>
                </a:lnTo>
                <a:lnTo>
                  <a:pt x="7936078" y="689010"/>
                </a:lnTo>
                <a:lnTo>
                  <a:pt x="7968225" y="651447"/>
                </a:lnTo>
                <a:lnTo>
                  <a:pt x="8000612" y="614171"/>
                </a:lnTo>
                <a:lnTo>
                  <a:pt x="8033245" y="577189"/>
                </a:lnTo>
                <a:lnTo>
                  <a:pt x="8066128" y="540507"/>
                </a:lnTo>
                <a:lnTo>
                  <a:pt x="8099270" y="504132"/>
                </a:lnTo>
                <a:lnTo>
                  <a:pt x="8132674" y="468072"/>
                </a:lnTo>
                <a:lnTo>
                  <a:pt x="8166348" y="432332"/>
                </a:lnTo>
                <a:lnTo>
                  <a:pt x="8200297" y="396920"/>
                </a:lnTo>
                <a:lnTo>
                  <a:pt x="8234527" y="361843"/>
                </a:lnTo>
                <a:lnTo>
                  <a:pt x="8269044" y="327107"/>
                </a:lnTo>
                <a:lnTo>
                  <a:pt x="8303854" y="292718"/>
                </a:lnTo>
                <a:lnTo>
                  <a:pt x="8338963" y="258685"/>
                </a:lnTo>
                <a:lnTo>
                  <a:pt x="8374376" y="225013"/>
                </a:lnTo>
                <a:lnTo>
                  <a:pt x="8410101" y="191709"/>
                </a:lnTo>
                <a:lnTo>
                  <a:pt x="8446141" y="158780"/>
                </a:lnTo>
                <a:lnTo>
                  <a:pt x="8482505" y="126233"/>
                </a:lnTo>
                <a:lnTo>
                  <a:pt x="8519196" y="94075"/>
                </a:lnTo>
                <a:lnTo>
                  <a:pt x="8556222" y="62312"/>
                </a:lnTo>
                <a:lnTo>
                  <a:pt x="8593588" y="30951"/>
                </a:lnTo>
                <a:lnTo>
                  <a:pt x="8631301" y="0"/>
                </a:lnTo>
                <a:close/>
              </a:path>
            </a:pathLst>
          </a:custGeom>
          <a:solidFill>
            <a:schemeClr val="bg1"/>
          </a:solidFill>
        </p:spPr>
        <p:txBody>
          <a:bodyPr wrap="square" lIns="0" tIns="0" rIns="0" bIns="0" rtlCol="0"/>
          <a:lstStyle/>
          <a:p>
            <a:endParaRPr/>
          </a:p>
        </p:txBody>
      </p:sp>
      <p:sp>
        <p:nvSpPr>
          <p:cNvPr id="22" name="object 2">
            <a:extLst>
              <a:ext uri="{FF2B5EF4-FFF2-40B4-BE49-F238E27FC236}">
                <a16:creationId xmlns:a16="http://schemas.microsoft.com/office/drawing/2014/main" id="{25DF2A79-3B4E-0CAB-8620-E6EA8B837FB4}"/>
              </a:ext>
            </a:extLst>
          </p:cNvPr>
          <p:cNvSpPr/>
          <p:nvPr userDrawn="1"/>
        </p:nvSpPr>
        <p:spPr>
          <a:xfrm>
            <a:off x="6112934" y="4593"/>
            <a:ext cx="6111274" cy="6879523"/>
          </a:xfrm>
          <a:custGeom>
            <a:avLst/>
            <a:gdLst/>
            <a:ahLst/>
            <a:cxnLst/>
            <a:rect l="l" t="t" r="r" b="b"/>
            <a:pathLst>
              <a:path w="7153909" h="6666230">
                <a:moveTo>
                  <a:pt x="7153585" y="0"/>
                </a:moveTo>
                <a:lnTo>
                  <a:pt x="7077662" y="2636"/>
                </a:lnTo>
                <a:lnTo>
                  <a:pt x="6956764" y="8470"/>
                </a:lnTo>
                <a:lnTo>
                  <a:pt x="6838039" y="16137"/>
                </a:lnTo>
                <a:lnTo>
                  <a:pt x="6721457" y="25610"/>
                </a:lnTo>
                <a:lnTo>
                  <a:pt x="6606991" y="36860"/>
                </a:lnTo>
                <a:lnTo>
                  <a:pt x="6494610" y="49859"/>
                </a:lnTo>
                <a:lnTo>
                  <a:pt x="6384287" y="64580"/>
                </a:lnTo>
                <a:lnTo>
                  <a:pt x="6275993" y="80995"/>
                </a:lnTo>
                <a:lnTo>
                  <a:pt x="6169699" y="99075"/>
                </a:lnTo>
                <a:lnTo>
                  <a:pt x="6065376" y="118794"/>
                </a:lnTo>
                <a:lnTo>
                  <a:pt x="5962996" y="140122"/>
                </a:lnTo>
                <a:lnTo>
                  <a:pt x="5862530" y="163032"/>
                </a:lnTo>
                <a:lnTo>
                  <a:pt x="5813005" y="175071"/>
                </a:lnTo>
                <a:lnTo>
                  <a:pt x="5763949" y="187496"/>
                </a:lnTo>
                <a:lnTo>
                  <a:pt x="5715356" y="200302"/>
                </a:lnTo>
                <a:lnTo>
                  <a:pt x="5667224" y="213486"/>
                </a:lnTo>
                <a:lnTo>
                  <a:pt x="5619549" y="227045"/>
                </a:lnTo>
                <a:lnTo>
                  <a:pt x="5572328" y="240975"/>
                </a:lnTo>
                <a:lnTo>
                  <a:pt x="5525556" y="255272"/>
                </a:lnTo>
                <a:lnTo>
                  <a:pt x="5479230" y="269933"/>
                </a:lnTo>
                <a:lnTo>
                  <a:pt x="5433347" y="284956"/>
                </a:lnTo>
                <a:lnTo>
                  <a:pt x="5387903" y="300335"/>
                </a:lnTo>
                <a:lnTo>
                  <a:pt x="5342895" y="316067"/>
                </a:lnTo>
                <a:lnTo>
                  <a:pt x="5298318" y="332150"/>
                </a:lnTo>
                <a:lnTo>
                  <a:pt x="5254170" y="348580"/>
                </a:lnTo>
                <a:lnTo>
                  <a:pt x="5210446" y="365352"/>
                </a:lnTo>
                <a:lnTo>
                  <a:pt x="5167143" y="382465"/>
                </a:lnTo>
                <a:lnTo>
                  <a:pt x="5124258" y="399913"/>
                </a:lnTo>
                <a:lnTo>
                  <a:pt x="5081786" y="417694"/>
                </a:lnTo>
                <a:lnTo>
                  <a:pt x="5039725" y="435805"/>
                </a:lnTo>
                <a:lnTo>
                  <a:pt x="4998071" y="454241"/>
                </a:lnTo>
                <a:lnTo>
                  <a:pt x="4956820" y="472999"/>
                </a:lnTo>
                <a:lnTo>
                  <a:pt x="4915968" y="492076"/>
                </a:lnTo>
                <a:lnTo>
                  <a:pt x="4875513" y="511468"/>
                </a:lnTo>
                <a:lnTo>
                  <a:pt x="4835449" y="531172"/>
                </a:lnTo>
                <a:lnTo>
                  <a:pt x="4795775" y="551184"/>
                </a:lnTo>
                <a:lnTo>
                  <a:pt x="4756485" y="571501"/>
                </a:lnTo>
                <a:lnTo>
                  <a:pt x="4717577" y="592119"/>
                </a:lnTo>
                <a:lnTo>
                  <a:pt x="4679048" y="613035"/>
                </a:lnTo>
                <a:lnTo>
                  <a:pt x="4640892" y="634245"/>
                </a:lnTo>
                <a:lnTo>
                  <a:pt x="4603108" y="655746"/>
                </a:lnTo>
                <a:lnTo>
                  <a:pt x="4565691" y="677534"/>
                </a:lnTo>
                <a:lnTo>
                  <a:pt x="4528637" y="699606"/>
                </a:lnTo>
                <a:lnTo>
                  <a:pt x="4491943" y="721959"/>
                </a:lnTo>
                <a:lnTo>
                  <a:pt x="4455606" y="744588"/>
                </a:lnTo>
                <a:lnTo>
                  <a:pt x="4419622" y="767491"/>
                </a:lnTo>
                <a:lnTo>
                  <a:pt x="4383987" y="790663"/>
                </a:lnTo>
                <a:lnTo>
                  <a:pt x="4348698" y="814102"/>
                </a:lnTo>
                <a:lnTo>
                  <a:pt x="4313751" y="837804"/>
                </a:lnTo>
                <a:lnTo>
                  <a:pt x="4279143" y="861765"/>
                </a:lnTo>
                <a:lnTo>
                  <a:pt x="4244869" y="885982"/>
                </a:lnTo>
                <a:lnTo>
                  <a:pt x="4210927" y="910451"/>
                </a:lnTo>
                <a:lnTo>
                  <a:pt x="4177312" y="935169"/>
                </a:lnTo>
                <a:lnTo>
                  <a:pt x="4144022" y="960133"/>
                </a:lnTo>
                <a:lnTo>
                  <a:pt x="4111053" y="985339"/>
                </a:lnTo>
                <a:lnTo>
                  <a:pt x="4078400" y="1010783"/>
                </a:lnTo>
                <a:lnTo>
                  <a:pt x="4046061" y="1036462"/>
                </a:lnTo>
                <a:lnTo>
                  <a:pt x="4014031" y="1062372"/>
                </a:lnTo>
                <a:lnTo>
                  <a:pt x="3982308" y="1088511"/>
                </a:lnTo>
                <a:lnTo>
                  <a:pt x="3950888" y="1114874"/>
                </a:lnTo>
                <a:lnTo>
                  <a:pt x="3919766" y="1141458"/>
                </a:lnTo>
                <a:lnTo>
                  <a:pt x="3888940" y="1168259"/>
                </a:lnTo>
                <a:lnTo>
                  <a:pt x="3858406" y="1195275"/>
                </a:lnTo>
                <a:lnTo>
                  <a:pt x="3828160" y="1222501"/>
                </a:lnTo>
                <a:lnTo>
                  <a:pt x="3798199" y="1249934"/>
                </a:lnTo>
                <a:lnTo>
                  <a:pt x="3768519" y="1277571"/>
                </a:lnTo>
                <a:lnTo>
                  <a:pt x="3739117" y="1305407"/>
                </a:lnTo>
                <a:lnTo>
                  <a:pt x="3709988" y="1333441"/>
                </a:lnTo>
                <a:lnTo>
                  <a:pt x="3681130" y="1361667"/>
                </a:lnTo>
                <a:lnTo>
                  <a:pt x="3652539" y="1390083"/>
                </a:lnTo>
                <a:lnTo>
                  <a:pt x="3624211" y="1418685"/>
                </a:lnTo>
                <a:lnTo>
                  <a:pt x="3596142" y="1447469"/>
                </a:lnTo>
                <a:lnTo>
                  <a:pt x="3568330" y="1476433"/>
                </a:lnTo>
                <a:lnTo>
                  <a:pt x="3540769" y="1505572"/>
                </a:lnTo>
                <a:lnTo>
                  <a:pt x="3513458" y="1534884"/>
                </a:lnTo>
                <a:lnTo>
                  <a:pt x="3486392" y="1564364"/>
                </a:lnTo>
                <a:lnTo>
                  <a:pt x="3459567" y="1594009"/>
                </a:lnTo>
                <a:lnTo>
                  <a:pt x="3432981" y="1623816"/>
                </a:lnTo>
                <a:lnTo>
                  <a:pt x="3406629" y="1653781"/>
                </a:lnTo>
                <a:lnTo>
                  <a:pt x="3380508" y="1683901"/>
                </a:lnTo>
                <a:lnTo>
                  <a:pt x="3354614" y="1714172"/>
                </a:lnTo>
                <a:lnTo>
                  <a:pt x="3328944" y="1744591"/>
                </a:lnTo>
                <a:lnTo>
                  <a:pt x="3303494" y="1775154"/>
                </a:lnTo>
                <a:lnTo>
                  <a:pt x="3278261" y="1805858"/>
                </a:lnTo>
                <a:lnTo>
                  <a:pt x="3253240" y="1836699"/>
                </a:lnTo>
                <a:lnTo>
                  <a:pt x="3228429" y="1867673"/>
                </a:lnTo>
                <a:lnTo>
                  <a:pt x="3203823" y="1898778"/>
                </a:lnTo>
                <a:lnTo>
                  <a:pt x="3179420" y="1930010"/>
                </a:lnTo>
                <a:lnTo>
                  <a:pt x="3155216" y="1961365"/>
                </a:lnTo>
                <a:lnTo>
                  <a:pt x="3131206" y="1992840"/>
                </a:lnTo>
                <a:lnTo>
                  <a:pt x="3107388" y="2024431"/>
                </a:lnTo>
                <a:lnTo>
                  <a:pt x="3083757" y="2056135"/>
                </a:lnTo>
                <a:lnTo>
                  <a:pt x="3060311" y="2087948"/>
                </a:lnTo>
                <a:lnTo>
                  <a:pt x="3037045" y="2119867"/>
                </a:lnTo>
                <a:lnTo>
                  <a:pt x="3013957" y="2151888"/>
                </a:lnTo>
                <a:lnTo>
                  <a:pt x="2991042" y="2184008"/>
                </a:lnTo>
                <a:lnTo>
                  <a:pt x="2968297" y="2216224"/>
                </a:lnTo>
                <a:lnTo>
                  <a:pt x="2945718" y="2248531"/>
                </a:lnTo>
                <a:lnTo>
                  <a:pt x="2923302" y="2280927"/>
                </a:lnTo>
                <a:lnTo>
                  <a:pt x="2901044" y="2313408"/>
                </a:lnTo>
                <a:lnTo>
                  <a:pt x="2878943" y="2345970"/>
                </a:lnTo>
                <a:lnTo>
                  <a:pt x="2856993" y="2378610"/>
                </a:lnTo>
                <a:lnTo>
                  <a:pt x="2835192" y="2411324"/>
                </a:lnTo>
                <a:lnTo>
                  <a:pt x="2813535" y="2444110"/>
                </a:lnTo>
                <a:lnTo>
                  <a:pt x="2792020" y="2476962"/>
                </a:lnTo>
                <a:lnTo>
                  <a:pt x="2770642" y="2509879"/>
                </a:lnTo>
                <a:lnTo>
                  <a:pt x="2749398" y="2542856"/>
                </a:lnTo>
                <a:lnTo>
                  <a:pt x="2728285" y="2575891"/>
                </a:lnTo>
                <a:lnTo>
                  <a:pt x="2707298" y="2608978"/>
                </a:lnTo>
                <a:lnTo>
                  <a:pt x="2686435" y="2642116"/>
                </a:lnTo>
                <a:lnTo>
                  <a:pt x="2665691" y="2675300"/>
                </a:lnTo>
                <a:lnTo>
                  <a:pt x="2645064" y="2708527"/>
                </a:lnTo>
                <a:lnTo>
                  <a:pt x="2624548" y="2741794"/>
                </a:lnTo>
                <a:lnTo>
                  <a:pt x="2604142" y="2775097"/>
                </a:lnTo>
                <a:lnTo>
                  <a:pt x="2563642" y="2841796"/>
                </a:lnTo>
                <a:lnTo>
                  <a:pt x="2523534" y="2908598"/>
                </a:lnTo>
                <a:lnTo>
                  <a:pt x="2483789" y="2975474"/>
                </a:lnTo>
                <a:lnTo>
                  <a:pt x="2444380" y="3042396"/>
                </a:lnTo>
                <a:lnTo>
                  <a:pt x="2385831" y="3142806"/>
                </a:lnTo>
                <a:lnTo>
                  <a:pt x="2308671" y="3276588"/>
                </a:lnTo>
                <a:lnTo>
                  <a:pt x="2081210" y="3675137"/>
                </a:lnTo>
                <a:lnTo>
                  <a:pt x="1987147" y="3838924"/>
                </a:lnTo>
                <a:lnTo>
                  <a:pt x="1930624" y="3936274"/>
                </a:lnTo>
                <a:lnTo>
                  <a:pt x="1892846" y="4000732"/>
                </a:lnTo>
                <a:lnTo>
                  <a:pt x="1854958" y="4064803"/>
                </a:lnTo>
                <a:lnTo>
                  <a:pt x="1816931" y="4128461"/>
                </a:lnTo>
                <a:lnTo>
                  <a:pt x="1778737" y="4191676"/>
                </a:lnTo>
                <a:lnTo>
                  <a:pt x="1740346" y="4254421"/>
                </a:lnTo>
                <a:lnTo>
                  <a:pt x="1701731" y="4316668"/>
                </a:lnTo>
                <a:lnTo>
                  <a:pt x="1662863" y="4378389"/>
                </a:lnTo>
                <a:lnTo>
                  <a:pt x="1623712" y="4439556"/>
                </a:lnTo>
                <a:lnTo>
                  <a:pt x="1548540" y="4554758"/>
                </a:lnTo>
                <a:lnTo>
                  <a:pt x="1464414" y="4682071"/>
                </a:lnTo>
                <a:lnTo>
                  <a:pt x="1379232" y="4809390"/>
                </a:lnTo>
                <a:lnTo>
                  <a:pt x="1293029" y="4936640"/>
                </a:lnTo>
                <a:lnTo>
                  <a:pt x="1205837" y="5063744"/>
                </a:lnTo>
                <a:lnTo>
                  <a:pt x="1117691" y="5190628"/>
                </a:lnTo>
                <a:lnTo>
                  <a:pt x="1028624" y="5317216"/>
                </a:lnTo>
                <a:lnTo>
                  <a:pt x="938669" y="5443432"/>
                </a:lnTo>
                <a:lnTo>
                  <a:pt x="847860" y="5569200"/>
                </a:lnTo>
                <a:lnTo>
                  <a:pt x="756231" y="5694445"/>
                </a:lnTo>
                <a:lnTo>
                  <a:pt x="663815" y="5819091"/>
                </a:lnTo>
                <a:lnTo>
                  <a:pt x="570645" y="5943062"/>
                </a:lnTo>
                <a:lnTo>
                  <a:pt x="476756" y="6066284"/>
                </a:lnTo>
                <a:lnTo>
                  <a:pt x="382180" y="6188680"/>
                </a:lnTo>
                <a:lnTo>
                  <a:pt x="286951" y="6310174"/>
                </a:lnTo>
                <a:lnTo>
                  <a:pt x="191103" y="6430692"/>
                </a:lnTo>
                <a:lnTo>
                  <a:pt x="94669" y="6550157"/>
                </a:lnTo>
                <a:lnTo>
                  <a:pt x="0" y="6665681"/>
                </a:lnTo>
                <a:lnTo>
                  <a:pt x="7153585" y="6665681"/>
                </a:lnTo>
                <a:lnTo>
                  <a:pt x="7153585" y="0"/>
                </a:lnTo>
                <a:close/>
              </a:path>
            </a:pathLst>
          </a:custGeom>
          <a:solidFill>
            <a:schemeClr val="bg1">
              <a:alpha val="50000"/>
            </a:schemeClr>
          </a:solidFill>
        </p:spPr>
        <p:txBody>
          <a:bodyPr wrap="square" lIns="0" tIns="0" rIns="0" bIns="0" rtlCol="0"/>
          <a:lstStyle/>
          <a:p>
            <a:endParaRPr>
              <a:solidFill>
                <a:schemeClr val="bg1">
                  <a:lumMod val="95000"/>
                </a:schemeClr>
              </a:solidFill>
            </a:endParaRPr>
          </a:p>
        </p:txBody>
      </p:sp>
      <p:sp>
        <p:nvSpPr>
          <p:cNvPr id="11" name="Titel 1">
            <a:extLst>
              <a:ext uri="{FF2B5EF4-FFF2-40B4-BE49-F238E27FC236}">
                <a16:creationId xmlns:a16="http://schemas.microsoft.com/office/drawing/2014/main" id="{DFFA10CD-CE68-45C9-E35F-CB32F05459D3}"/>
              </a:ext>
            </a:extLst>
          </p:cNvPr>
          <p:cNvSpPr txBox="1">
            <a:spLocks/>
          </p:cNvSpPr>
          <p:nvPr userDrawn="1"/>
        </p:nvSpPr>
        <p:spPr>
          <a:xfrm>
            <a:off x="399922" y="2138966"/>
            <a:ext cx="4409145" cy="1725277"/>
          </a:xfrm>
          <a:prstGeom prst="rect">
            <a:avLst/>
          </a:prstGeom>
        </p:spPr>
        <p:txBody>
          <a:bodyPr anchor="b">
            <a:noAutofit/>
          </a:bodyPr>
          <a:lstStyle>
            <a:lvl1pPr algn="l" defTabSz="914400" rtl="0" eaLnBrk="1" latinLnBrk="0" hangingPunct="1">
              <a:lnSpc>
                <a:spcPct val="90000"/>
              </a:lnSpc>
              <a:spcBef>
                <a:spcPct val="0"/>
              </a:spcBef>
              <a:buNone/>
              <a:defRPr sz="6000" b="0" i="0" kern="1200">
                <a:solidFill>
                  <a:srgbClr val="2C3051"/>
                </a:solidFill>
                <a:latin typeface="Avenir" panose="02000503020000020003" pitchFamily="2" charset="0"/>
                <a:ea typeface="+mj-ea"/>
                <a:cs typeface="+mj-cs"/>
              </a:defRPr>
            </a:lvl1pPr>
          </a:lstStyle>
          <a:p>
            <a:endParaRPr lang="nl-BE"/>
          </a:p>
        </p:txBody>
      </p:sp>
      <p:pic>
        <p:nvPicPr>
          <p:cNvPr id="12" name="Afbeelding 28">
            <a:extLst>
              <a:ext uri="{FF2B5EF4-FFF2-40B4-BE49-F238E27FC236}">
                <a16:creationId xmlns:a16="http://schemas.microsoft.com/office/drawing/2014/main" id="{04C644F1-3747-0290-5EE3-AAD585D412C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
        <p:nvSpPr>
          <p:cNvPr id="14" name="TextBox 13">
            <a:extLst>
              <a:ext uri="{FF2B5EF4-FFF2-40B4-BE49-F238E27FC236}">
                <a16:creationId xmlns:a16="http://schemas.microsoft.com/office/drawing/2014/main" id="{7F3B95A2-ED2C-A76F-7AC1-B0A589852E58}"/>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pic>
        <p:nvPicPr>
          <p:cNvPr id="15" name="Afbeelding 9">
            <a:extLst>
              <a:ext uri="{FF2B5EF4-FFF2-40B4-BE49-F238E27FC236}">
                <a16:creationId xmlns:a16="http://schemas.microsoft.com/office/drawing/2014/main" id="{B4F767CF-9AB1-FE98-5FD1-044B7FB08C5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6" name="Straight Connector 15">
            <a:extLst>
              <a:ext uri="{FF2B5EF4-FFF2-40B4-BE49-F238E27FC236}">
                <a16:creationId xmlns:a16="http://schemas.microsoft.com/office/drawing/2014/main" id="{C14D8681-0F21-A256-61C3-ADEE28956767}"/>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0" name="Titel 1">
            <a:extLst>
              <a:ext uri="{FF2B5EF4-FFF2-40B4-BE49-F238E27FC236}">
                <a16:creationId xmlns:a16="http://schemas.microsoft.com/office/drawing/2014/main" id="{D65FBC3B-AE84-C97A-2123-A126B5E9E01C}"/>
              </a:ext>
            </a:extLst>
          </p:cNvPr>
          <p:cNvSpPr>
            <a:spLocks noGrp="1"/>
          </p:cNvSpPr>
          <p:nvPr>
            <p:ph type="ctrTitle"/>
          </p:nvPr>
        </p:nvSpPr>
        <p:spPr>
          <a:xfrm>
            <a:off x="399922" y="2161077"/>
            <a:ext cx="5443315" cy="1725277"/>
          </a:xfrm>
          <a:prstGeom prst="rect">
            <a:avLst/>
          </a:prstGeom>
        </p:spPr>
        <p:txBody>
          <a:bodyPr anchor="b">
            <a:noAutofit/>
          </a:bodyPr>
          <a:lstStyle>
            <a:lvl1pPr algn="l">
              <a:defRPr sz="4000" b="1" i="0">
                <a:solidFill>
                  <a:srgbClr val="2C3051"/>
                </a:solidFill>
                <a:latin typeface="Avenir LT Std 55 Roman" panose="020B0503020203020204" pitchFamily="34" charset="0"/>
              </a:defRPr>
            </a:lvl1pPr>
          </a:lstStyle>
          <a:p>
            <a:r>
              <a:rPr lang="en-US"/>
              <a:t>Click to edit Master title style</a:t>
            </a:r>
            <a:endParaRPr lang="nl-BE"/>
          </a:p>
        </p:txBody>
      </p:sp>
    </p:spTree>
    <p:extLst>
      <p:ext uri="{BB962C8B-B14F-4D97-AF65-F5344CB8AC3E}">
        <p14:creationId xmlns:p14="http://schemas.microsoft.com/office/powerpoint/2010/main" val="30300957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Page-1">
    <p:spTree>
      <p:nvGrpSpPr>
        <p:cNvPr id="1" name=""/>
        <p:cNvGrpSpPr/>
        <p:nvPr/>
      </p:nvGrpSpPr>
      <p:grpSpPr>
        <a:xfrm>
          <a:off x="0" y="0"/>
          <a:ext cx="0" cy="0"/>
          <a:chOff x="0" y="0"/>
          <a:chExt cx="0" cy="0"/>
        </a:xfrm>
      </p:grpSpPr>
      <p:sp>
        <p:nvSpPr>
          <p:cNvPr id="12" name="Tekstvak 11">
            <a:extLst>
              <a:ext uri="{FF2B5EF4-FFF2-40B4-BE49-F238E27FC236}">
                <a16:creationId xmlns:a16="http://schemas.microsoft.com/office/drawing/2014/main" id="{EF548E58-5FB2-B96B-D2FF-D5BA8263196D}"/>
              </a:ext>
            </a:extLst>
          </p:cNvPr>
          <p:cNvSpPr txBox="1"/>
          <p:nvPr userDrawn="1"/>
        </p:nvSpPr>
        <p:spPr>
          <a:xfrm>
            <a:off x="7732643" y="3776870"/>
            <a:ext cx="184731" cy="369332"/>
          </a:xfrm>
          <a:prstGeom prst="rect">
            <a:avLst/>
          </a:prstGeom>
          <a:noFill/>
        </p:spPr>
        <p:txBody>
          <a:bodyPr wrap="none" rtlCol="0">
            <a:spAutoFit/>
          </a:bodyPr>
          <a:lstStyle/>
          <a:p>
            <a:endParaRPr lang="nl-BE"/>
          </a:p>
        </p:txBody>
      </p:sp>
      <p:sp>
        <p:nvSpPr>
          <p:cNvPr id="28" name="object 2">
            <a:extLst>
              <a:ext uri="{FF2B5EF4-FFF2-40B4-BE49-F238E27FC236}">
                <a16:creationId xmlns:a16="http://schemas.microsoft.com/office/drawing/2014/main" id="{9252B0C0-2EE4-4194-40C9-9036C41C4FF6}"/>
              </a:ext>
            </a:extLst>
          </p:cNvPr>
          <p:cNvSpPr/>
          <p:nvPr userDrawn="1"/>
        </p:nvSpPr>
        <p:spPr>
          <a:xfrm>
            <a:off x="-1" y="2829"/>
            <a:ext cx="4092316" cy="2410587"/>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chemeClr val="bg1"/>
          </a:solidFill>
        </p:spPr>
        <p:txBody>
          <a:bodyPr wrap="square" lIns="0" tIns="0" rIns="0" bIns="0" rtlCol="0"/>
          <a:lstStyle/>
          <a:p>
            <a:endParaRPr/>
          </a:p>
        </p:txBody>
      </p:sp>
      <p:sp>
        <p:nvSpPr>
          <p:cNvPr id="38" name="Titel 19">
            <a:extLst>
              <a:ext uri="{FF2B5EF4-FFF2-40B4-BE49-F238E27FC236}">
                <a16:creationId xmlns:a16="http://schemas.microsoft.com/office/drawing/2014/main" id="{B71590A5-B9C3-E975-2D4A-48F604E7C30C}"/>
              </a:ext>
            </a:extLst>
          </p:cNvPr>
          <p:cNvSpPr>
            <a:spLocks noGrp="1"/>
          </p:cNvSpPr>
          <p:nvPr>
            <p:ph type="title"/>
          </p:nvPr>
        </p:nvSpPr>
        <p:spPr>
          <a:xfrm>
            <a:off x="4173560" y="5152572"/>
            <a:ext cx="7556740" cy="744858"/>
          </a:xfrm>
          <a:prstGeom prst="rect">
            <a:avLst/>
          </a:prstGeom>
        </p:spPr>
        <p:txBody>
          <a:bodyPr>
            <a:normAutofit/>
          </a:bodyPr>
          <a:lstStyle>
            <a:lvl1pPr algn="r">
              <a:defRPr sz="6500" b="0" i="0">
                <a:latin typeface="Avenir" panose="02000503020000020003"/>
              </a:defRPr>
            </a:lvl1pPr>
          </a:lstStyle>
          <a:p>
            <a:r>
              <a:rPr lang="en-US"/>
              <a:t>Click to edit Master title style</a:t>
            </a:r>
            <a:endParaRPr lang="nl-BE"/>
          </a:p>
        </p:txBody>
      </p:sp>
      <p:pic>
        <p:nvPicPr>
          <p:cNvPr id="3" name="Picture 2">
            <a:extLst>
              <a:ext uri="{FF2B5EF4-FFF2-40B4-BE49-F238E27FC236}">
                <a16:creationId xmlns:a16="http://schemas.microsoft.com/office/drawing/2014/main" id="{F5AA11E8-9192-ACC5-8851-D916F6111BB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7732642" cy="6887880"/>
          </a:xfrm>
          <a:prstGeom prst="rect">
            <a:avLst/>
          </a:prstGeom>
        </p:spPr>
      </p:pic>
      <p:sp>
        <p:nvSpPr>
          <p:cNvPr id="13" name="object 2">
            <a:extLst>
              <a:ext uri="{FF2B5EF4-FFF2-40B4-BE49-F238E27FC236}">
                <a16:creationId xmlns:a16="http://schemas.microsoft.com/office/drawing/2014/main" id="{C4741B22-5A50-96A7-0AB3-A7EDFF787095}"/>
              </a:ext>
            </a:extLst>
          </p:cNvPr>
          <p:cNvSpPr/>
          <p:nvPr userDrawn="1"/>
        </p:nvSpPr>
        <p:spPr>
          <a:xfrm>
            <a:off x="-1" y="0"/>
            <a:ext cx="4092316" cy="2410587"/>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chemeClr val="bg1"/>
          </a:solidFill>
        </p:spPr>
        <p:txBody>
          <a:bodyPr wrap="square" lIns="0" tIns="0" rIns="0" bIns="0" rtlCol="0"/>
          <a:lstStyle/>
          <a:p>
            <a:endParaRPr/>
          </a:p>
        </p:txBody>
      </p:sp>
      <p:pic>
        <p:nvPicPr>
          <p:cNvPr id="17" name="Afbeelding 28">
            <a:extLst>
              <a:ext uri="{FF2B5EF4-FFF2-40B4-BE49-F238E27FC236}">
                <a16:creationId xmlns:a16="http://schemas.microsoft.com/office/drawing/2014/main" id="{DA96151D-153E-3436-1853-C1C5ECCE49F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
        <p:nvSpPr>
          <p:cNvPr id="31" name="TextBox 30">
            <a:extLst>
              <a:ext uri="{FF2B5EF4-FFF2-40B4-BE49-F238E27FC236}">
                <a16:creationId xmlns:a16="http://schemas.microsoft.com/office/drawing/2014/main" id="{7C7D7F11-4B07-1C45-6E8B-255E5AADFD9C}"/>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32" name="Afbeelding 9">
            <a:extLst>
              <a:ext uri="{FF2B5EF4-FFF2-40B4-BE49-F238E27FC236}">
                <a16:creationId xmlns:a16="http://schemas.microsoft.com/office/drawing/2014/main" id="{F144CBC5-FD5A-F742-C375-38B9032A62D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33" name="Straight Connector 32">
            <a:extLst>
              <a:ext uri="{FF2B5EF4-FFF2-40B4-BE49-F238E27FC236}">
                <a16:creationId xmlns:a16="http://schemas.microsoft.com/office/drawing/2014/main" id="{F0E5428B-D8D3-A9FF-BFA8-6E97F9D2DBDF}"/>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85222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ntentPage+Image">
    <p:spTree>
      <p:nvGrpSpPr>
        <p:cNvPr id="1" name=""/>
        <p:cNvGrpSpPr/>
        <p:nvPr/>
      </p:nvGrpSpPr>
      <p:grpSpPr>
        <a:xfrm>
          <a:off x="0" y="0"/>
          <a:ext cx="0" cy="0"/>
          <a:chOff x="0" y="0"/>
          <a:chExt cx="0" cy="0"/>
        </a:xfrm>
      </p:grpSpPr>
      <p:pic>
        <p:nvPicPr>
          <p:cNvPr id="24" name="Afbeelding 23">
            <a:extLst>
              <a:ext uri="{FF2B5EF4-FFF2-40B4-BE49-F238E27FC236}">
                <a16:creationId xmlns:a16="http://schemas.microsoft.com/office/drawing/2014/main" id="{E3554B7D-52B0-F6C3-CA8B-A419B665E9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998" y="9768"/>
            <a:ext cx="6096002" cy="6873622"/>
          </a:xfrm>
          <a:prstGeom prst="rect">
            <a:avLst/>
          </a:prstGeom>
        </p:spPr>
      </p:pic>
      <p:sp>
        <p:nvSpPr>
          <p:cNvPr id="21" name="object 2">
            <a:extLst>
              <a:ext uri="{FF2B5EF4-FFF2-40B4-BE49-F238E27FC236}">
                <a16:creationId xmlns:a16="http://schemas.microsoft.com/office/drawing/2014/main" id="{7FB5D4F0-26ED-CC75-D041-B96DBFB98F5E}"/>
              </a:ext>
            </a:extLst>
          </p:cNvPr>
          <p:cNvSpPr/>
          <p:nvPr userDrawn="1"/>
        </p:nvSpPr>
        <p:spPr>
          <a:xfrm>
            <a:off x="-722" y="-15"/>
            <a:ext cx="12222913" cy="6883405"/>
          </a:xfrm>
          <a:custGeom>
            <a:avLst/>
            <a:gdLst>
              <a:gd name="connsiteX0" fmla="*/ 8631301 w 8631301"/>
              <a:gd name="connsiteY0" fmla="*/ 0 h 6687210"/>
              <a:gd name="connsiteX1" fmla="*/ 0 w 8631301"/>
              <a:gd name="connsiteY1" fmla="*/ 0 h 6687210"/>
              <a:gd name="connsiteX2" fmla="*/ 0 w 8631301"/>
              <a:gd name="connsiteY2" fmla="*/ 5367969 h 6687210"/>
              <a:gd name="connsiteX3" fmla="*/ 1556981 w 8631301"/>
              <a:gd name="connsiteY3" fmla="*/ 6687210 h 6687210"/>
              <a:gd name="connsiteX4" fmla="*/ 1622552 w 8631301"/>
              <a:gd name="connsiteY4" fmla="*/ 6680790 h 6687210"/>
              <a:gd name="connsiteX5" fmla="*/ 1687395 w 8631301"/>
              <a:gd name="connsiteY5" fmla="*/ 6673902 h 6687210"/>
              <a:gd name="connsiteX6" fmla="*/ 1751517 w 8631301"/>
              <a:gd name="connsiteY6" fmla="*/ 6666549 h 6687210"/>
              <a:gd name="connsiteX7" fmla="*/ 1814923 w 8631301"/>
              <a:gd name="connsiteY7" fmla="*/ 6658735 h 6687210"/>
              <a:gd name="connsiteX8" fmla="*/ 1877621 w 8631301"/>
              <a:gd name="connsiteY8" fmla="*/ 6650463 h 6687210"/>
              <a:gd name="connsiteX9" fmla="*/ 1939616 w 8631301"/>
              <a:gd name="connsiteY9" fmla="*/ 6641737 h 6687210"/>
              <a:gd name="connsiteX10" fmla="*/ 2000915 w 8631301"/>
              <a:gd name="connsiteY10" fmla="*/ 6632561 h 6687210"/>
              <a:gd name="connsiteX11" fmla="*/ 2061524 w 8631301"/>
              <a:gd name="connsiteY11" fmla="*/ 6622937 h 6687210"/>
              <a:gd name="connsiteX12" fmla="*/ 2121449 w 8631301"/>
              <a:gd name="connsiteY12" fmla="*/ 6612869 h 6687210"/>
              <a:gd name="connsiteX13" fmla="*/ 2180698 w 8631301"/>
              <a:gd name="connsiteY13" fmla="*/ 6602362 h 6687210"/>
              <a:gd name="connsiteX14" fmla="*/ 2239276 w 8631301"/>
              <a:gd name="connsiteY14" fmla="*/ 6591417 h 6687210"/>
              <a:gd name="connsiteX15" fmla="*/ 2297189 w 8631301"/>
              <a:gd name="connsiteY15" fmla="*/ 6580040 h 6687210"/>
              <a:gd name="connsiteX16" fmla="*/ 2354444 w 8631301"/>
              <a:gd name="connsiteY16" fmla="*/ 6568233 h 6687210"/>
              <a:gd name="connsiteX17" fmla="*/ 2411048 w 8631301"/>
              <a:gd name="connsiteY17" fmla="*/ 6555999 h 6687210"/>
              <a:gd name="connsiteX18" fmla="*/ 2467006 w 8631301"/>
              <a:gd name="connsiteY18" fmla="*/ 6543344 h 6687210"/>
              <a:gd name="connsiteX19" fmla="*/ 2522325 w 8631301"/>
              <a:gd name="connsiteY19" fmla="*/ 6530269 h 6687210"/>
              <a:gd name="connsiteX20" fmla="*/ 2577011 w 8631301"/>
              <a:gd name="connsiteY20" fmla="*/ 6516778 h 6687210"/>
              <a:gd name="connsiteX21" fmla="*/ 2631071 w 8631301"/>
              <a:gd name="connsiteY21" fmla="*/ 6502876 h 6687210"/>
              <a:gd name="connsiteX22" fmla="*/ 2684511 w 8631301"/>
              <a:gd name="connsiteY22" fmla="*/ 6488565 h 6687210"/>
              <a:gd name="connsiteX23" fmla="*/ 2737336 w 8631301"/>
              <a:gd name="connsiteY23" fmla="*/ 6473849 h 6687210"/>
              <a:gd name="connsiteX24" fmla="*/ 2789555 w 8631301"/>
              <a:gd name="connsiteY24" fmla="*/ 6458731 h 6687210"/>
              <a:gd name="connsiteX25" fmla="*/ 2841173 w 8631301"/>
              <a:gd name="connsiteY25" fmla="*/ 6443216 h 6687210"/>
              <a:gd name="connsiteX26" fmla="*/ 2892195 w 8631301"/>
              <a:gd name="connsiteY26" fmla="*/ 6427305 h 6687210"/>
              <a:gd name="connsiteX27" fmla="*/ 2942630 w 8631301"/>
              <a:gd name="connsiteY27" fmla="*/ 6411004 h 6687210"/>
              <a:gd name="connsiteX28" fmla="*/ 2992482 w 8631301"/>
              <a:gd name="connsiteY28" fmla="*/ 6394316 h 6687210"/>
              <a:gd name="connsiteX29" fmla="*/ 3041759 w 8631301"/>
              <a:gd name="connsiteY29" fmla="*/ 6377243 h 6687210"/>
              <a:gd name="connsiteX30" fmla="*/ 3090466 w 8631301"/>
              <a:gd name="connsiteY30" fmla="*/ 6359791 h 6687210"/>
              <a:gd name="connsiteX31" fmla="*/ 3138610 w 8631301"/>
              <a:gd name="connsiteY31" fmla="*/ 6341961 h 6687210"/>
              <a:gd name="connsiteX32" fmla="*/ 3186198 w 8631301"/>
              <a:gd name="connsiteY32" fmla="*/ 6323757 h 6687210"/>
              <a:gd name="connsiteX33" fmla="*/ 3233235 w 8631301"/>
              <a:gd name="connsiteY33" fmla="*/ 6305184 h 6687210"/>
              <a:gd name="connsiteX34" fmla="*/ 3279728 w 8631301"/>
              <a:gd name="connsiteY34" fmla="*/ 6286245 h 6687210"/>
              <a:gd name="connsiteX35" fmla="*/ 3325684 w 8631301"/>
              <a:gd name="connsiteY35" fmla="*/ 6266942 h 6687210"/>
              <a:gd name="connsiteX36" fmla="*/ 3371108 w 8631301"/>
              <a:gd name="connsiteY36" fmla="*/ 6247281 h 6687210"/>
              <a:gd name="connsiteX37" fmla="*/ 3416007 w 8631301"/>
              <a:gd name="connsiteY37" fmla="*/ 6227263 h 6687210"/>
              <a:gd name="connsiteX38" fmla="*/ 3460387 w 8631301"/>
              <a:gd name="connsiteY38" fmla="*/ 6206893 h 6687210"/>
              <a:gd name="connsiteX39" fmla="*/ 3504255 w 8631301"/>
              <a:gd name="connsiteY39" fmla="*/ 6186174 h 6687210"/>
              <a:gd name="connsiteX40" fmla="*/ 3547617 w 8631301"/>
              <a:gd name="connsiteY40" fmla="*/ 6165110 h 6687210"/>
              <a:gd name="connsiteX41" fmla="*/ 3590480 w 8631301"/>
              <a:gd name="connsiteY41" fmla="*/ 6143704 h 6687210"/>
              <a:gd name="connsiteX42" fmla="*/ 3632849 w 8631301"/>
              <a:gd name="connsiteY42" fmla="*/ 6121960 h 6687210"/>
              <a:gd name="connsiteX43" fmla="*/ 3674731 w 8631301"/>
              <a:gd name="connsiteY43" fmla="*/ 6099881 h 6687210"/>
              <a:gd name="connsiteX44" fmla="*/ 3716133 w 8631301"/>
              <a:gd name="connsiteY44" fmla="*/ 6077471 h 6687210"/>
              <a:gd name="connsiteX45" fmla="*/ 3757060 w 8631301"/>
              <a:gd name="connsiteY45" fmla="*/ 6054733 h 6687210"/>
              <a:gd name="connsiteX46" fmla="*/ 3797519 w 8631301"/>
              <a:gd name="connsiteY46" fmla="*/ 6031671 h 6687210"/>
              <a:gd name="connsiteX47" fmla="*/ 3837517 w 8631301"/>
              <a:gd name="connsiteY47" fmla="*/ 6008288 h 6687210"/>
              <a:gd name="connsiteX48" fmla="*/ 3877059 w 8631301"/>
              <a:gd name="connsiteY48" fmla="*/ 5984588 h 6687210"/>
              <a:gd name="connsiteX49" fmla="*/ 3916152 w 8631301"/>
              <a:gd name="connsiteY49" fmla="*/ 5960574 h 6687210"/>
              <a:gd name="connsiteX50" fmla="*/ 3954803 w 8631301"/>
              <a:gd name="connsiteY50" fmla="*/ 5936250 h 6687210"/>
              <a:gd name="connsiteX51" fmla="*/ 3993018 w 8631301"/>
              <a:gd name="connsiteY51" fmla="*/ 5911619 h 6687210"/>
              <a:gd name="connsiteX52" fmla="*/ 4030802 w 8631301"/>
              <a:gd name="connsiteY52" fmla="*/ 5886685 h 6687210"/>
              <a:gd name="connsiteX53" fmla="*/ 4068163 w 8631301"/>
              <a:gd name="connsiteY53" fmla="*/ 5861452 h 6687210"/>
              <a:gd name="connsiteX54" fmla="*/ 4105107 w 8631301"/>
              <a:gd name="connsiteY54" fmla="*/ 5835922 h 6687210"/>
              <a:gd name="connsiteX55" fmla="*/ 4141640 w 8631301"/>
              <a:gd name="connsiteY55" fmla="*/ 5810100 h 6687210"/>
              <a:gd name="connsiteX56" fmla="*/ 4177768 w 8631301"/>
              <a:gd name="connsiteY56" fmla="*/ 5783988 h 6687210"/>
              <a:gd name="connsiteX57" fmla="*/ 4213498 w 8631301"/>
              <a:gd name="connsiteY57" fmla="*/ 5757591 h 6687210"/>
              <a:gd name="connsiteX58" fmla="*/ 4248836 w 8631301"/>
              <a:gd name="connsiteY58" fmla="*/ 5730912 h 6687210"/>
              <a:gd name="connsiteX59" fmla="*/ 4283788 w 8631301"/>
              <a:gd name="connsiteY59" fmla="*/ 5703955 h 6687210"/>
              <a:gd name="connsiteX60" fmla="*/ 4318361 w 8631301"/>
              <a:gd name="connsiteY60" fmla="*/ 5676722 h 6687210"/>
              <a:gd name="connsiteX61" fmla="*/ 4352561 w 8631301"/>
              <a:gd name="connsiteY61" fmla="*/ 5649218 h 6687210"/>
              <a:gd name="connsiteX62" fmla="*/ 4386395 w 8631301"/>
              <a:gd name="connsiteY62" fmla="*/ 5621446 h 6687210"/>
              <a:gd name="connsiteX63" fmla="*/ 4419869 w 8631301"/>
              <a:gd name="connsiteY63" fmla="*/ 5593409 h 6687210"/>
              <a:gd name="connsiteX64" fmla="*/ 4452988 w 8631301"/>
              <a:gd name="connsiteY64" fmla="*/ 5565111 h 6687210"/>
              <a:gd name="connsiteX65" fmla="*/ 4485760 w 8631301"/>
              <a:gd name="connsiteY65" fmla="*/ 5536556 h 6687210"/>
              <a:gd name="connsiteX66" fmla="*/ 4518191 w 8631301"/>
              <a:gd name="connsiteY66" fmla="*/ 5507747 h 6687210"/>
              <a:gd name="connsiteX67" fmla="*/ 4550287 w 8631301"/>
              <a:gd name="connsiteY67" fmla="*/ 5478687 h 6687210"/>
              <a:gd name="connsiteX68" fmla="*/ 4582054 w 8631301"/>
              <a:gd name="connsiteY68" fmla="*/ 5449380 h 6687210"/>
              <a:gd name="connsiteX69" fmla="*/ 4613500 w 8631301"/>
              <a:gd name="connsiteY69" fmla="*/ 5419830 h 6687210"/>
              <a:gd name="connsiteX70" fmla="*/ 4644629 w 8631301"/>
              <a:gd name="connsiteY70" fmla="*/ 5390040 h 6687210"/>
              <a:gd name="connsiteX71" fmla="*/ 4675449 w 8631301"/>
              <a:gd name="connsiteY71" fmla="*/ 5360014 h 6687210"/>
              <a:gd name="connsiteX72" fmla="*/ 4705966 w 8631301"/>
              <a:gd name="connsiteY72" fmla="*/ 5329755 h 6687210"/>
              <a:gd name="connsiteX73" fmla="*/ 4736185 w 8631301"/>
              <a:gd name="connsiteY73" fmla="*/ 5299266 h 6687210"/>
              <a:gd name="connsiteX74" fmla="*/ 4766115 w 8631301"/>
              <a:gd name="connsiteY74" fmla="*/ 5268551 h 6687210"/>
              <a:gd name="connsiteX75" fmla="*/ 4795760 w 8631301"/>
              <a:gd name="connsiteY75" fmla="*/ 5237614 h 6687210"/>
              <a:gd name="connsiteX76" fmla="*/ 4825127 w 8631301"/>
              <a:gd name="connsiteY76" fmla="*/ 5206458 h 6687210"/>
              <a:gd name="connsiteX77" fmla="*/ 4854223 w 8631301"/>
              <a:gd name="connsiteY77" fmla="*/ 5175087 h 6687210"/>
              <a:gd name="connsiteX78" fmla="*/ 4883054 w 8631301"/>
              <a:gd name="connsiteY78" fmla="*/ 5143504 h 6687210"/>
              <a:gd name="connsiteX79" fmla="*/ 4911626 w 8631301"/>
              <a:gd name="connsiteY79" fmla="*/ 5111713 h 6687210"/>
              <a:gd name="connsiteX80" fmla="*/ 4939945 w 8631301"/>
              <a:gd name="connsiteY80" fmla="*/ 5079717 h 6687210"/>
              <a:gd name="connsiteX81" fmla="*/ 4968018 w 8631301"/>
              <a:gd name="connsiteY81" fmla="*/ 5047519 h 6687210"/>
              <a:gd name="connsiteX82" fmla="*/ 4995852 w 8631301"/>
              <a:gd name="connsiteY82" fmla="*/ 5015124 h 6687210"/>
              <a:gd name="connsiteX83" fmla="*/ 5023452 w 8631301"/>
              <a:gd name="connsiteY83" fmla="*/ 4982535 h 6687210"/>
              <a:gd name="connsiteX84" fmla="*/ 5050824 w 8631301"/>
              <a:gd name="connsiteY84" fmla="*/ 4949755 h 6687210"/>
              <a:gd name="connsiteX85" fmla="*/ 5077976 w 8631301"/>
              <a:gd name="connsiteY85" fmla="*/ 4916787 h 6687210"/>
              <a:gd name="connsiteX86" fmla="*/ 5104914 w 8631301"/>
              <a:gd name="connsiteY86" fmla="*/ 4883636 h 6687210"/>
              <a:gd name="connsiteX87" fmla="*/ 5131644 w 8631301"/>
              <a:gd name="connsiteY87" fmla="*/ 4850305 h 6687210"/>
              <a:gd name="connsiteX88" fmla="*/ 5158171 w 8631301"/>
              <a:gd name="connsiteY88" fmla="*/ 4816797 h 6687210"/>
              <a:gd name="connsiteX89" fmla="*/ 5210647 w 8631301"/>
              <a:gd name="connsiteY89" fmla="*/ 4749265 h 6687210"/>
              <a:gd name="connsiteX90" fmla="*/ 5262391 w 8631301"/>
              <a:gd name="connsiteY90" fmla="*/ 4681068 h 6687210"/>
              <a:gd name="connsiteX91" fmla="*/ 5313455 w 8631301"/>
              <a:gd name="connsiteY91" fmla="*/ 4612234 h 6687210"/>
              <a:gd name="connsiteX92" fmla="*/ 5363889 w 8631301"/>
              <a:gd name="connsiteY92" fmla="*/ 4542793 h 6687210"/>
              <a:gd name="connsiteX93" fmla="*/ 5413745 w 8631301"/>
              <a:gd name="connsiteY93" fmla="*/ 4472771 h 6687210"/>
              <a:gd name="connsiteX94" fmla="*/ 5463072 w 8631301"/>
              <a:gd name="connsiteY94" fmla="*/ 4402196 h 6687210"/>
              <a:gd name="connsiteX95" fmla="*/ 5511922 w 8631301"/>
              <a:gd name="connsiteY95" fmla="*/ 4331098 h 6687210"/>
              <a:gd name="connsiteX96" fmla="*/ 5560344 w 8631301"/>
              <a:gd name="connsiteY96" fmla="*/ 4259503 h 6687210"/>
              <a:gd name="connsiteX97" fmla="*/ 5608391 w 8631301"/>
              <a:gd name="connsiteY97" fmla="*/ 4187441 h 6687210"/>
              <a:gd name="connsiteX98" fmla="*/ 5679867 w 8631301"/>
              <a:gd name="connsiteY98" fmla="*/ 4078531 h 6687210"/>
              <a:gd name="connsiteX99" fmla="*/ 5750781 w 8631301"/>
              <a:gd name="connsiteY99" fmla="*/ 3968727 h 6687210"/>
              <a:gd name="connsiteX100" fmla="*/ 5868190 w 8631301"/>
              <a:gd name="connsiteY100" fmla="*/ 3783989 h 6687210"/>
              <a:gd name="connsiteX101" fmla="*/ 6197916 w 8631301"/>
              <a:gd name="connsiteY101" fmla="*/ 3258640 h 6687210"/>
              <a:gd name="connsiteX102" fmla="*/ 6294137 w 8631301"/>
              <a:gd name="connsiteY102" fmla="*/ 3107321 h 6687210"/>
              <a:gd name="connsiteX103" fmla="*/ 6367357 w 8631301"/>
              <a:gd name="connsiteY103" fmla="*/ 2993735 h 6687210"/>
              <a:gd name="connsiteX104" fmla="*/ 6447904 w 8631301"/>
              <a:gd name="connsiteY104" fmla="*/ 2869788 h 6687210"/>
              <a:gd name="connsiteX105" fmla="*/ 6558874 w 8631301"/>
              <a:gd name="connsiteY105" fmla="*/ 2696807 h 6687210"/>
              <a:gd name="connsiteX106" fmla="*/ 6970940 w 8631301"/>
              <a:gd name="connsiteY106" fmla="*/ 2045274 h 6687210"/>
              <a:gd name="connsiteX107" fmla="*/ 7081462 w 8631301"/>
              <a:gd name="connsiteY107" fmla="*/ 1872743 h 6687210"/>
              <a:gd name="connsiteX108" fmla="*/ 7164986 w 8631301"/>
              <a:gd name="connsiteY108" fmla="*/ 1744202 h 6687210"/>
              <a:gd name="connsiteX109" fmla="*/ 7221058 w 8631301"/>
              <a:gd name="connsiteY109" fmla="*/ 1659017 h 6687210"/>
              <a:gd name="connsiteX110" fmla="*/ 7277496 w 8631301"/>
              <a:gd name="connsiteY110" fmla="*/ 1574303 h 6687210"/>
              <a:gd name="connsiteX111" fmla="*/ 7334350 w 8631301"/>
              <a:gd name="connsiteY111" fmla="*/ 1490113 h 6687210"/>
              <a:gd name="connsiteX112" fmla="*/ 7391664 w 8631301"/>
              <a:gd name="connsiteY112" fmla="*/ 1406503 h 6687210"/>
              <a:gd name="connsiteX113" fmla="*/ 7449488 w 8631301"/>
              <a:gd name="connsiteY113" fmla="*/ 1323526 h 6687210"/>
              <a:gd name="connsiteX114" fmla="*/ 7507868 w 8631301"/>
              <a:gd name="connsiteY114" fmla="*/ 1241237 h 6687210"/>
              <a:gd name="connsiteX115" fmla="*/ 7566851 w 8631301"/>
              <a:gd name="connsiteY115" fmla="*/ 1159689 h 6687210"/>
              <a:gd name="connsiteX116" fmla="*/ 7596584 w 8631301"/>
              <a:gd name="connsiteY116" fmla="*/ 1119210 h 6687210"/>
              <a:gd name="connsiteX117" fmla="*/ 7626486 w 8631301"/>
              <a:gd name="connsiteY117" fmla="*/ 1078937 h 6687210"/>
              <a:gd name="connsiteX118" fmla="*/ 7656562 w 8631301"/>
              <a:gd name="connsiteY118" fmla="*/ 1038876 h 6687210"/>
              <a:gd name="connsiteX119" fmla="*/ 7686818 w 8631301"/>
              <a:gd name="connsiteY119" fmla="*/ 999035 h 6687210"/>
              <a:gd name="connsiteX120" fmla="*/ 7717261 w 8631301"/>
              <a:gd name="connsiteY120" fmla="*/ 959419 h 6687210"/>
              <a:gd name="connsiteX121" fmla="*/ 7747897 w 8631301"/>
              <a:gd name="connsiteY121" fmla="*/ 920037 h 6687210"/>
              <a:gd name="connsiteX122" fmla="*/ 7778730 w 8631301"/>
              <a:gd name="connsiteY122" fmla="*/ 880894 h 6687210"/>
              <a:gd name="connsiteX123" fmla="*/ 7809768 w 8631301"/>
              <a:gd name="connsiteY123" fmla="*/ 841997 h 6687210"/>
              <a:gd name="connsiteX124" fmla="*/ 7841015 w 8631301"/>
              <a:gd name="connsiteY124" fmla="*/ 803354 h 6687210"/>
              <a:gd name="connsiteX125" fmla="*/ 7872479 w 8631301"/>
              <a:gd name="connsiteY125" fmla="*/ 764970 h 6687210"/>
              <a:gd name="connsiteX126" fmla="*/ 7904165 w 8631301"/>
              <a:gd name="connsiteY126" fmla="*/ 726853 h 6687210"/>
              <a:gd name="connsiteX127" fmla="*/ 7936078 w 8631301"/>
              <a:gd name="connsiteY127" fmla="*/ 689010 h 6687210"/>
              <a:gd name="connsiteX128" fmla="*/ 7968225 w 8631301"/>
              <a:gd name="connsiteY128" fmla="*/ 651447 h 6687210"/>
              <a:gd name="connsiteX129" fmla="*/ 8000612 w 8631301"/>
              <a:gd name="connsiteY129" fmla="*/ 614171 h 6687210"/>
              <a:gd name="connsiteX130" fmla="*/ 8033245 w 8631301"/>
              <a:gd name="connsiteY130" fmla="*/ 577189 h 6687210"/>
              <a:gd name="connsiteX131" fmla="*/ 8066128 w 8631301"/>
              <a:gd name="connsiteY131" fmla="*/ 540507 h 6687210"/>
              <a:gd name="connsiteX132" fmla="*/ 8099270 w 8631301"/>
              <a:gd name="connsiteY132" fmla="*/ 504132 h 6687210"/>
              <a:gd name="connsiteX133" fmla="*/ 8132674 w 8631301"/>
              <a:gd name="connsiteY133" fmla="*/ 468072 h 6687210"/>
              <a:gd name="connsiteX134" fmla="*/ 8166348 w 8631301"/>
              <a:gd name="connsiteY134" fmla="*/ 432332 h 6687210"/>
              <a:gd name="connsiteX135" fmla="*/ 8200297 w 8631301"/>
              <a:gd name="connsiteY135" fmla="*/ 396920 h 6687210"/>
              <a:gd name="connsiteX136" fmla="*/ 8234527 w 8631301"/>
              <a:gd name="connsiteY136" fmla="*/ 361843 h 6687210"/>
              <a:gd name="connsiteX137" fmla="*/ 8269044 w 8631301"/>
              <a:gd name="connsiteY137" fmla="*/ 327107 h 6687210"/>
              <a:gd name="connsiteX138" fmla="*/ 8303854 w 8631301"/>
              <a:gd name="connsiteY138" fmla="*/ 292718 h 6687210"/>
              <a:gd name="connsiteX139" fmla="*/ 8338963 w 8631301"/>
              <a:gd name="connsiteY139" fmla="*/ 258685 h 6687210"/>
              <a:gd name="connsiteX140" fmla="*/ 8374376 w 8631301"/>
              <a:gd name="connsiteY140" fmla="*/ 225013 h 6687210"/>
              <a:gd name="connsiteX141" fmla="*/ 8410101 w 8631301"/>
              <a:gd name="connsiteY141" fmla="*/ 191709 h 6687210"/>
              <a:gd name="connsiteX142" fmla="*/ 8446141 w 8631301"/>
              <a:gd name="connsiteY142" fmla="*/ 158780 h 6687210"/>
              <a:gd name="connsiteX143" fmla="*/ 8482505 w 8631301"/>
              <a:gd name="connsiteY143" fmla="*/ 126233 h 6687210"/>
              <a:gd name="connsiteX144" fmla="*/ 8519196 w 8631301"/>
              <a:gd name="connsiteY144" fmla="*/ 94075 h 6687210"/>
              <a:gd name="connsiteX145" fmla="*/ 8556222 w 8631301"/>
              <a:gd name="connsiteY145" fmla="*/ 62312 h 6687210"/>
              <a:gd name="connsiteX146" fmla="*/ 8593588 w 8631301"/>
              <a:gd name="connsiteY146" fmla="*/ 30951 h 6687210"/>
              <a:gd name="connsiteX147" fmla="*/ 8631301 w 8631301"/>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0790"/>
              <a:gd name="connsiteX1" fmla="*/ 5293 w 8636594"/>
              <a:gd name="connsiteY1" fmla="*/ 0 h 6680790"/>
              <a:gd name="connsiteX2" fmla="*/ 0 w 8636594"/>
              <a:gd name="connsiteY2" fmla="*/ 5587843 h 6680790"/>
              <a:gd name="connsiteX3" fmla="*/ 1594033 w 8636594"/>
              <a:gd name="connsiteY3" fmla="*/ 5600057 h 6680790"/>
              <a:gd name="connsiteX4" fmla="*/ 1627845 w 8636594"/>
              <a:gd name="connsiteY4" fmla="*/ 6680790 h 6680790"/>
              <a:gd name="connsiteX5" fmla="*/ 1692688 w 8636594"/>
              <a:gd name="connsiteY5" fmla="*/ 6673902 h 6680790"/>
              <a:gd name="connsiteX6" fmla="*/ 1756810 w 8636594"/>
              <a:gd name="connsiteY6" fmla="*/ 6666549 h 6680790"/>
              <a:gd name="connsiteX7" fmla="*/ 1820216 w 8636594"/>
              <a:gd name="connsiteY7" fmla="*/ 6658735 h 6680790"/>
              <a:gd name="connsiteX8" fmla="*/ 1882914 w 8636594"/>
              <a:gd name="connsiteY8" fmla="*/ 6650463 h 6680790"/>
              <a:gd name="connsiteX9" fmla="*/ 1944909 w 8636594"/>
              <a:gd name="connsiteY9" fmla="*/ 6641737 h 6680790"/>
              <a:gd name="connsiteX10" fmla="*/ 2006208 w 8636594"/>
              <a:gd name="connsiteY10" fmla="*/ 6632561 h 6680790"/>
              <a:gd name="connsiteX11" fmla="*/ 2066817 w 8636594"/>
              <a:gd name="connsiteY11" fmla="*/ 6622937 h 6680790"/>
              <a:gd name="connsiteX12" fmla="*/ 2126742 w 8636594"/>
              <a:gd name="connsiteY12" fmla="*/ 6612869 h 6680790"/>
              <a:gd name="connsiteX13" fmla="*/ 2185991 w 8636594"/>
              <a:gd name="connsiteY13" fmla="*/ 6602362 h 6680790"/>
              <a:gd name="connsiteX14" fmla="*/ 2244569 w 8636594"/>
              <a:gd name="connsiteY14" fmla="*/ 6591417 h 6680790"/>
              <a:gd name="connsiteX15" fmla="*/ 2302482 w 8636594"/>
              <a:gd name="connsiteY15" fmla="*/ 6580040 h 6680790"/>
              <a:gd name="connsiteX16" fmla="*/ 2359737 w 8636594"/>
              <a:gd name="connsiteY16" fmla="*/ 6568233 h 6680790"/>
              <a:gd name="connsiteX17" fmla="*/ 2416341 w 8636594"/>
              <a:gd name="connsiteY17" fmla="*/ 6555999 h 6680790"/>
              <a:gd name="connsiteX18" fmla="*/ 2472299 w 8636594"/>
              <a:gd name="connsiteY18" fmla="*/ 6543344 h 6680790"/>
              <a:gd name="connsiteX19" fmla="*/ 2527618 w 8636594"/>
              <a:gd name="connsiteY19" fmla="*/ 6530269 h 6680790"/>
              <a:gd name="connsiteX20" fmla="*/ 2582304 w 8636594"/>
              <a:gd name="connsiteY20" fmla="*/ 6516778 h 6680790"/>
              <a:gd name="connsiteX21" fmla="*/ 2636364 w 8636594"/>
              <a:gd name="connsiteY21" fmla="*/ 6502876 h 6680790"/>
              <a:gd name="connsiteX22" fmla="*/ 2689804 w 8636594"/>
              <a:gd name="connsiteY22" fmla="*/ 6488565 h 6680790"/>
              <a:gd name="connsiteX23" fmla="*/ 2742629 w 8636594"/>
              <a:gd name="connsiteY23" fmla="*/ 6473849 h 6680790"/>
              <a:gd name="connsiteX24" fmla="*/ 2794848 w 8636594"/>
              <a:gd name="connsiteY24" fmla="*/ 6458731 h 6680790"/>
              <a:gd name="connsiteX25" fmla="*/ 2846466 w 8636594"/>
              <a:gd name="connsiteY25" fmla="*/ 6443216 h 6680790"/>
              <a:gd name="connsiteX26" fmla="*/ 2897488 w 8636594"/>
              <a:gd name="connsiteY26" fmla="*/ 6427305 h 6680790"/>
              <a:gd name="connsiteX27" fmla="*/ 2947923 w 8636594"/>
              <a:gd name="connsiteY27" fmla="*/ 6411004 h 6680790"/>
              <a:gd name="connsiteX28" fmla="*/ 2997775 w 8636594"/>
              <a:gd name="connsiteY28" fmla="*/ 6394316 h 6680790"/>
              <a:gd name="connsiteX29" fmla="*/ 3047052 w 8636594"/>
              <a:gd name="connsiteY29" fmla="*/ 6377243 h 6680790"/>
              <a:gd name="connsiteX30" fmla="*/ 3095759 w 8636594"/>
              <a:gd name="connsiteY30" fmla="*/ 6359791 h 6680790"/>
              <a:gd name="connsiteX31" fmla="*/ 3143903 w 8636594"/>
              <a:gd name="connsiteY31" fmla="*/ 6341961 h 6680790"/>
              <a:gd name="connsiteX32" fmla="*/ 3191491 w 8636594"/>
              <a:gd name="connsiteY32" fmla="*/ 6323757 h 6680790"/>
              <a:gd name="connsiteX33" fmla="*/ 3238528 w 8636594"/>
              <a:gd name="connsiteY33" fmla="*/ 6305184 h 6680790"/>
              <a:gd name="connsiteX34" fmla="*/ 3285021 w 8636594"/>
              <a:gd name="connsiteY34" fmla="*/ 6286245 h 6680790"/>
              <a:gd name="connsiteX35" fmla="*/ 3330977 w 8636594"/>
              <a:gd name="connsiteY35" fmla="*/ 6266942 h 6680790"/>
              <a:gd name="connsiteX36" fmla="*/ 3376401 w 8636594"/>
              <a:gd name="connsiteY36" fmla="*/ 6247281 h 6680790"/>
              <a:gd name="connsiteX37" fmla="*/ 3421300 w 8636594"/>
              <a:gd name="connsiteY37" fmla="*/ 6227263 h 6680790"/>
              <a:gd name="connsiteX38" fmla="*/ 3465680 w 8636594"/>
              <a:gd name="connsiteY38" fmla="*/ 6206893 h 6680790"/>
              <a:gd name="connsiteX39" fmla="*/ 3509548 w 8636594"/>
              <a:gd name="connsiteY39" fmla="*/ 6186174 h 6680790"/>
              <a:gd name="connsiteX40" fmla="*/ 3552910 w 8636594"/>
              <a:gd name="connsiteY40" fmla="*/ 6165110 h 6680790"/>
              <a:gd name="connsiteX41" fmla="*/ 3595773 w 8636594"/>
              <a:gd name="connsiteY41" fmla="*/ 6143704 h 6680790"/>
              <a:gd name="connsiteX42" fmla="*/ 3638142 w 8636594"/>
              <a:gd name="connsiteY42" fmla="*/ 6121960 h 6680790"/>
              <a:gd name="connsiteX43" fmla="*/ 3680024 w 8636594"/>
              <a:gd name="connsiteY43" fmla="*/ 6099881 h 6680790"/>
              <a:gd name="connsiteX44" fmla="*/ 3721426 w 8636594"/>
              <a:gd name="connsiteY44" fmla="*/ 6077471 h 6680790"/>
              <a:gd name="connsiteX45" fmla="*/ 3762353 w 8636594"/>
              <a:gd name="connsiteY45" fmla="*/ 6054733 h 6680790"/>
              <a:gd name="connsiteX46" fmla="*/ 3802812 w 8636594"/>
              <a:gd name="connsiteY46" fmla="*/ 6031671 h 6680790"/>
              <a:gd name="connsiteX47" fmla="*/ 3842810 w 8636594"/>
              <a:gd name="connsiteY47" fmla="*/ 6008288 h 6680790"/>
              <a:gd name="connsiteX48" fmla="*/ 3882352 w 8636594"/>
              <a:gd name="connsiteY48" fmla="*/ 5984588 h 6680790"/>
              <a:gd name="connsiteX49" fmla="*/ 3921445 w 8636594"/>
              <a:gd name="connsiteY49" fmla="*/ 5960574 h 6680790"/>
              <a:gd name="connsiteX50" fmla="*/ 3960096 w 8636594"/>
              <a:gd name="connsiteY50" fmla="*/ 5936250 h 6680790"/>
              <a:gd name="connsiteX51" fmla="*/ 3998311 w 8636594"/>
              <a:gd name="connsiteY51" fmla="*/ 5911619 h 6680790"/>
              <a:gd name="connsiteX52" fmla="*/ 4036095 w 8636594"/>
              <a:gd name="connsiteY52" fmla="*/ 5886685 h 6680790"/>
              <a:gd name="connsiteX53" fmla="*/ 4073456 w 8636594"/>
              <a:gd name="connsiteY53" fmla="*/ 5861452 h 6680790"/>
              <a:gd name="connsiteX54" fmla="*/ 4110400 w 8636594"/>
              <a:gd name="connsiteY54" fmla="*/ 5835922 h 6680790"/>
              <a:gd name="connsiteX55" fmla="*/ 4146933 w 8636594"/>
              <a:gd name="connsiteY55" fmla="*/ 5810100 h 6680790"/>
              <a:gd name="connsiteX56" fmla="*/ 4183061 w 8636594"/>
              <a:gd name="connsiteY56" fmla="*/ 5783988 h 6680790"/>
              <a:gd name="connsiteX57" fmla="*/ 4218791 w 8636594"/>
              <a:gd name="connsiteY57" fmla="*/ 5757591 h 6680790"/>
              <a:gd name="connsiteX58" fmla="*/ 4254129 w 8636594"/>
              <a:gd name="connsiteY58" fmla="*/ 5730912 h 6680790"/>
              <a:gd name="connsiteX59" fmla="*/ 4289081 w 8636594"/>
              <a:gd name="connsiteY59" fmla="*/ 5703955 h 6680790"/>
              <a:gd name="connsiteX60" fmla="*/ 4323654 w 8636594"/>
              <a:gd name="connsiteY60" fmla="*/ 5676722 h 6680790"/>
              <a:gd name="connsiteX61" fmla="*/ 4357854 w 8636594"/>
              <a:gd name="connsiteY61" fmla="*/ 5649218 h 6680790"/>
              <a:gd name="connsiteX62" fmla="*/ 4391688 w 8636594"/>
              <a:gd name="connsiteY62" fmla="*/ 5621446 h 6680790"/>
              <a:gd name="connsiteX63" fmla="*/ 4425162 w 8636594"/>
              <a:gd name="connsiteY63" fmla="*/ 5593409 h 6680790"/>
              <a:gd name="connsiteX64" fmla="*/ 4458281 w 8636594"/>
              <a:gd name="connsiteY64" fmla="*/ 5565111 h 6680790"/>
              <a:gd name="connsiteX65" fmla="*/ 4491053 w 8636594"/>
              <a:gd name="connsiteY65" fmla="*/ 5536556 h 6680790"/>
              <a:gd name="connsiteX66" fmla="*/ 4523484 w 8636594"/>
              <a:gd name="connsiteY66" fmla="*/ 5507747 h 6680790"/>
              <a:gd name="connsiteX67" fmla="*/ 4555580 w 8636594"/>
              <a:gd name="connsiteY67" fmla="*/ 5478687 h 6680790"/>
              <a:gd name="connsiteX68" fmla="*/ 4587347 w 8636594"/>
              <a:gd name="connsiteY68" fmla="*/ 5449380 h 6680790"/>
              <a:gd name="connsiteX69" fmla="*/ 4618793 w 8636594"/>
              <a:gd name="connsiteY69" fmla="*/ 5419830 h 6680790"/>
              <a:gd name="connsiteX70" fmla="*/ 4649922 w 8636594"/>
              <a:gd name="connsiteY70" fmla="*/ 5390040 h 6680790"/>
              <a:gd name="connsiteX71" fmla="*/ 4680742 w 8636594"/>
              <a:gd name="connsiteY71" fmla="*/ 5360014 h 6680790"/>
              <a:gd name="connsiteX72" fmla="*/ 4711259 w 8636594"/>
              <a:gd name="connsiteY72" fmla="*/ 5329755 h 6680790"/>
              <a:gd name="connsiteX73" fmla="*/ 4741478 w 8636594"/>
              <a:gd name="connsiteY73" fmla="*/ 5299266 h 6680790"/>
              <a:gd name="connsiteX74" fmla="*/ 4771408 w 8636594"/>
              <a:gd name="connsiteY74" fmla="*/ 5268551 h 6680790"/>
              <a:gd name="connsiteX75" fmla="*/ 4801053 w 8636594"/>
              <a:gd name="connsiteY75" fmla="*/ 5237614 h 6680790"/>
              <a:gd name="connsiteX76" fmla="*/ 4830420 w 8636594"/>
              <a:gd name="connsiteY76" fmla="*/ 5206458 h 6680790"/>
              <a:gd name="connsiteX77" fmla="*/ 4859516 w 8636594"/>
              <a:gd name="connsiteY77" fmla="*/ 5175087 h 6680790"/>
              <a:gd name="connsiteX78" fmla="*/ 4888347 w 8636594"/>
              <a:gd name="connsiteY78" fmla="*/ 5143504 h 6680790"/>
              <a:gd name="connsiteX79" fmla="*/ 4916919 w 8636594"/>
              <a:gd name="connsiteY79" fmla="*/ 5111713 h 6680790"/>
              <a:gd name="connsiteX80" fmla="*/ 4945238 w 8636594"/>
              <a:gd name="connsiteY80" fmla="*/ 5079717 h 6680790"/>
              <a:gd name="connsiteX81" fmla="*/ 4973311 w 8636594"/>
              <a:gd name="connsiteY81" fmla="*/ 5047519 h 6680790"/>
              <a:gd name="connsiteX82" fmla="*/ 5001145 w 8636594"/>
              <a:gd name="connsiteY82" fmla="*/ 5015124 h 6680790"/>
              <a:gd name="connsiteX83" fmla="*/ 5028745 w 8636594"/>
              <a:gd name="connsiteY83" fmla="*/ 4982535 h 6680790"/>
              <a:gd name="connsiteX84" fmla="*/ 5056117 w 8636594"/>
              <a:gd name="connsiteY84" fmla="*/ 4949755 h 6680790"/>
              <a:gd name="connsiteX85" fmla="*/ 5083269 w 8636594"/>
              <a:gd name="connsiteY85" fmla="*/ 4916787 h 6680790"/>
              <a:gd name="connsiteX86" fmla="*/ 5110207 w 8636594"/>
              <a:gd name="connsiteY86" fmla="*/ 4883636 h 6680790"/>
              <a:gd name="connsiteX87" fmla="*/ 5136937 w 8636594"/>
              <a:gd name="connsiteY87" fmla="*/ 4850305 h 6680790"/>
              <a:gd name="connsiteX88" fmla="*/ 5163464 w 8636594"/>
              <a:gd name="connsiteY88" fmla="*/ 4816797 h 6680790"/>
              <a:gd name="connsiteX89" fmla="*/ 5215940 w 8636594"/>
              <a:gd name="connsiteY89" fmla="*/ 4749265 h 6680790"/>
              <a:gd name="connsiteX90" fmla="*/ 5267684 w 8636594"/>
              <a:gd name="connsiteY90" fmla="*/ 4681068 h 6680790"/>
              <a:gd name="connsiteX91" fmla="*/ 5318748 w 8636594"/>
              <a:gd name="connsiteY91" fmla="*/ 4612234 h 6680790"/>
              <a:gd name="connsiteX92" fmla="*/ 5369182 w 8636594"/>
              <a:gd name="connsiteY92" fmla="*/ 4542793 h 6680790"/>
              <a:gd name="connsiteX93" fmla="*/ 5419038 w 8636594"/>
              <a:gd name="connsiteY93" fmla="*/ 4472771 h 6680790"/>
              <a:gd name="connsiteX94" fmla="*/ 5468365 w 8636594"/>
              <a:gd name="connsiteY94" fmla="*/ 4402196 h 6680790"/>
              <a:gd name="connsiteX95" fmla="*/ 5517215 w 8636594"/>
              <a:gd name="connsiteY95" fmla="*/ 4331098 h 6680790"/>
              <a:gd name="connsiteX96" fmla="*/ 5565637 w 8636594"/>
              <a:gd name="connsiteY96" fmla="*/ 4259503 h 6680790"/>
              <a:gd name="connsiteX97" fmla="*/ 5613684 w 8636594"/>
              <a:gd name="connsiteY97" fmla="*/ 4187441 h 6680790"/>
              <a:gd name="connsiteX98" fmla="*/ 5685160 w 8636594"/>
              <a:gd name="connsiteY98" fmla="*/ 4078531 h 6680790"/>
              <a:gd name="connsiteX99" fmla="*/ 5756074 w 8636594"/>
              <a:gd name="connsiteY99" fmla="*/ 3968727 h 6680790"/>
              <a:gd name="connsiteX100" fmla="*/ 5873483 w 8636594"/>
              <a:gd name="connsiteY100" fmla="*/ 3783989 h 6680790"/>
              <a:gd name="connsiteX101" fmla="*/ 6203209 w 8636594"/>
              <a:gd name="connsiteY101" fmla="*/ 3258640 h 6680790"/>
              <a:gd name="connsiteX102" fmla="*/ 6299430 w 8636594"/>
              <a:gd name="connsiteY102" fmla="*/ 3107321 h 6680790"/>
              <a:gd name="connsiteX103" fmla="*/ 6372650 w 8636594"/>
              <a:gd name="connsiteY103" fmla="*/ 2993735 h 6680790"/>
              <a:gd name="connsiteX104" fmla="*/ 6453197 w 8636594"/>
              <a:gd name="connsiteY104" fmla="*/ 2869788 h 6680790"/>
              <a:gd name="connsiteX105" fmla="*/ 6564167 w 8636594"/>
              <a:gd name="connsiteY105" fmla="*/ 2696807 h 6680790"/>
              <a:gd name="connsiteX106" fmla="*/ 6976233 w 8636594"/>
              <a:gd name="connsiteY106" fmla="*/ 2045274 h 6680790"/>
              <a:gd name="connsiteX107" fmla="*/ 7086755 w 8636594"/>
              <a:gd name="connsiteY107" fmla="*/ 1872743 h 6680790"/>
              <a:gd name="connsiteX108" fmla="*/ 7170279 w 8636594"/>
              <a:gd name="connsiteY108" fmla="*/ 1744202 h 6680790"/>
              <a:gd name="connsiteX109" fmla="*/ 7226351 w 8636594"/>
              <a:gd name="connsiteY109" fmla="*/ 1659017 h 6680790"/>
              <a:gd name="connsiteX110" fmla="*/ 7282789 w 8636594"/>
              <a:gd name="connsiteY110" fmla="*/ 1574303 h 6680790"/>
              <a:gd name="connsiteX111" fmla="*/ 7339643 w 8636594"/>
              <a:gd name="connsiteY111" fmla="*/ 1490113 h 6680790"/>
              <a:gd name="connsiteX112" fmla="*/ 7396957 w 8636594"/>
              <a:gd name="connsiteY112" fmla="*/ 1406503 h 6680790"/>
              <a:gd name="connsiteX113" fmla="*/ 7454781 w 8636594"/>
              <a:gd name="connsiteY113" fmla="*/ 1323526 h 6680790"/>
              <a:gd name="connsiteX114" fmla="*/ 7513161 w 8636594"/>
              <a:gd name="connsiteY114" fmla="*/ 1241237 h 6680790"/>
              <a:gd name="connsiteX115" fmla="*/ 7572144 w 8636594"/>
              <a:gd name="connsiteY115" fmla="*/ 1159689 h 6680790"/>
              <a:gd name="connsiteX116" fmla="*/ 7601877 w 8636594"/>
              <a:gd name="connsiteY116" fmla="*/ 1119210 h 6680790"/>
              <a:gd name="connsiteX117" fmla="*/ 7631779 w 8636594"/>
              <a:gd name="connsiteY117" fmla="*/ 1078937 h 6680790"/>
              <a:gd name="connsiteX118" fmla="*/ 7661855 w 8636594"/>
              <a:gd name="connsiteY118" fmla="*/ 1038876 h 6680790"/>
              <a:gd name="connsiteX119" fmla="*/ 7692111 w 8636594"/>
              <a:gd name="connsiteY119" fmla="*/ 999035 h 6680790"/>
              <a:gd name="connsiteX120" fmla="*/ 7722554 w 8636594"/>
              <a:gd name="connsiteY120" fmla="*/ 959419 h 6680790"/>
              <a:gd name="connsiteX121" fmla="*/ 7753190 w 8636594"/>
              <a:gd name="connsiteY121" fmla="*/ 920037 h 6680790"/>
              <a:gd name="connsiteX122" fmla="*/ 7784023 w 8636594"/>
              <a:gd name="connsiteY122" fmla="*/ 880894 h 6680790"/>
              <a:gd name="connsiteX123" fmla="*/ 7815061 w 8636594"/>
              <a:gd name="connsiteY123" fmla="*/ 841997 h 6680790"/>
              <a:gd name="connsiteX124" fmla="*/ 7846308 w 8636594"/>
              <a:gd name="connsiteY124" fmla="*/ 803354 h 6680790"/>
              <a:gd name="connsiteX125" fmla="*/ 7877772 w 8636594"/>
              <a:gd name="connsiteY125" fmla="*/ 764970 h 6680790"/>
              <a:gd name="connsiteX126" fmla="*/ 7909458 w 8636594"/>
              <a:gd name="connsiteY126" fmla="*/ 726853 h 6680790"/>
              <a:gd name="connsiteX127" fmla="*/ 7941371 w 8636594"/>
              <a:gd name="connsiteY127" fmla="*/ 689010 h 6680790"/>
              <a:gd name="connsiteX128" fmla="*/ 7973518 w 8636594"/>
              <a:gd name="connsiteY128" fmla="*/ 651447 h 6680790"/>
              <a:gd name="connsiteX129" fmla="*/ 8005905 w 8636594"/>
              <a:gd name="connsiteY129" fmla="*/ 614171 h 6680790"/>
              <a:gd name="connsiteX130" fmla="*/ 8038538 w 8636594"/>
              <a:gd name="connsiteY130" fmla="*/ 577189 h 6680790"/>
              <a:gd name="connsiteX131" fmla="*/ 8071421 w 8636594"/>
              <a:gd name="connsiteY131" fmla="*/ 540507 h 6680790"/>
              <a:gd name="connsiteX132" fmla="*/ 8104563 w 8636594"/>
              <a:gd name="connsiteY132" fmla="*/ 504132 h 6680790"/>
              <a:gd name="connsiteX133" fmla="*/ 8137967 w 8636594"/>
              <a:gd name="connsiteY133" fmla="*/ 468072 h 6680790"/>
              <a:gd name="connsiteX134" fmla="*/ 8171641 w 8636594"/>
              <a:gd name="connsiteY134" fmla="*/ 432332 h 6680790"/>
              <a:gd name="connsiteX135" fmla="*/ 8205590 w 8636594"/>
              <a:gd name="connsiteY135" fmla="*/ 396920 h 6680790"/>
              <a:gd name="connsiteX136" fmla="*/ 8239820 w 8636594"/>
              <a:gd name="connsiteY136" fmla="*/ 361843 h 6680790"/>
              <a:gd name="connsiteX137" fmla="*/ 8274337 w 8636594"/>
              <a:gd name="connsiteY137" fmla="*/ 327107 h 6680790"/>
              <a:gd name="connsiteX138" fmla="*/ 8309147 w 8636594"/>
              <a:gd name="connsiteY138" fmla="*/ 292718 h 6680790"/>
              <a:gd name="connsiteX139" fmla="*/ 8344256 w 8636594"/>
              <a:gd name="connsiteY139" fmla="*/ 258685 h 6680790"/>
              <a:gd name="connsiteX140" fmla="*/ 8379669 w 8636594"/>
              <a:gd name="connsiteY140" fmla="*/ 225013 h 6680790"/>
              <a:gd name="connsiteX141" fmla="*/ 8415394 w 8636594"/>
              <a:gd name="connsiteY141" fmla="*/ 191709 h 6680790"/>
              <a:gd name="connsiteX142" fmla="*/ 8451434 w 8636594"/>
              <a:gd name="connsiteY142" fmla="*/ 158780 h 6680790"/>
              <a:gd name="connsiteX143" fmla="*/ 8487798 w 8636594"/>
              <a:gd name="connsiteY143" fmla="*/ 126233 h 6680790"/>
              <a:gd name="connsiteX144" fmla="*/ 8524489 w 8636594"/>
              <a:gd name="connsiteY144" fmla="*/ 94075 h 6680790"/>
              <a:gd name="connsiteX145" fmla="*/ 8561515 w 8636594"/>
              <a:gd name="connsiteY145" fmla="*/ 62312 h 6680790"/>
              <a:gd name="connsiteX146" fmla="*/ 8598881 w 8636594"/>
              <a:gd name="connsiteY146" fmla="*/ 30951 h 6680790"/>
              <a:gd name="connsiteX147" fmla="*/ 8636594 w 8636594"/>
              <a:gd name="connsiteY147" fmla="*/ 0 h 6680790"/>
              <a:gd name="connsiteX0" fmla="*/ 8636594 w 8636594"/>
              <a:gd name="connsiteY0" fmla="*/ 0 h 6673902"/>
              <a:gd name="connsiteX1" fmla="*/ 5293 w 8636594"/>
              <a:gd name="connsiteY1" fmla="*/ 0 h 6673902"/>
              <a:gd name="connsiteX2" fmla="*/ 0 w 8636594"/>
              <a:gd name="connsiteY2" fmla="*/ 5587843 h 6673902"/>
              <a:gd name="connsiteX3" fmla="*/ 1594033 w 8636594"/>
              <a:gd name="connsiteY3" fmla="*/ 5600057 h 6673902"/>
              <a:gd name="connsiteX4" fmla="*/ 1686068 w 8636594"/>
              <a:gd name="connsiteY4" fmla="*/ 5599745 h 6673902"/>
              <a:gd name="connsiteX5" fmla="*/ 1692688 w 8636594"/>
              <a:gd name="connsiteY5" fmla="*/ 6673902 h 6673902"/>
              <a:gd name="connsiteX6" fmla="*/ 1756810 w 8636594"/>
              <a:gd name="connsiteY6" fmla="*/ 6666549 h 6673902"/>
              <a:gd name="connsiteX7" fmla="*/ 1820216 w 8636594"/>
              <a:gd name="connsiteY7" fmla="*/ 6658735 h 6673902"/>
              <a:gd name="connsiteX8" fmla="*/ 1882914 w 8636594"/>
              <a:gd name="connsiteY8" fmla="*/ 6650463 h 6673902"/>
              <a:gd name="connsiteX9" fmla="*/ 1944909 w 8636594"/>
              <a:gd name="connsiteY9" fmla="*/ 6641737 h 6673902"/>
              <a:gd name="connsiteX10" fmla="*/ 2006208 w 8636594"/>
              <a:gd name="connsiteY10" fmla="*/ 6632561 h 6673902"/>
              <a:gd name="connsiteX11" fmla="*/ 2066817 w 8636594"/>
              <a:gd name="connsiteY11" fmla="*/ 6622937 h 6673902"/>
              <a:gd name="connsiteX12" fmla="*/ 2126742 w 8636594"/>
              <a:gd name="connsiteY12" fmla="*/ 6612869 h 6673902"/>
              <a:gd name="connsiteX13" fmla="*/ 2185991 w 8636594"/>
              <a:gd name="connsiteY13" fmla="*/ 6602362 h 6673902"/>
              <a:gd name="connsiteX14" fmla="*/ 2244569 w 8636594"/>
              <a:gd name="connsiteY14" fmla="*/ 6591417 h 6673902"/>
              <a:gd name="connsiteX15" fmla="*/ 2302482 w 8636594"/>
              <a:gd name="connsiteY15" fmla="*/ 6580040 h 6673902"/>
              <a:gd name="connsiteX16" fmla="*/ 2359737 w 8636594"/>
              <a:gd name="connsiteY16" fmla="*/ 6568233 h 6673902"/>
              <a:gd name="connsiteX17" fmla="*/ 2416341 w 8636594"/>
              <a:gd name="connsiteY17" fmla="*/ 6555999 h 6673902"/>
              <a:gd name="connsiteX18" fmla="*/ 2472299 w 8636594"/>
              <a:gd name="connsiteY18" fmla="*/ 6543344 h 6673902"/>
              <a:gd name="connsiteX19" fmla="*/ 2527618 w 8636594"/>
              <a:gd name="connsiteY19" fmla="*/ 6530269 h 6673902"/>
              <a:gd name="connsiteX20" fmla="*/ 2582304 w 8636594"/>
              <a:gd name="connsiteY20" fmla="*/ 6516778 h 6673902"/>
              <a:gd name="connsiteX21" fmla="*/ 2636364 w 8636594"/>
              <a:gd name="connsiteY21" fmla="*/ 6502876 h 6673902"/>
              <a:gd name="connsiteX22" fmla="*/ 2689804 w 8636594"/>
              <a:gd name="connsiteY22" fmla="*/ 6488565 h 6673902"/>
              <a:gd name="connsiteX23" fmla="*/ 2742629 w 8636594"/>
              <a:gd name="connsiteY23" fmla="*/ 6473849 h 6673902"/>
              <a:gd name="connsiteX24" fmla="*/ 2794848 w 8636594"/>
              <a:gd name="connsiteY24" fmla="*/ 6458731 h 6673902"/>
              <a:gd name="connsiteX25" fmla="*/ 2846466 w 8636594"/>
              <a:gd name="connsiteY25" fmla="*/ 6443216 h 6673902"/>
              <a:gd name="connsiteX26" fmla="*/ 2897488 w 8636594"/>
              <a:gd name="connsiteY26" fmla="*/ 6427305 h 6673902"/>
              <a:gd name="connsiteX27" fmla="*/ 2947923 w 8636594"/>
              <a:gd name="connsiteY27" fmla="*/ 6411004 h 6673902"/>
              <a:gd name="connsiteX28" fmla="*/ 2997775 w 8636594"/>
              <a:gd name="connsiteY28" fmla="*/ 6394316 h 6673902"/>
              <a:gd name="connsiteX29" fmla="*/ 3047052 w 8636594"/>
              <a:gd name="connsiteY29" fmla="*/ 6377243 h 6673902"/>
              <a:gd name="connsiteX30" fmla="*/ 3095759 w 8636594"/>
              <a:gd name="connsiteY30" fmla="*/ 6359791 h 6673902"/>
              <a:gd name="connsiteX31" fmla="*/ 3143903 w 8636594"/>
              <a:gd name="connsiteY31" fmla="*/ 6341961 h 6673902"/>
              <a:gd name="connsiteX32" fmla="*/ 3191491 w 8636594"/>
              <a:gd name="connsiteY32" fmla="*/ 6323757 h 6673902"/>
              <a:gd name="connsiteX33" fmla="*/ 3238528 w 8636594"/>
              <a:gd name="connsiteY33" fmla="*/ 6305184 h 6673902"/>
              <a:gd name="connsiteX34" fmla="*/ 3285021 w 8636594"/>
              <a:gd name="connsiteY34" fmla="*/ 6286245 h 6673902"/>
              <a:gd name="connsiteX35" fmla="*/ 3330977 w 8636594"/>
              <a:gd name="connsiteY35" fmla="*/ 6266942 h 6673902"/>
              <a:gd name="connsiteX36" fmla="*/ 3376401 w 8636594"/>
              <a:gd name="connsiteY36" fmla="*/ 6247281 h 6673902"/>
              <a:gd name="connsiteX37" fmla="*/ 3421300 w 8636594"/>
              <a:gd name="connsiteY37" fmla="*/ 6227263 h 6673902"/>
              <a:gd name="connsiteX38" fmla="*/ 3465680 w 8636594"/>
              <a:gd name="connsiteY38" fmla="*/ 6206893 h 6673902"/>
              <a:gd name="connsiteX39" fmla="*/ 3509548 w 8636594"/>
              <a:gd name="connsiteY39" fmla="*/ 6186174 h 6673902"/>
              <a:gd name="connsiteX40" fmla="*/ 3552910 w 8636594"/>
              <a:gd name="connsiteY40" fmla="*/ 6165110 h 6673902"/>
              <a:gd name="connsiteX41" fmla="*/ 3595773 w 8636594"/>
              <a:gd name="connsiteY41" fmla="*/ 6143704 h 6673902"/>
              <a:gd name="connsiteX42" fmla="*/ 3638142 w 8636594"/>
              <a:gd name="connsiteY42" fmla="*/ 6121960 h 6673902"/>
              <a:gd name="connsiteX43" fmla="*/ 3680024 w 8636594"/>
              <a:gd name="connsiteY43" fmla="*/ 6099881 h 6673902"/>
              <a:gd name="connsiteX44" fmla="*/ 3721426 w 8636594"/>
              <a:gd name="connsiteY44" fmla="*/ 6077471 h 6673902"/>
              <a:gd name="connsiteX45" fmla="*/ 3762353 w 8636594"/>
              <a:gd name="connsiteY45" fmla="*/ 6054733 h 6673902"/>
              <a:gd name="connsiteX46" fmla="*/ 3802812 w 8636594"/>
              <a:gd name="connsiteY46" fmla="*/ 6031671 h 6673902"/>
              <a:gd name="connsiteX47" fmla="*/ 3842810 w 8636594"/>
              <a:gd name="connsiteY47" fmla="*/ 6008288 h 6673902"/>
              <a:gd name="connsiteX48" fmla="*/ 3882352 w 8636594"/>
              <a:gd name="connsiteY48" fmla="*/ 5984588 h 6673902"/>
              <a:gd name="connsiteX49" fmla="*/ 3921445 w 8636594"/>
              <a:gd name="connsiteY49" fmla="*/ 5960574 h 6673902"/>
              <a:gd name="connsiteX50" fmla="*/ 3960096 w 8636594"/>
              <a:gd name="connsiteY50" fmla="*/ 5936250 h 6673902"/>
              <a:gd name="connsiteX51" fmla="*/ 3998311 w 8636594"/>
              <a:gd name="connsiteY51" fmla="*/ 5911619 h 6673902"/>
              <a:gd name="connsiteX52" fmla="*/ 4036095 w 8636594"/>
              <a:gd name="connsiteY52" fmla="*/ 5886685 h 6673902"/>
              <a:gd name="connsiteX53" fmla="*/ 4073456 w 8636594"/>
              <a:gd name="connsiteY53" fmla="*/ 5861452 h 6673902"/>
              <a:gd name="connsiteX54" fmla="*/ 4110400 w 8636594"/>
              <a:gd name="connsiteY54" fmla="*/ 5835922 h 6673902"/>
              <a:gd name="connsiteX55" fmla="*/ 4146933 w 8636594"/>
              <a:gd name="connsiteY55" fmla="*/ 5810100 h 6673902"/>
              <a:gd name="connsiteX56" fmla="*/ 4183061 w 8636594"/>
              <a:gd name="connsiteY56" fmla="*/ 5783988 h 6673902"/>
              <a:gd name="connsiteX57" fmla="*/ 4218791 w 8636594"/>
              <a:gd name="connsiteY57" fmla="*/ 5757591 h 6673902"/>
              <a:gd name="connsiteX58" fmla="*/ 4254129 w 8636594"/>
              <a:gd name="connsiteY58" fmla="*/ 5730912 h 6673902"/>
              <a:gd name="connsiteX59" fmla="*/ 4289081 w 8636594"/>
              <a:gd name="connsiteY59" fmla="*/ 5703955 h 6673902"/>
              <a:gd name="connsiteX60" fmla="*/ 4323654 w 8636594"/>
              <a:gd name="connsiteY60" fmla="*/ 5676722 h 6673902"/>
              <a:gd name="connsiteX61" fmla="*/ 4357854 w 8636594"/>
              <a:gd name="connsiteY61" fmla="*/ 5649218 h 6673902"/>
              <a:gd name="connsiteX62" fmla="*/ 4391688 w 8636594"/>
              <a:gd name="connsiteY62" fmla="*/ 5621446 h 6673902"/>
              <a:gd name="connsiteX63" fmla="*/ 4425162 w 8636594"/>
              <a:gd name="connsiteY63" fmla="*/ 5593409 h 6673902"/>
              <a:gd name="connsiteX64" fmla="*/ 4458281 w 8636594"/>
              <a:gd name="connsiteY64" fmla="*/ 5565111 h 6673902"/>
              <a:gd name="connsiteX65" fmla="*/ 4491053 w 8636594"/>
              <a:gd name="connsiteY65" fmla="*/ 5536556 h 6673902"/>
              <a:gd name="connsiteX66" fmla="*/ 4523484 w 8636594"/>
              <a:gd name="connsiteY66" fmla="*/ 5507747 h 6673902"/>
              <a:gd name="connsiteX67" fmla="*/ 4555580 w 8636594"/>
              <a:gd name="connsiteY67" fmla="*/ 5478687 h 6673902"/>
              <a:gd name="connsiteX68" fmla="*/ 4587347 w 8636594"/>
              <a:gd name="connsiteY68" fmla="*/ 5449380 h 6673902"/>
              <a:gd name="connsiteX69" fmla="*/ 4618793 w 8636594"/>
              <a:gd name="connsiteY69" fmla="*/ 5419830 h 6673902"/>
              <a:gd name="connsiteX70" fmla="*/ 4649922 w 8636594"/>
              <a:gd name="connsiteY70" fmla="*/ 5390040 h 6673902"/>
              <a:gd name="connsiteX71" fmla="*/ 4680742 w 8636594"/>
              <a:gd name="connsiteY71" fmla="*/ 5360014 h 6673902"/>
              <a:gd name="connsiteX72" fmla="*/ 4711259 w 8636594"/>
              <a:gd name="connsiteY72" fmla="*/ 5329755 h 6673902"/>
              <a:gd name="connsiteX73" fmla="*/ 4741478 w 8636594"/>
              <a:gd name="connsiteY73" fmla="*/ 5299266 h 6673902"/>
              <a:gd name="connsiteX74" fmla="*/ 4771408 w 8636594"/>
              <a:gd name="connsiteY74" fmla="*/ 5268551 h 6673902"/>
              <a:gd name="connsiteX75" fmla="*/ 4801053 w 8636594"/>
              <a:gd name="connsiteY75" fmla="*/ 5237614 h 6673902"/>
              <a:gd name="connsiteX76" fmla="*/ 4830420 w 8636594"/>
              <a:gd name="connsiteY76" fmla="*/ 5206458 h 6673902"/>
              <a:gd name="connsiteX77" fmla="*/ 4859516 w 8636594"/>
              <a:gd name="connsiteY77" fmla="*/ 5175087 h 6673902"/>
              <a:gd name="connsiteX78" fmla="*/ 4888347 w 8636594"/>
              <a:gd name="connsiteY78" fmla="*/ 5143504 h 6673902"/>
              <a:gd name="connsiteX79" fmla="*/ 4916919 w 8636594"/>
              <a:gd name="connsiteY79" fmla="*/ 5111713 h 6673902"/>
              <a:gd name="connsiteX80" fmla="*/ 4945238 w 8636594"/>
              <a:gd name="connsiteY80" fmla="*/ 5079717 h 6673902"/>
              <a:gd name="connsiteX81" fmla="*/ 4973311 w 8636594"/>
              <a:gd name="connsiteY81" fmla="*/ 5047519 h 6673902"/>
              <a:gd name="connsiteX82" fmla="*/ 5001145 w 8636594"/>
              <a:gd name="connsiteY82" fmla="*/ 5015124 h 6673902"/>
              <a:gd name="connsiteX83" fmla="*/ 5028745 w 8636594"/>
              <a:gd name="connsiteY83" fmla="*/ 4982535 h 6673902"/>
              <a:gd name="connsiteX84" fmla="*/ 5056117 w 8636594"/>
              <a:gd name="connsiteY84" fmla="*/ 4949755 h 6673902"/>
              <a:gd name="connsiteX85" fmla="*/ 5083269 w 8636594"/>
              <a:gd name="connsiteY85" fmla="*/ 4916787 h 6673902"/>
              <a:gd name="connsiteX86" fmla="*/ 5110207 w 8636594"/>
              <a:gd name="connsiteY86" fmla="*/ 4883636 h 6673902"/>
              <a:gd name="connsiteX87" fmla="*/ 5136937 w 8636594"/>
              <a:gd name="connsiteY87" fmla="*/ 4850305 h 6673902"/>
              <a:gd name="connsiteX88" fmla="*/ 5163464 w 8636594"/>
              <a:gd name="connsiteY88" fmla="*/ 4816797 h 6673902"/>
              <a:gd name="connsiteX89" fmla="*/ 5215940 w 8636594"/>
              <a:gd name="connsiteY89" fmla="*/ 4749265 h 6673902"/>
              <a:gd name="connsiteX90" fmla="*/ 5267684 w 8636594"/>
              <a:gd name="connsiteY90" fmla="*/ 4681068 h 6673902"/>
              <a:gd name="connsiteX91" fmla="*/ 5318748 w 8636594"/>
              <a:gd name="connsiteY91" fmla="*/ 4612234 h 6673902"/>
              <a:gd name="connsiteX92" fmla="*/ 5369182 w 8636594"/>
              <a:gd name="connsiteY92" fmla="*/ 4542793 h 6673902"/>
              <a:gd name="connsiteX93" fmla="*/ 5419038 w 8636594"/>
              <a:gd name="connsiteY93" fmla="*/ 4472771 h 6673902"/>
              <a:gd name="connsiteX94" fmla="*/ 5468365 w 8636594"/>
              <a:gd name="connsiteY94" fmla="*/ 4402196 h 6673902"/>
              <a:gd name="connsiteX95" fmla="*/ 5517215 w 8636594"/>
              <a:gd name="connsiteY95" fmla="*/ 4331098 h 6673902"/>
              <a:gd name="connsiteX96" fmla="*/ 5565637 w 8636594"/>
              <a:gd name="connsiteY96" fmla="*/ 4259503 h 6673902"/>
              <a:gd name="connsiteX97" fmla="*/ 5613684 w 8636594"/>
              <a:gd name="connsiteY97" fmla="*/ 4187441 h 6673902"/>
              <a:gd name="connsiteX98" fmla="*/ 5685160 w 8636594"/>
              <a:gd name="connsiteY98" fmla="*/ 4078531 h 6673902"/>
              <a:gd name="connsiteX99" fmla="*/ 5756074 w 8636594"/>
              <a:gd name="connsiteY99" fmla="*/ 3968727 h 6673902"/>
              <a:gd name="connsiteX100" fmla="*/ 5873483 w 8636594"/>
              <a:gd name="connsiteY100" fmla="*/ 3783989 h 6673902"/>
              <a:gd name="connsiteX101" fmla="*/ 6203209 w 8636594"/>
              <a:gd name="connsiteY101" fmla="*/ 3258640 h 6673902"/>
              <a:gd name="connsiteX102" fmla="*/ 6299430 w 8636594"/>
              <a:gd name="connsiteY102" fmla="*/ 3107321 h 6673902"/>
              <a:gd name="connsiteX103" fmla="*/ 6372650 w 8636594"/>
              <a:gd name="connsiteY103" fmla="*/ 2993735 h 6673902"/>
              <a:gd name="connsiteX104" fmla="*/ 6453197 w 8636594"/>
              <a:gd name="connsiteY104" fmla="*/ 2869788 h 6673902"/>
              <a:gd name="connsiteX105" fmla="*/ 6564167 w 8636594"/>
              <a:gd name="connsiteY105" fmla="*/ 2696807 h 6673902"/>
              <a:gd name="connsiteX106" fmla="*/ 6976233 w 8636594"/>
              <a:gd name="connsiteY106" fmla="*/ 2045274 h 6673902"/>
              <a:gd name="connsiteX107" fmla="*/ 7086755 w 8636594"/>
              <a:gd name="connsiteY107" fmla="*/ 1872743 h 6673902"/>
              <a:gd name="connsiteX108" fmla="*/ 7170279 w 8636594"/>
              <a:gd name="connsiteY108" fmla="*/ 1744202 h 6673902"/>
              <a:gd name="connsiteX109" fmla="*/ 7226351 w 8636594"/>
              <a:gd name="connsiteY109" fmla="*/ 1659017 h 6673902"/>
              <a:gd name="connsiteX110" fmla="*/ 7282789 w 8636594"/>
              <a:gd name="connsiteY110" fmla="*/ 1574303 h 6673902"/>
              <a:gd name="connsiteX111" fmla="*/ 7339643 w 8636594"/>
              <a:gd name="connsiteY111" fmla="*/ 1490113 h 6673902"/>
              <a:gd name="connsiteX112" fmla="*/ 7396957 w 8636594"/>
              <a:gd name="connsiteY112" fmla="*/ 1406503 h 6673902"/>
              <a:gd name="connsiteX113" fmla="*/ 7454781 w 8636594"/>
              <a:gd name="connsiteY113" fmla="*/ 1323526 h 6673902"/>
              <a:gd name="connsiteX114" fmla="*/ 7513161 w 8636594"/>
              <a:gd name="connsiteY114" fmla="*/ 1241237 h 6673902"/>
              <a:gd name="connsiteX115" fmla="*/ 7572144 w 8636594"/>
              <a:gd name="connsiteY115" fmla="*/ 1159689 h 6673902"/>
              <a:gd name="connsiteX116" fmla="*/ 7601877 w 8636594"/>
              <a:gd name="connsiteY116" fmla="*/ 1119210 h 6673902"/>
              <a:gd name="connsiteX117" fmla="*/ 7631779 w 8636594"/>
              <a:gd name="connsiteY117" fmla="*/ 1078937 h 6673902"/>
              <a:gd name="connsiteX118" fmla="*/ 7661855 w 8636594"/>
              <a:gd name="connsiteY118" fmla="*/ 1038876 h 6673902"/>
              <a:gd name="connsiteX119" fmla="*/ 7692111 w 8636594"/>
              <a:gd name="connsiteY119" fmla="*/ 999035 h 6673902"/>
              <a:gd name="connsiteX120" fmla="*/ 7722554 w 8636594"/>
              <a:gd name="connsiteY120" fmla="*/ 959419 h 6673902"/>
              <a:gd name="connsiteX121" fmla="*/ 7753190 w 8636594"/>
              <a:gd name="connsiteY121" fmla="*/ 920037 h 6673902"/>
              <a:gd name="connsiteX122" fmla="*/ 7784023 w 8636594"/>
              <a:gd name="connsiteY122" fmla="*/ 880894 h 6673902"/>
              <a:gd name="connsiteX123" fmla="*/ 7815061 w 8636594"/>
              <a:gd name="connsiteY123" fmla="*/ 841997 h 6673902"/>
              <a:gd name="connsiteX124" fmla="*/ 7846308 w 8636594"/>
              <a:gd name="connsiteY124" fmla="*/ 803354 h 6673902"/>
              <a:gd name="connsiteX125" fmla="*/ 7877772 w 8636594"/>
              <a:gd name="connsiteY125" fmla="*/ 764970 h 6673902"/>
              <a:gd name="connsiteX126" fmla="*/ 7909458 w 8636594"/>
              <a:gd name="connsiteY126" fmla="*/ 726853 h 6673902"/>
              <a:gd name="connsiteX127" fmla="*/ 7941371 w 8636594"/>
              <a:gd name="connsiteY127" fmla="*/ 689010 h 6673902"/>
              <a:gd name="connsiteX128" fmla="*/ 7973518 w 8636594"/>
              <a:gd name="connsiteY128" fmla="*/ 651447 h 6673902"/>
              <a:gd name="connsiteX129" fmla="*/ 8005905 w 8636594"/>
              <a:gd name="connsiteY129" fmla="*/ 614171 h 6673902"/>
              <a:gd name="connsiteX130" fmla="*/ 8038538 w 8636594"/>
              <a:gd name="connsiteY130" fmla="*/ 577189 h 6673902"/>
              <a:gd name="connsiteX131" fmla="*/ 8071421 w 8636594"/>
              <a:gd name="connsiteY131" fmla="*/ 540507 h 6673902"/>
              <a:gd name="connsiteX132" fmla="*/ 8104563 w 8636594"/>
              <a:gd name="connsiteY132" fmla="*/ 504132 h 6673902"/>
              <a:gd name="connsiteX133" fmla="*/ 8137967 w 8636594"/>
              <a:gd name="connsiteY133" fmla="*/ 468072 h 6673902"/>
              <a:gd name="connsiteX134" fmla="*/ 8171641 w 8636594"/>
              <a:gd name="connsiteY134" fmla="*/ 432332 h 6673902"/>
              <a:gd name="connsiteX135" fmla="*/ 8205590 w 8636594"/>
              <a:gd name="connsiteY135" fmla="*/ 396920 h 6673902"/>
              <a:gd name="connsiteX136" fmla="*/ 8239820 w 8636594"/>
              <a:gd name="connsiteY136" fmla="*/ 361843 h 6673902"/>
              <a:gd name="connsiteX137" fmla="*/ 8274337 w 8636594"/>
              <a:gd name="connsiteY137" fmla="*/ 327107 h 6673902"/>
              <a:gd name="connsiteX138" fmla="*/ 8309147 w 8636594"/>
              <a:gd name="connsiteY138" fmla="*/ 292718 h 6673902"/>
              <a:gd name="connsiteX139" fmla="*/ 8344256 w 8636594"/>
              <a:gd name="connsiteY139" fmla="*/ 258685 h 6673902"/>
              <a:gd name="connsiteX140" fmla="*/ 8379669 w 8636594"/>
              <a:gd name="connsiteY140" fmla="*/ 225013 h 6673902"/>
              <a:gd name="connsiteX141" fmla="*/ 8415394 w 8636594"/>
              <a:gd name="connsiteY141" fmla="*/ 191709 h 6673902"/>
              <a:gd name="connsiteX142" fmla="*/ 8451434 w 8636594"/>
              <a:gd name="connsiteY142" fmla="*/ 158780 h 6673902"/>
              <a:gd name="connsiteX143" fmla="*/ 8487798 w 8636594"/>
              <a:gd name="connsiteY143" fmla="*/ 126233 h 6673902"/>
              <a:gd name="connsiteX144" fmla="*/ 8524489 w 8636594"/>
              <a:gd name="connsiteY144" fmla="*/ 94075 h 6673902"/>
              <a:gd name="connsiteX145" fmla="*/ 8561515 w 8636594"/>
              <a:gd name="connsiteY145" fmla="*/ 62312 h 6673902"/>
              <a:gd name="connsiteX146" fmla="*/ 8598881 w 8636594"/>
              <a:gd name="connsiteY146" fmla="*/ 30951 h 6673902"/>
              <a:gd name="connsiteX147" fmla="*/ 8636594 w 8636594"/>
              <a:gd name="connsiteY147" fmla="*/ 0 h 6673902"/>
              <a:gd name="connsiteX0" fmla="*/ 8636594 w 8636594"/>
              <a:gd name="connsiteY0" fmla="*/ 0 h 6666549"/>
              <a:gd name="connsiteX1" fmla="*/ 5293 w 8636594"/>
              <a:gd name="connsiteY1" fmla="*/ 0 h 6666549"/>
              <a:gd name="connsiteX2" fmla="*/ 0 w 8636594"/>
              <a:gd name="connsiteY2" fmla="*/ 5587843 h 6666549"/>
              <a:gd name="connsiteX3" fmla="*/ 1594033 w 8636594"/>
              <a:gd name="connsiteY3" fmla="*/ 5600057 h 6666549"/>
              <a:gd name="connsiteX4" fmla="*/ 1686068 w 8636594"/>
              <a:gd name="connsiteY4" fmla="*/ 5599745 h 6666549"/>
              <a:gd name="connsiteX5" fmla="*/ 1883237 w 8636594"/>
              <a:gd name="connsiteY5" fmla="*/ 5855484 h 6666549"/>
              <a:gd name="connsiteX6" fmla="*/ 1756810 w 8636594"/>
              <a:gd name="connsiteY6" fmla="*/ 6666549 h 6666549"/>
              <a:gd name="connsiteX7" fmla="*/ 1820216 w 8636594"/>
              <a:gd name="connsiteY7" fmla="*/ 6658735 h 6666549"/>
              <a:gd name="connsiteX8" fmla="*/ 1882914 w 8636594"/>
              <a:gd name="connsiteY8" fmla="*/ 6650463 h 6666549"/>
              <a:gd name="connsiteX9" fmla="*/ 1944909 w 8636594"/>
              <a:gd name="connsiteY9" fmla="*/ 6641737 h 6666549"/>
              <a:gd name="connsiteX10" fmla="*/ 2006208 w 8636594"/>
              <a:gd name="connsiteY10" fmla="*/ 6632561 h 6666549"/>
              <a:gd name="connsiteX11" fmla="*/ 2066817 w 8636594"/>
              <a:gd name="connsiteY11" fmla="*/ 6622937 h 6666549"/>
              <a:gd name="connsiteX12" fmla="*/ 2126742 w 8636594"/>
              <a:gd name="connsiteY12" fmla="*/ 6612869 h 6666549"/>
              <a:gd name="connsiteX13" fmla="*/ 2185991 w 8636594"/>
              <a:gd name="connsiteY13" fmla="*/ 6602362 h 6666549"/>
              <a:gd name="connsiteX14" fmla="*/ 2244569 w 8636594"/>
              <a:gd name="connsiteY14" fmla="*/ 6591417 h 6666549"/>
              <a:gd name="connsiteX15" fmla="*/ 2302482 w 8636594"/>
              <a:gd name="connsiteY15" fmla="*/ 6580040 h 6666549"/>
              <a:gd name="connsiteX16" fmla="*/ 2359737 w 8636594"/>
              <a:gd name="connsiteY16" fmla="*/ 6568233 h 6666549"/>
              <a:gd name="connsiteX17" fmla="*/ 2416341 w 8636594"/>
              <a:gd name="connsiteY17" fmla="*/ 6555999 h 6666549"/>
              <a:gd name="connsiteX18" fmla="*/ 2472299 w 8636594"/>
              <a:gd name="connsiteY18" fmla="*/ 6543344 h 6666549"/>
              <a:gd name="connsiteX19" fmla="*/ 2527618 w 8636594"/>
              <a:gd name="connsiteY19" fmla="*/ 6530269 h 6666549"/>
              <a:gd name="connsiteX20" fmla="*/ 2582304 w 8636594"/>
              <a:gd name="connsiteY20" fmla="*/ 6516778 h 6666549"/>
              <a:gd name="connsiteX21" fmla="*/ 2636364 w 8636594"/>
              <a:gd name="connsiteY21" fmla="*/ 6502876 h 6666549"/>
              <a:gd name="connsiteX22" fmla="*/ 2689804 w 8636594"/>
              <a:gd name="connsiteY22" fmla="*/ 6488565 h 6666549"/>
              <a:gd name="connsiteX23" fmla="*/ 2742629 w 8636594"/>
              <a:gd name="connsiteY23" fmla="*/ 6473849 h 6666549"/>
              <a:gd name="connsiteX24" fmla="*/ 2794848 w 8636594"/>
              <a:gd name="connsiteY24" fmla="*/ 6458731 h 6666549"/>
              <a:gd name="connsiteX25" fmla="*/ 2846466 w 8636594"/>
              <a:gd name="connsiteY25" fmla="*/ 6443216 h 6666549"/>
              <a:gd name="connsiteX26" fmla="*/ 2897488 w 8636594"/>
              <a:gd name="connsiteY26" fmla="*/ 6427305 h 6666549"/>
              <a:gd name="connsiteX27" fmla="*/ 2947923 w 8636594"/>
              <a:gd name="connsiteY27" fmla="*/ 6411004 h 6666549"/>
              <a:gd name="connsiteX28" fmla="*/ 2997775 w 8636594"/>
              <a:gd name="connsiteY28" fmla="*/ 6394316 h 6666549"/>
              <a:gd name="connsiteX29" fmla="*/ 3047052 w 8636594"/>
              <a:gd name="connsiteY29" fmla="*/ 6377243 h 6666549"/>
              <a:gd name="connsiteX30" fmla="*/ 3095759 w 8636594"/>
              <a:gd name="connsiteY30" fmla="*/ 6359791 h 6666549"/>
              <a:gd name="connsiteX31" fmla="*/ 3143903 w 8636594"/>
              <a:gd name="connsiteY31" fmla="*/ 6341961 h 6666549"/>
              <a:gd name="connsiteX32" fmla="*/ 3191491 w 8636594"/>
              <a:gd name="connsiteY32" fmla="*/ 6323757 h 6666549"/>
              <a:gd name="connsiteX33" fmla="*/ 3238528 w 8636594"/>
              <a:gd name="connsiteY33" fmla="*/ 6305184 h 6666549"/>
              <a:gd name="connsiteX34" fmla="*/ 3285021 w 8636594"/>
              <a:gd name="connsiteY34" fmla="*/ 6286245 h 6666549"/>
              <a:gd name="connsiteX35" fmla="*/ 3330977 w 8636594"/>
              <a:gd name="connsiteY35" fmla="*/ 6266942 h 6666549"/>
              <a:gd name="connsiteX36" fmla="*/ 3376401 w 8636594"/>
              <a:gd name="connsiteY36" fmla="*/ 6247281 h 6666549"/>
              <a:gd name="connsiteX37" fmla="*/ 3421300 w 8636594"/>
              <a:gd name="connsiteY37" fmla="*/ 6227263 h 6666549"/>
              <a:gd name="connsiteX38" fmla="*/ 3465680 w 8636594"/>
              <a:gd name="connsiteY38" fmla="*/ 6206893 h 6666549"/>
              <a:gd name="connsiteX39" fmla="*/ 3509548 w 8636594"/>
              <a:gd name="connsiteY39" fmla="*/ 6186174 h 6666549"/>
              <a:gd name="connsiteX40" fmla="*/ 3552910 w 8636594"/>
              <a:gd name="connsiteY40" fmla="*/ 6165110 h 6666549"/>
              <a:gd name="connsiteX41" fmla="*/ 3595773 w 8636594"/>
              <a:gd name="connsiteY41" fmla="*/ 6143704 h 6666549"/>
              <a:gd name="connsiteX42" fmla="*/ 3638142 w 8636594"/>
              <a:gd name="connsiteY42" fmla="*/ 6121960 h 6666549"/>
              <a:gd name="connsiteX43" fmla="*/ 3680024 w 8636594"/>
              <a:gd name="connsiteY43" fmla="*/ 6099881 h 6666549"/>
              <a:gd name="connsiteX44" fmla="*/ 3721426 w 8636594"/>
              <a:gd name="connsiteY44" fmla="*/ 6077471 h 6666549"/>
              <a:gd name="connsiteX45" fmla="*/ 3762353 w 8636594"/>
              <a:gd name="connsiteY45" fmla="*/ 6054733 h 6666549"/>
              <a:gd name="connsiteX46" fmla="*/ 3802812 w 8636594"/>
              <a:gd name="connsiteY46" fmla="*/ 6031671 h 6666549"/>
              <a:gd name="connsiteX47" fmla="*/ 3842810 w 8636594"/>
              <a:gd name="connsiteY47" fmla="*/ 6008288 h 6666549"/>
              <a:gd name="connsiteX48" fmla="*/ 3882352 w 8636594"/>
              <a:gd name="connsiteY48" fmla="*/ 5984588 h 6666549"/>
              <a:gd name="connsiteX49" fmla="*/ 3921445 w 8636594"/>
              <a:gd name="connsiteY49" fmla="*/ 5960574 h 6666549"/>
              <a:gd name="connsiteX50" fmla="*/ 3960096 w 8636594"/>
              <a:gd name="connsiteY50" fmla="*/ 5936250 h 6666549"/>
              <a:gd name="connsiteX51" fmla="*/ 3998311 w 8636594"/>
              <a:gd name="connsiteY51" fmla="*/ 5911619 h 6666549"/>
              <a:gd name="connsiteX52" fmla="*/ 4036095 w 8636594"/>
              <a:gd name="connsiteY52" fmla="*/ 5886685 h 6666549"/>
              <a:gd name="connsiteX53" fmla="*/ 4073456 w 8636594"/>
              <a:gd name="connsiteY53" fmla="*/ 5861452 h 6666549"/>
              <a:gd name="connsiteX54" fmla="*/ 4110400 w 8636594"/>
              <a:gd name="connsiteY54" fmla="*/ 5835922 h 6666549"/>
              <a:gd name="connsiteX55" fmla="*/ 4146933 w 8636594"/>
              <a:gd name="connsiteY55" fmla="*/ 5810100 h 6666549"/>
              <a:gd name="connsiteX56" fmla="*/ 4183061 w 8636594"/>
              <a:gd name="connsiteY56" fmla="*/ 5783988 h 6666549"/>
              <a:gd name="connsiteX57" fmla="*/ 4218791 w 8636594"/>
              <a:gd name="connsiteY57" fmla="*/ 5757591 h 6666549"/>
              <a:gd name="connsiteX58" fmla="*/ 4254129 w 8636594"/>
              <a:gd name="connsiteY58" fmla="*/ 5730912 h 6666549"/>
              <a:gd name="connsiteX59" fmla="*/ 4289081 w 8636594"/>
              <a:gd name="connsiteY59" fmla="*/ 5703955 h 6666549"/>
              <a:gd name="connsiteX60" fmla="*/ 4323654 w 8636594"/>
              <a:gd name="connsiteY60" fmla="*/ 5676722 h 6666549"/>
              <a:gd name="connsiteX61" fmla="*/ 4357854 w 8636594"/>
              <a:gd name="connsiteY61" fmla="*/ 5649218 h 6666549"/>
              <a:gd name="connsiteX62" fmla="*/ 4391688 w 8636594"/>
              <a:gd name="connsiteY62" fmla="*/ 5621446 h 6666549"/>
              <a:gd name="connsiteX63" fmla="*/ 4425162 w 8636594"/>
              <a:gd name="connsiteY63" fmla="*/ 5593409 h 6666549"/>
              <a:gd name="connsiteX64" fmla="*/ 4458281 w 8636594"/>
              <a:gd name="connsiteY64" fmla="*/ 5565111 h 6666549"/>
              <a:gd name="connsiteX65" fmla="*/ 4491053 w 8636594"/>
              <a:gd name="connsiteY65" fmla="*/ 5536556 h 6666549"/>
              <a:gd name="connsiteX66" fmla="*/ 4523484 w 8636594"/>
              <a:gd name="connsiteY66" fmla="*/ 5507747 h 6666549"/>
              <a:gd name="connsiteX67" fmla="*/ 4555580 w 8636594"/>
              <a:gd name="connsiteY67" fmla="*/ 5478687 h 6666549"/>
              <a:gd name="connsiteX68" fmla="*/ 4587347 w 8636594"/>
              <a:gd name="connsiteY68" fmla="*/ 5449380 h 6666549"/>
              <a:gd name="connsiteX69" fmla="*/ 4618793 w 8636594"/>
              <a:gd name="connsiteY69" fmla="*/ 5419830 h 6666549"/>
              <a:gd name="connsiteX70" fmla="*/ 4649922 w 8636594"/>
              <a:gd name="connsiteY70" fmla="*/ 5390040 h 6666549"/>
              <a:gd name="connsiteX71" fmla="*/ 4680742 w 8636594"/>
              <a:gd name="connsiteY71" fmla="*/ 5360014 h 6666549"/>
              <a:gd name="connsiteX72" fmla="*/ 4711259 w 8636594"/>
              <a:gd name="connsiteY72" fmla="*/ 5329755 h 6666549"/>
              <a:gd name="connsiteX73" fmla="*/ 4741478 w 8636594"/>
              <a:gd name="connsiteY73" fmla="*/ 5299266 h 6666549"/>
              <a:gd name="connsiteX74" fmla="*/ 4771408 w 8636594"/>
              <a:gd name="connsiteY74" fmla="*/ 5268551 h 6666549"/>
              <a:gd name="connsiteX75" fmla="*/ 4801053 w 8636594"/>
              <a:gd name="connsiteY75" fmla="*/ 5237614 h 6666549"/>
              <a:gd name="connsiteX76" fmla="*/ 4830420 w 8636594"/>
              <a:gd name="connsiteY76" fmla="*/ 5206458 h 6666549"/>
              <a:gd name="connsiteX77" fmla="*/ 4859516 w 8636594"/>
              <a:gd name="connsiteY77" fmla="*/ 5175087 h 6666549"/>
              <a:gd name="connsiteX78" fmla="*/ 4888347 w 8636594"/>
              <a:gd name="connsiteY78" fmla="*/ 5143504 h 6666549"/>
              <a:gd name="connsiteX79" fmla="*/ 4916919 w 8636594"/>
              <a:gd name="connsiteY79" fmla="*/ 5111713 h 6666549"/>
              <a:gd name="connsiteX80" fmla="*/ 4945238 w 8636594"/>
              <a:gd name="connsiteY80" fmla="*/ 5079717 h 6666549"/>
              <a:gd name="connsiteX81" fmla="*/ 4973311 w 8636594"/>
              <a:gd name="connsiteY81" fmla="*/ 5047519 h 6666549"/>
              <a:gd name="connsiteX82" fmla="*/ 5001145 w 8636594"/>
              <a:gd name="connsiteY82" fmla="*/ 5015124 h 6666549"/>
              <a:gd name="connsiteX83" fmla="*/ 5028745 w 8636594"/>
              <a:gd name="connsiteY83" fmla="*/ 4982535 h 6666549"/>
              <a:gd name="connsiteX84" fmla="*/ 5056117 w 8636594"/>
              <a:gd name="connsiteY84" fmla="*/ 4949755 h 6666549"/>
              <a:gd name="connsiteX85" fmla="*/ 5083269 w 8636594"/>
              <a:gd name="connsiteY85" fmla="*/ 4916787 h 6666549"/>
              <a:gd name="connsiteX86" fmla="*/ 5110207 w 8636594"/>
              <a:gd name="connsiteY86" fmla="*/ 4883636 h 6666549"/>
              <a:gd name="connsiteX87" fmla="*/ 5136937 w 8636594"/>
              <a:gd name="connsiteY87" fmla="*/ 4850305 h 6666549"/>
              <a:gd name="connsiteX88" fmla="*/ 5163464 w 8636594"/>
              <a:gd name="connsiteY88" fmla="*/ 4816797 h 6666549"/>
              <a:gd name="connsiteX89" fmla="*/ 5215940 w 8636594"/>
              <a:gd name="connsiteY89" fmla="*/ 4749265 h 6666549"/>
              <a:gd name="connsiteX90" fmla="*/ 5267684 w 8636594"/>
              <a:gd name="connsiteY90" fmla="*/ 4681068 h 6666549"/>
              <a:gd name="connsiteX91" fmla="*/ 5318748 w 8636594"/>
              <a:gd name="connsiteY91" fmla="*/ 4612234 h 6666549"/>
              <a:gd name="connsiteX92" fmla="*/ 5369182 w 8636594"/>
              <a:gd name="connsiteY92" fmla="*/ 4542793 h 6666549"/>
              <a:gd name="connsiteX93" fmla="*/ 5419038 w 8636594"/>
              <a:gd name="connsiteY93" fmla="*/ 4472771 h 6666549"/>
              <a:gd name="connsiteX94" fmla="*/ 5468365 w 8636594"/>
              <a:gd name="connsiteY94" fmla="*/ 4402196 h 6666549"/>
              <a:gd name="connsiteX95" fmla="*/ 5517215 w 8636594"/>
              <a:gd name="connsiteY95" fmla="*/ 4331098 h 6666549"/>
              <a:gd name="connsiteX96" fmla="*/ 5565637 w 8636594"/>
              <a:gd name="connsiteY96" fmla="*/ 4259503 h 6666549"/>
              <a:gd name="connsiteX97" fmla="*/ 5613684 w 8636594"/>
              <a:gd name="connsiteY97" fmla="*/ 4187441 h 6666549"/>
              <a:gd name="connsiteX98" fmla="*/ 5685160 w 8636594"/>
              <a:gd name="connsiteY98" fmla="*/ 4078531 h 6666549"/>
              <a:gd name="connsiteX99" fmla="*/ 5756074 w 8636594"/>
              <a:gd name="connsiteY99" fmla="*/ 3968727 h 6666549"/>
              <a:gd name="connsiteX100" fmla="*/ 5873483 w 8636594"/>
              <a:gd name="connsiteY100" fmla="*/ 3783989 h 6666549"/>
              <a:gd name="connsiteX101" fmla="*/ 6203209 w 8636594"/>
              <a:gd name="connsiteY101" fmla="*/ 3258640 h 6666549"/>
              <a:gd name="connsiteX102" fmla="*/ 6299430 w 8636594"/>
              <a:gd name="connsiteY102" fmla="*/ 3107321 h 6666549"/>
              <a:gd name="connsiteX103" fmla="*/ 6372650 w 8636594"/>
              <a:gd name="connsiteY103" fmla="*/ 2993735 h 6666549"/>
              <a:gd name="connsiteX104" fmla="*/ 6453197 w 8636594"/>
              <a:gd name="connsiteY104" fmla="*/ 2869788 h 6666549"/>
              <a:gd name="connsiteX105" fmla="*/ 6564167 w 8636594"/>
              <a:gd name="connsiteY105" fmla="*/ 2696807 h 6666549"/>
              <a:gd name="connsiteX106" fmla="*/ 6976233 w 8636594"/>
              <a:gd name="connsiteY106" fmla="*/ 2045274 h 6666549"/>
              <a:gd name="connsiteX107" fmla="*/ 7086755 w 8636594"/>
              <a:gd name="connsiteY107" fmla="*/ 1872743 h 6666549"/>
              <a:gd name="connsiteX108" fmla="*/ 7170279 w 8636594"/>
              <a:gd name="connsiteY108" fmla="*/ 1744202 h 6666549"/>
              <a:gd name="connsiteX109" fmla="*/ 7226351 w 8636594"/>
              <a:gd name="connsiteY109" fmla="*/ 1659017 h 6666549"/>
              <a:gd name="connsiteX110" fmla="*/ 7282789 w 8636594"/>
              <a:gd name="connsiteY110" fmla="*/ 1574303 h 6666549"/>
              <a:gd name="connsiteX111" fmla="*/ 7339643 w 8636594"/>
              <a:gd name="connsiteY111" fmla="*/ 1490113 h 6666549"/>
              <a:gd name="connsiteX112" fmla="*/ 7396957 w 8636594"/>
              <a:gd name="connsiteY112" fmla="*/ 1406503 h 6666549"/>
              <a:gd name="connsiteX113" fmla="*/ 7454781 w 8636594"/>
              <a:gd name="connsiteY113" fmla="*/ 1323526 h 6666549"/>
              <a:gd name="connsiteX114" fmla="*/ 7513161 w 8636594"/>
              <a:gd name="connsiteY114" fmla="*/ 1241237 h 6666549"/>
              <a:gd name="connsiteX115" fmla="*/ 7572144 w 8636594"/>
              <a:gd name="connsiteY115" fmla="*/ 1159689 h 6666549"/>
              <a:gd name="connsiteX116" fmla="*/ 7601877 w 8636594"/>
              <a:gd name="connsiteY116" fmla="*/ 1119210 h 6666549"/>
              <a:gd name="connsiteX117" fmla="*/ 7631779 w 8636594"/>
              <a:gd name="connsiteY117" fmla="*/ 1078937 h 6666549"/>
              <a:gd name="connsiteX118" fmla="*/ 7661855 w 8636594"/>
              <a:gd name="connsiteY118" fmla="*/ 1038876 h 6666549"/>
              <a:gd name="connsiteX119" fmla="*/ 7692111 w 8636594"/>
              <a:gd name="connsiteY119" fmla="*/ 999035 h 6666549"/>
              <a:gd name="connsiteX120" fmla="*/ 7722554 w 8636594"/>
              <a:gd name="connsiteY120" fmla="*/ 959419 h 6666549"/>
              <a:gd name="connsiteX121" fmla="*/ 7753190 w 8636594"/>
              <a:gd name="connsiteY121" fmla="*/ 920037 h 6666549"/>
              <a:gd name="connsiteX122" fmla="*/ 7784023 w 8636594"/>
              <a:gd name="connsiteY122" fmla="*/ 880894 h 6666549"/>
              <a:gd name="connsiteX123" fmla="*/ 7815061 w 8636594"/>
              <a:gd name="connsiteY123" fmla="*/ 841997 h 6666549"/>
              <a:gd name="connsiteX124" fmla="*/ 7846308 w 8636594"/>
              <a:gd name="connsiteY124" fmla="*/ 803354 h 6666549"/>
              <a:gd name="connsiteX125" fmla="*/ 7877772 w 8636594"/>
              <a:gd name="connsiteY125" fmla="*/ 764970 h 6666549"/>
              <a:gd name="connsiteX126" fmla="*/ 7909458 w 8636594"/>
              <a:gd name="connsiteY126" fmla="*/ 726853 h 6666549"/>
              <a:gd name="connsiteX127" fmla="*/ 7941371 w 8636594"/>
              <a:gd name="connsiteY127" fmla="*/ 689010 h 6666549"/>
              <a:gd name="connsiteX128" fmla="*/ 7973518 w 8636594"/>
              <a:gd name="connsiteY128" fmla="*/ 651447 h 6666549"/>
              <a:gd name="connsiteX129" fmla="*/ 8005905 w 8636594"/>
              <a:gd name="connsiteY129" fmla="*/ 614171 h 6666549"/>
              <a:gd name="connsiteX130" fmla="*/ 8038538 w 8636594"/>
              <a:gd name="connsiteY130" fmla="*/ 577189 h 6666549"/>
              <a:gd name="connsiteX131" fmla="*/ 8071421 w 8636594"/>
              <a:gd name="connsiteY131" fmla="*/ 540507 h 6666549"/>
              <a:gd name="connsiteX132" fmla="*/ 8104563 w 8636594"/>
              <a:gd name="connsiteY132" fmla="*/ 504132 h 6666549"/>
              <a:gd name="connsiteX133" fmla="*/ 8137967 w 8636594"/>
              <a:gd name="connsiteY133" fmla="*/ 468072 h 6666549"/>
              <a:gd name="connsiteX134" fmla="*/ 8171641 w 8636594"/>
              <a:gd name="connsiteY134" fmla="*/ 432332 h 6666549"/>
              <a:gd name="connsiteX135" fmla="*/ 8205590 w 8636594"/>
              <a:gd name="connsiteY135" fmla="*/ 396920 h 6666549"/>
              <a:gd name="connsiteX136" fmla="*/ 8239820 w 8636594"/>
              <a:gd name="connsiteY136" fmla="*/ 361843 h 6666549"/>
              <a:gd name="connsiteX137" fmla="*/ 8274337 w 8636594"/>
              <a:gd name="connsiteY137" fmla="*/ 327107 h 6666549"/>
              <a:gd name="connsiteX138" fmla="*/ 8309147 w 8636594"/>
              <a:gd name="connsiteY138" fmla="*/ 292718 h 6666549"/>
              <a:gd name="connsiteX139" fmla="*/ 8344256 w 8636594"/>
              <a:gd name="connsiteY139" fmla="*/ 258685 h 6666549"/>
              <a:gd name="connsiteX140" fmla="*/ 8379669 w 8636594"/>
              <a:gd name="connsiteY140" fmla="*/ 225013 h 6666549"/>
              <a:gd name="connsiteX141" fmla="*/ 8415394 w 8636594"/>
              <a:gd name="connsiteY141" fmla="*/ 191709 h 6666549"/>
              <a:gd name="connsiteX142" fmla="*/ 8451434 w 8636594"/>
              <a:gd name="connsiteY142" fmla="*/ 158780 h 6666549"/>
              <a:gd name="connsiteX143" fmla="*/ 8487798 w 8636594"/>
              <a:gd name="connsiteY143" fmla="*/ 126233 h 6666549"/>
              <a:gd name="connsiteX144" fmla="*/ 8524489 w 8636594"/>
              <a:gd name="connsiteY144" fmla="*/ 94075 h 6666549"/>
              <a:gd name="connsiteX145" fmla="*/ 8561515 w 8636594"/>
              <a:gd name="connsiteY145" fmla="*/ 62312 h 6666549"/>
              <a:gd name="connsiteX146" fmla="*/ 8598881 w 8636594"/>
              <a:gd name="connsiteY146" fmla="*/ 30951 h 6666549"/>
              <a:gd name="connsiteX147" fmla="*/ 8636594 w 8636594"/>
              <a:gd name="connsiteY147" fmla="*/ 0 h 6666549"/>
              <a:gd name="connsiteX0" fmla="*/ 8636594 w 8636594"/>
              <a:gd name="connsiteY0" fmla="*/ 0 h 6658735"/>
              <a:gd name="connsiteX1" fmla="*/ 5293 w 8636594"/>
              <a:gd name="connsiteY1" fmla="*/ 0 h 6658735"/>
              <a:gd name="connsiteX2" fmla="*/ 0 w 8636594"/>
              <a:gd name="connsiteY2" fmla="*/ 5587843 h 6658735"/>
              <a:gd name="connsiteX3" fmla="*/ 1594033 w 8636594"/>
              <a:gd name="connsiteY3" fmla="*/ 5600057 h 6658735"/>
              <a:gd name="connsiteX4" fmla="*/ 1686068 w 8636594"/>
              <a:gd name="connsiteY4" fmla="*/ 5599745 h 6658735"/>
              <a:gd name="connsiteX5" fmla="*/ 1883237 w 8636594"/>
              <a:gd name="connsiteY5" fmla="*/ 5855484 h 6658735"/>
              <a:gd name="connsiteX6" fmla="*/ 2084977 w 8636594"/>
              <a:gd name="connsiteY6" fmla="*/ 5695440 h 6658735"/>
              <a:gd name="connsiteX7" fmla="*/ 1820216 w 8636594"/>
              <a:gd name="connsiteY7" fmla="*/ 6658735 h 6658735"/>
              <a:gd name="connsiteX8" fmla="*/ 1882914 w 8636594"/>
              <a:gd name="connsiteY8" fmla="*/ 6650463 h 6658735"/>
              <a:gd name="connsiteX9" fmla="*/ 1944909 w 8636594"/>
              <a:gd name="connsiteY9" fmla="*/ 6641737 h 6658735"/>
              <a:gd name="connsiteX10" fmla="*/ 2006208 w 8636594"/>
              <a:gd name="connsiteY10" fmla="*/ 6632561 h 6658735"/>
              <a:gd name="connsiteX11" fmla="*/ 2066817 w 8636594"/>
              <a:gd name="connsiteY11" fmla="*/ 6622937 h 6658735"/>
              <a:gd name="connsiteX12" fmla="*/ 2126742 w 8636594"/>
              <a:gd name="connsiteY12" fmla="*/ 6612869 h 6658735"/>
              <a:gd name="connsiteX13" fmla="*/ 2185991 w 8636594"/>
              <a:gd name="connsiteY13" fmla="*/ 6602362 h 6658735"/>
              <a:gd name="connsiteX14" fmla="*/ 2244569 w 8636594"/>
              <a:gd name="connsiteY14" fmla="*/ 6591417 h 6658735"/>
              <a:gd name="connsiteX15" fmla="*/ 2302482 w 8636594"/>
              <a:gd name="connsiteY15" fmla="*/ 6580040 h 6658735"/>
              <a:gd name="connsiteX16" fmla="*/ 2359737 w 8636594"/>
              <a:gd name="connsiteY16" fmla="*/ 6568233 h 6658735"/>
              <a:gd name="connsiteX17" fmla="*/ 2416341 w 8636594"/>
              <a:gd name="connsiteY17" fmla="*/ 6555999 h 6658735"/>
              <a:gd name="connsiteX18" fmla="*/ 2472299 w 8636594"/>
              <a:gd name="connsiteY18" fmla="*/ 6543344 h 6658735"/>
              <a:gd name="connsiteX19" fmla="*/ 2527618 w 8636594"/>
              <a:gd name="connsiteY19" fmla="*/ 6530269 h 6658735"/>
              <a:gd name="connsiteX20" fmla="*/ 2582304 w 8636594"/>
              <a:gd name="connsiteY20" fmla="*/ 6516778 h 6658735"/>
              <a:gd name="connsiteX21" fmla="*/ 2636364 w 8636594"/>
              <a:gd name="connsiteY21" fmla="*/ 6502876 h 6658735"/>
              <a:gd name="connsiteX22" fmla="*/ 2689804 w 8636594"/>
              <a:gd name="connsiteY22" fmla="*/ 6488565 h 6658735"/>
              <a:gd name="connsiteX23" fmla="*/ 2742629 w 8636594"/>
              <a:gd name="connsiteY23" fmla="*/ 6473849 h 6658735"/>
              <a:gd name="connsiteX24" fmla="*/ 2794848 w 8636594"/>
              <a:gd name="connsiteY24" fmla="*/ 6458731 h 6658735"/>
              <a:gd name="connsiteX25" fmla="*/ 2846466 w 8636594"/>
              <a:gd name="connsiteY25" fmla="*/ 6443216 h 6658735"/>
              <a:gd name="connsiteX26" fmla="*/ 2897488 w 8636594"/>
              <a:gd name="connsiteY26" fmla="*/ 6427305 h 6658735"/>
              <a:gd name="connsiteX27" fmla="*/ 2947923 w 8636594"/>
              <a:gd name="connsiteY27" fmla="*/ 6411004 h 6658735"/>
              <a:gd name="connsiteX28" fmla="*/ 2997775 w 8636594"/>
              <a:gd name="connsiteY28" fmla="*/ 6394316 h 6658735"/>
              <a:gd name="connsiteX29" fmla="*/ 3047052 w 8636594"/>
              <a:gd name="connsiteY29" fmla="*/ 6377243 h 6658735"/>
              <a:gd name="connsiteX30" fmla="*/ 3095759 w 8636594"/>
              <a:gd name="connsiteY30" fmla="*/ 6359791 h 6658735"/>
              <a:gd name="connsiteX31" fmla="*/ 3143903 w 8636594"/>
              <a:gd name="connsiteY31" fmla="*/ 6341961 h 6658735"/>
              <a:gd name="connsiteX32" fmla="*/ 3191491 w 8636594"/>
              <a:gd name="connsiteY32" fmla="*/ 6323757 h 6658735"/>
              <a:gd name="connsiteX33" fmla="*/ 3238528 w 8636594"/>
              <a:gd name="connsiteY33" fmla="*/ 6305184 h 6658735"/>
              <a:gd name="connsiteX34" fmla="*/ 3285021 w 8636594"/>
              <a:gd name="connsiteY34" fmla="*/ 6286245 h 6658735"/>
              <a:gd name="connsiteX35" fmla="*/ 3330977 w 8636594"/>
              <a:gd name="connsiteY35" fmla="*/ 6266942 h 6658735"/>
              <a:gd name="connsiteX36" fmla="*/ 3376401 w 8636594"/>
              <a:gd name="connsiteY36" fmla="*/ 6247281 h 6658735"/>
              <a:gd name="connsiteX37" fmla="*/ 3421300 w 8636594"/>
              <a:gd name="connsiteY37" fmla="*/ 6227263 h 6658735"/>
              <a:gd name="connsiteX38" fmla="*/ 3465680 w 8636594"/>
              <a:gd name="connsiteY38" fmla="*/ 6206893 h 6658735"/>
              <a:gd name="connsiteX39" fmla="*/ 3509548 w 8636594"/>
              <a:gd name="connsiteY39" fmla="*/ 6186174 h 6658735"/>
              <a:gd name="connsiteX40" fmla="*/ 3552910 w 8636594"/>
              <a:gd name="connsiteY40" fmla="*/ 6165110 h 6658735"/>
              <a:gd name="connsiteX41" fmla="*/ 3595773 w 8636594"/>
              <a:gd name="connsiteY41" fmla="*/ 6143704 h 6658735"/>
              <a:gd name="connsiteX42" fmla="*/ 3638142 w 8636594"/>
              <a:gd name="connsiteY42" fmla="*/ 6121960 h 6658735"/>
              <a:gd name="connsiteX43" fmla="*/ 3680024 w 8636594"/>
              <a:gd name="connsiteY43" fmla="*/ 6099881 h 6658735"/>
              <a:gd name="connsiteX44" fmla="*/ 3721426 w 8636594"/>
              <a:gd name="connsiteY44" fmla="*/ 6077471 h 6658735"/>
              <a:gd name="connsiteX45" fmla="*/ 3762353 w 8636594"/>
              <a:gd name="connsiteY45" fmla="*/ 6054733 h 6658735"/>
              <a:gd name="connsiteX46" fmla="*/ 3802812 w 8636594"/>
              <a:gd name="connsiteY46" fmla="*/ 6031671 h 6658735"/>
              <a:gd name="connsiteX47" fmla="*/ 3842810 w 8636594"/>
              <a:gd name="connsiteY47" fmla="*/ 6008288 h 6658735"/>
              <a:gd name="connsiteX48" fmla="*/ 3882352 w 8636594"/>
              <a:gd name="connsiteY48" fmla="*/ 5984588 h 6658735"/>
              <a:gd name="connsiteX49" fmla="*/ 3921445 w 8636594"/>
              <a:gd name="connsiteY49" fmla="*/ 5960574 h 6658735"/>
              <a:gd name="connsiteX50" fmla="*/ 3960096 w 8636594"/>
              <a:gd name="connsiteY50" fmla="*/ 5936250 h 6658735"/>
              <a:gd name="connsiteX51" fmla="*/ 3998311 w 8636594"/>
              <a:gd name="connsiteY51" fmla="*/ 5911619 h 6658735"/>
              <a:gd name="connsiteX52" fmla="*/ 4036095 w 8636594"/>
              <a:gd name="connsiteY52" fmla="*/ 5886685 h 6658735"/>
              <a:gd name="connsiteX53" fmla="*/ 4073456 w 8636594"/>
              <a:gd name="connsiteY53" fmla="*/ 5861452 h 6658735"/>
              <a:gd name="connsiteX54" fmla="*/ 4110400 w 8636594"/>
              <a:gd name="connsiteY54" fmla="*/ 5835922 h 6658735"/>
              <a:gd name="connsiteX55" fmla="*/ 4146933 w 8636594"/>
              <a:gd name="connsiteY55" fmla="*/ 5810100 h 6658735"/>
              <a:gd name="connsiteX56" fmla="*/ 4183061 w 8636594"/>
              <a:gd name="connsiteY56" fmla="*/ 5783988 h 6658735"/>
              <a:gd name="connsiteX57" fmla="*/ 4218791 w 8636594"/>
              <a:gd name="connsiteY57" fmla="*/ 5757591 h 6658735"/>
              <a:gd name="connsiteX58" fmla="*/ 4254129 w 8636594"/>
              <a:gd name="connsiteY58" fmla="*/ 5730912 h 6658735"/>
              <a:gd name="connsiteX59" fmla="*/ 4289081 w 8636594"/>
              <a:gd name="connsiteY59" fmla="*/ 5703955 h 6658735"/>
              <a:gd name="connsiteX60" fmla="*/ 4323654 w 8636594"/>
              <a:gd name="connsiteY60" fmla="*/ 5676722 h 6658735"/>
              <a:gd name="connsiteX61" fmla="*/ 4357854 w 8636594"/>
              <a:gd name="connsiteY61" fmla="*/ 5649218 h 6658735"/>
              <a:gd name="connsiteX62" fmla="*/ 4391688 w 8636594"/>
              <a:gd name="connsiteY62" fmla="*/ 5621446 h 6658735"/>
              <a:gd name="connsiteX63" fmla="*/ 4425162 w 8636594"/>
              <a:gd name="connsiteY63" fmla="*/ 5593409 h 6658735"/>
              <a:gd name="connsiteX64" fmla="*/ 4458281 w 8636594"/>
              <a:gd name="connsiteY64" fmla="*/ 5565111 h 6658735"/>
              <a:gd name="connsiteX65" fmla="*/ 4491053 w 8636594"/>
              <a:gd name="connsiteY65" fmla="*/ 5536556 h 6658735"/>
              <a:gd name="connsiteX66" fmla="*/ 4523484 w 8636594"/>
              <a:gd name="connsiteY66" fmla="*/ 5507747 h 6658735"/>
              <a:gd name="connsiteX67" fmla="*/ 4555580 w 8636594"/>
              <a:gd name="connsiteY67" fmla="*/ 5478687 h 6658735"/>
              <a:gd name="connsiteX68" fmla="*/ 4587347 w 8636594"/>
              <a:gd name="connsiteY68" fmla="*/ 5449380 h 6658735"/>
              <a:gd name="connsiteX69" fmla="*/ 4618793 w 8636594"/>
              <a:gd name="connsiteY69" fmla="*/ 5419830 h 6658735"/>
              <a:gd name="connsiteX70" fmla="*/ 4649922 w 8636594"/>
              <a:gd name="connsiteY70" fmla="*/ 5390040 h 6658735"/>
              <a:gd name="connsiteX71" fmla="*/ 4680742 w 8636594"/>
              <a:gd name="connsiteY71" fmla="*/ 5360014 h 6658735"/>
              <a:gd name="connsiteX72" fmla="*/ 4711259 w 8636594"/>
              <a:gd name="connsiteY72" fmla="*/ 5329755 h 6658735"/>
              <a:gd name="connsiteX73" fmla="*/ 4741478 w 8636594"/>
              <a:gd name="connsiteY73" fmla="*/ 5299266 h 6658735"/>
              <a:gd name="connsiteX74" fmla="*/ 4771408 w 8636594"/>
              <a:gd name="connsiteY74" fmla="*/ 5268551 h 6658735"/>
              <a:gd name="connsiteX75" fmla="*/ 4801053 w 8636594"/>
              <a:gd name="connsiteY75" fmla="*/ 5237614 h 6658735"/>
              <a:gd name="connsiteX76" fmla="*/ 4830420 w 8636594"/>
              <a:gd name="connsiteY76" fmla="*/ 5206458 h 6658735"/>
              <a:gd name="connsiteX77" fmla="*/ 4859516 w 8636594"/>
              <a:gd name="connsiteY77" fmla="*/ 5175087 h 6658735"/>
              <a:gd name="connsiteX78" fmla="*/ 4888347 w 8636594"/>
              <a:gd name="connsiteY78" fmla="*/ 5143504 h 6658735"/>
              <a:gd name="connsiteX79" fmla="*/ 4916919 w 8636594"/>
              <a:gd name="connsiteY79" fmla="*/ 5111713 h 6658735"/>
              <a:gd name="connsiteX80" fmla="*/ 4945238 w 8636594"/>
              <a:gd name="connsiteY80" fmla="*/ 5079717 h 6658735"/>
              <a:gd name="connsiteX81" fmla="*/ 4973311 w 8636594"/>
              <a:gd name="connsiteY81" fmla="*/ 5047519 h 6658735"/>
              <a:gd name="connsiteX82" fmla="*/ 5001145 w 8636594"/>
              <a:gd name="connsiteY82" fmla="*/ 5015124 h 6658735"/>
              <a:gd name="connsiteX83" fmla="*/ 5028745 w 8636594"/>
              <a:gd name="connsiteY83" fmla="*/ 4982535 h 6658735"/>
              <a:gd name="connsiteX84" fmla="*/ 5056117 w 8636594"/>
              <a:gd name="connsiteY84" fmla="*/ 4949755 h 6658735"/>
              <a:gd name="connsiteX85" fmla="*/ 5083269 w 8636594"/>
              <a:gd name="connsiteY85" fmla="*/ 4916787 h 6658735"/>
              <a:gd name="connsiteX86" fmla="*/ 5110207 w 8636594"/>
              <a:gd name="connsiteY86" fmla="*/ 4883636 h 6658735"/>
              <a:gd name="connsiteX87" fmla="*/ 5136937 w 8636594"/>
              <a:gd name="connsiteY87" fmla="*/ 4850305 h 6658735"/>
              <a:gd name="connsiteX88" fmla="*/ 5163464 w 8636594"/>
              <a:gd name="connsiteY88" fmla="*/ 4816797 h 6658735"/>
              <a:gd name="connsiteX89" fmla="*/ 5215940 w 8636594"/>
              <a:gd name="connsiteY89" fmla="*/ 4749265 h 6658735"/>
              <a:gd name="connsiteX90" fmla="*/ 5267684 w 8636594"/>
              <a:gd name="connsiteY90" fmla="*/ 4681068 h 6658735"/>
              <a:gd name="connsiteX91" fmla="*/ 5318748 w 8636594"/>
              <a:gd name="connsiteY91" fmla="*/ 4612234 h 6658735"/>
              <a:gd name="connsiteX92" fmla="*/ 5369182 w 8636594"/>
              <a:gd name="connsiteY92" fmla="*/ 4542793 h 6658735"/>
              <a:gd name="connsiteX93" fmla="*/ 5419038 w 8636594"/>
              <a:gd name="connsiteY93" fmla="*/ 4472771 h 6658735"/>
              <a:gd name="connsiteX94" fmla="*/ 5468365 w 8636594"/>
              <a:gd name="connsiteY94" fmla="*/ 4402196 h 6658735"/>
              <a:gd name="connsiteX95" fmla="*/ 5517215 w 8636594"/>
              <a:gd name="connsiteY95" fmla="*/ 4331098 h 6658735"/>
              <a:gd name="connsiteX96" fmla="*/ 5565637 w 8636594"/>
              <a:gd name="connsiteY96" fmla="*/ 4259503 h 6658735"/>
              <a:gd name="connsiteX97" fmla="*/ 5613684 w 8636594"/>
              <a:gd name="connsiteY97" fmla="*/ 4187441 h 6658735"/>
              <a:gd name="connsiteX98" fmla="*/ 5685160 w 8636594"/>
              <a:gd name="connsiteY98" fmla="*/ 4078531 h 6658735"/>
              <a:gd name="connsiteX99" fmla="*/ 5756074 w 8636594"/>
              <a:gd name="connsiteY99" fmla="*/ 3968727 h 6658735"/>
              <a:gd name="connsiteX100" fmla="*/ 5873483 w 8636594"/>
              <a:gd name="connsiteY100" fmla="*/ 3783989 h 6658735"/>
              <a:gd name="connsiteX101" fmla="*/ 6203209 w 8636594"/>
              <a:gd name="connsiteY101" fmla="*/ 3258640 h 6658735"/>
              <a:gd name="connsiteX102" fmla="*/ 6299430 w 8636594"/>
              <a:gd name="connsiteY102" fmla="*/ 3107321 h 6658735"/>
              <a:gd name="connsiteX103" fmla="*/ 6372650 w 8636594"/>
              <a:gd name="connsiteY103" fmla="*/ 2993735 h 6658735"/>
              <a:gd name="connsiteX104" fmla="*/ 6453197 w 8636594"/>
              <a:gd name="connsiteY104" fmla="*/ 2869788 h 6658735"/>
              <a:gd name="connsiteX105" fmla="*/ 6564167 w 8636594"/>
              <a:gd name="connsiteY105" fmla="*/ 2696807 h 6658735"/>
              <a:gd name="connsiteX106" fmla="*/ 6976233 w 8636594"/>
              <a:gd name="connsiteY106" fmla="*/ 2045274 h 6658735"/>
              <a:gd name="connsiteX107" fmla="*/ 7086755 w 8636594"/>
              <a:gd name="connsiteY107" fmla="*/ 1872743 h 6658735"/>
              <a:gd name="connsiteX108" fmla="*/ 7170279 w 8636594"/>
              <a:gd name="connsiteY108" fmla="*/ 1744202 h 6658735"/>
              <a:gd name="connsiteX109" fmla="*/ 7226351 w 8636594"/>
              <a:gd name="connsiteY109" fmla="*/ 1659017 h 6658735"/>
              <a:gd name="connsiteX110" fmla="*/ 7282789 w 8636594"/>
              <a:gd name="connsiteY110" fmla="*/ 1574303 h 6658735"/>
              <a:gd name="connsiteX111" fmla="*/ 7339643 w 8636594"/>
              <a:gd name="connsiteY111" fmla="*/ 1490113 h 6658735"/>
              <a:gd name="connsiteX112" fmla="*/ 7396957 w 8636594"/>
              <a:gd name="connsiteY112" fmla="*/ 1406503 h 6658735"/>
              <a:gd name="connsiteX113" fmla="*/ 7454781 w 8636594"/>
              <a:gd name="connsiteY113" fmla="*/ 1323526 h 6658735"/>
              <a:gd name="connsiteX114" fmla="*/ 7513161 w 8636594"/>
              <a:gd name="connsiteY114" fmla="*/ 1241237 h 6658735"/>
              <a:gd name="connsiteX115" fmla="*/ 7572144 w 8636594"/>
              <a:gd name="connsiteY115" fmla="*/ 1159689 h 6658735"/>
              <a:gd name="connsiteX116" fmla="*/ 7601877 w 8636594"/>
              <a:gd name="connsiteY116" fmla="*/ 1119210 h 6658735"/>
              <a:gd name="connsiteX117" fmla="*/ 7631779 w 8636594"/>
              <a:gd name="connsiteY117" fmla="*/ 1078937 h 6658735"/>
              <a:gd name="connsiteX118" fmla="*/ 7661855 w 8636594"/>
              <a:gd name="connsiteY118" fmla="*/ 1038876 h 6658735"/>
              <a:gd name="connsiteX119" fmla="*/ 7692111 w 8636594"/>
              <a:gd name="connsiteY119" fmla="*/ 999035 h 6658735"/>
              <a:gd name="connsiteX120" fmla="*/ 7722554 w 8636594"/>
              <a:gd name="connsiteY120" fmla="*/ 959419 h 6658735"/>
              <a:gd name="connsiteX121" fmla="*/ 7753190 w 8636594"/>
              <a:gd name="connsiteY121" fmla="*/ 920037 h 6658735"/>
              <a:gd name="connsiteX122" fmla="*/ 7784023 w 8636594"/>
              <a:gd name="connsiteY122" fmla="*/ 880894 h 6658735"/>
              <a:gd name="connsiteX123" fmla="*/ 7815061 w 8636594"/>
              <a:gd name="connsiteY123" fmla="*/ 841997 h 6658735"/>
              <a:gd name="connsiteX124" fmla="*/ 7846308 w 8636594"/>
              <a:gd name="connsiteY124" fmla="*/ 803354 h 6658735"/>
              <a:gd name="connsiteX125" fmla="*/ 7877772 w 8636594"/>
              <a:gd name="connsiteY125" fmla="*/ 764970 h 6658735"/>
              <a:gd name="connsiteX126" fmla="*/ 7909458 w 8636594"/>
              <a:gd name="connsiteY126" fmla="*/ 726853 h 6658735"/>
              <a:gd name="connsiteX127" fmla="*/ 7941371 w 8636594"/>
              <a:gd name="connsiteY127" fmla="*/ 689010 h 6658735"/>
              <a:gd name="connsiteX128" fmla="*/ 7973518 w 8636594"/>
              <a:gd name="connsiteY128" fmla="*/ 651447 h 6658735"/>
              <a:gd name="connsiteX129" fmla="*/ 8005905 w 8636594"/>
              <a:gd name="connsiteY129" fmla="*/ 614171 h 6658735"/>
              <a:gd name="connsiteX130" fmla="*/ 8038538 w 8636594"/>
              <a:gd name="connsiteY130" fmla="*/ 577189 h 6658735"/>
              <a:gd name="connsiteX131" fmla="*/ 8071421 w 8636594"/>
              <a:gd name="connsiteY131" fmla="*/ 540507 h 6658735"/>
              <a:gd name="connsiteX132" fmla="*/ 8104563 w 8636594"/>
              <a:gd name="connsiteY132" fmla="*/ 504132 h 6658735"/>
              <a:gd name="connsiteX133" fmla="*/ 8137967 w 8636594"/>
              <a:gd name="connsiteY133" fmla="*/ 468072 h 6658735"/>
              <a:gd name="connsiteX134" fmla="*/ 8171641 w 8636594"/>
              <a:gd name="connsiteY134" fmla="*/ 432332 h 6658735"/>
              <a:gd name="connsiteX135" fmla="*/ 8205590 w 8636594"/>
              <a:gd name="connsiteY135" fmla="*/ 396920 h 6658735"/>
              <a:gd name="connsiteX136" fmla="*/ 8239820 w 8636594"/>
              <a:gd name="connsiteY136" fmla="*/ 361843 h 6658735"/>
              <a:gd name="connsiteX137" fmla="*/ 8274337 w 8636594"/>
              <a:gd name="connsiteY137" fmla="*/ 327107 h 6658735"/>
              <a:gd name="connsiteX138" fmla="*/ 8309147 w 8636594"/>
              <a:gd name="connsiteY138" fmla="*/ 292718 h 6658735"/>
              <a:gd name="connsiteX139" fmla="*/ 8344256 w 8636594"/>
              <a:gd name="connsiteY139" fmla="*/ 258685 h 6658735"/>
              <a:gd name="connsiteX140" fmla="*/ 8379669 w 8636594"/>
              <a:gd name="connsiteY140" fmla="*/ 225013 h 6658735"/>
              <a:gd name="connsiteX141" fmla="*/ 8415394 w 8636594"/>
              <a:gd name="connsiteY141" fmla="*/ 191709 h 6658735"/>
              <a:gd name="connsiteX142" fmla="*/ 8451434 w 8636594"/>
              <a:gd name="connsiteY142" fmla="*/ 158780 h 6658735"/>
              <a:gd name="connsiteX143" fmla="*/ 8487798 w 8636594"/>
              <a:gd name="connsiteY143" fmla="*/ 126233 h 6658735"/>
              <a:gd name="connsiteX144" fmla="*/ 8524489 w 8636594"/>
              <a:gd name="connsiteY144" fmla="*/ 94075 h 6658735"/>
              <a:gd name="connsiteX145" fmla="*/ 8561515 w 8636594"/>
              <a:gd name="connsiteY145" fmla="*/ 62312 h 6658735"/>
              <a:gd name="connsiteX146" fmla="*/ 8598881 w 8636594"/>
              <a:gd name="connsiteY146" fmla="*/ 30951 h 6658735"/>
              <a:gd name="connsiteX147" fmla="*/ 8636594 w 8636594"/>
              <a:gd name="connsiteY147" fmla="*/ 0 h 6658735"/>
              <a:gd name="connsiteX0" fmla="*/ 8636594 w 8636594"/>
              <a:gd name="connsiteY0" fmla="*/ 0 h 6650463"/>
              <a:gd name="connsiteX1" fmla="*/ 5293 w 8636594"/>
              <a:gd name="connsiteY1" fmla="*/ 0 h 6650463"/>
              <a:gd name="connsiteX2" fmla="*/ 0 w 8636594"/>
              <a:gd name="connsiteY2" fmla="*/ 5587843 h 6650463"/>
              <a:gd name="connsiteX3" fmla="*/ 1594033 w 8636594"/>
              <a:gd name="connsiteY3" fmla="*/ 5600057 h 6650463"/>
              <a:gd name="connsiteX4" fmla="*/ 1686068 w 8636594"/>
              <a:gd name="connsiteY4" fmla="*/ 5599745 h 6650463"/>
              <a:gd name="connsiteX5" fmla="*/ 1883237 w 8636594"/>
              <a:gd name="connsiteY5" fmla="*/ 5855484 h 6650463"/>
              <a:gd name="connsiteX6" fmla="*/ 2084977 w 8636594"/>
              <a:gd name="connsiteY6" fmla="*/ 5695440 h 6650463"/>
              <a:gd name="connsiteX7" fmla="*/ 2222486 w 8636594"/>
              <a:gd name="connsiteY7" fmla="*/ 5687627 h 6650463"/>
              <a:gd name="connsiteX8" fmla="*/ 1882914 w 8636594"/>
              <a:gd name="connsiteY8" fmla="*/ 6650463 h 6650463"/>
              <a:gd name="connsiteX9" fmla="*/ 1944909 w 8636594"/>
              <a:gd name="connsiteY9" fmla="*/ 6641737 h 6650463"/>
              <a:gd name="connsiteX10" fmla="*/ 2006208 w 8636594"/>
              <a:gd name="connsiteY10" fmla="*/ 6632561 h 6650463"/>
              <a:gd name="connsiteX11" fmla="*/ 2066817 w 8636594"/>
              <a:gd name="connsiteY11" fmla="*/ 6622937 h 6650463"/>
              <a:gd name="connsiteX12" fmla="*/ 2126742 w 8636594"/>
              <a:gd name="connsiteY12" fmla="*/ 6612869 h 6650463"/>
              <a:gd name="connsiteX13" fmla="*/ 2185991 w 8636594"/>
              <a:gd name="connsiteY13" fmla="*/ 6602362 h 6650463"/>
              <a:gd name="connsiteX14" fmla="*/ 2244569 w 8636594"/>
              <a:gd name="connsiteY14" fmla="*/ 6591417 h 6650463"/>
              <a:gd name="connsiteX15" fmla="*/ 2302482 w 8636594"/>
              <a:gd name="connsiteY15" fmla="*/ 6580040 h 6650463"/>
              <a:gd name="connsiteX16" fmla="*/ 2359737 w 8636594"/>
              <a:gd name="connsiteY16" fmla="*/ 6568233 h 6650463"/>
              <a:gd name="connsiteX17" fmla="*/ 2416341 w 8636594"/>
              <a:gd name="connsiteY17" fmla="*/ 6555999 h 6650463"/>
              <a:gd name="connsiteX18" fmla="*/ 2472299 w 8636594"/>
              <a:gd name="connsiteY18" fmla="*/ 6543344 h 6650463"/>
              <a:gd name="connsiteX19" fmla="*/ 2527618 w 8636594"/>
              <a:gd name="connsiteY19" fmla="*/ 6530269 h 6650463"/>
              <a:gd name="connsiteX20" fmla="*/ 2582304 w 8636594"/>
              <a:gd name="connsiteY20" fmla="*/ 6516778 h 6650463"/>
              <a:gd name="connsiteX21" fmla="*/ 2636364 w 8636594"/>
              <a:gd name="connsiteY21" fmla="*/ 6502876 h 6650463"/>
              <a:gd name="connsiteX22" fmla="*/ 2689804 w 8636594"/>
              <a:gd name="connsiteY22" fmla="*/ 6488565 h 6650463"/>
              <a:gd name="connsiteX23" fmla="*/ 2742629 w 8636594"/>
              <a:gd name="connsiteY23" fmla="*/ 6473849 h 6650463"/>
              <a:gd name="connsiteX24" fmla="*/ 2794848 w 8636594"/>
              <a:gd name="connsiteY24" fmla="*/ 6458731 h 6650463"/>
              <a:gd name="connsiteX25" fmla="*/ 2846466 w 8636594"/>
              <a:gd name="connsiteY25" fmla="*/ 6443216 h 6650463"/>
              <a:gd name="connsiteX26" fmla="*/ 2897488 w 8636594"/>
              <a:gd name="connsiteY26" fmla="*/ 6427305 h 6650463"/>
              <a:gd name="connsiteX27" fmla="*/ 2947923 w 8636594"/>
              <a:gd name="connsiteY27" fmla="*/ 6411004 h 6650463"/>
              <a:gd name="connsiteX28" fmla="*/ 2997775 w 8636594"/>
              <a:gd name="connsiteY28" fmla="*/ 6394316 h 6650463"/>
              <a:gd name="connsiteX29" fmla="*/ 3047052 w 8636594"/>
              <a:gd name="connsiteY29" fmla="*/ 6377243 h 6650463"/>
              <a:gd name="connsiteX30" fmla="*/ 3095759 w 8636594"/>
              <a:gd name="connsiteY30" fmla="*/ 6359791 h 6650463"/>
              <a:gd name="connsiteX31" fmla="*/ 3143903 w 8636594"/>
              <a:gd name="connsiteY31" fmla="*/ 6341961 h 6650463"/>
              <a:gd name="connsiteX32" fmla="*/ 3191491 w 8636594"/>
              <a:gd name="connsiteY32" fmla="*/ 6323757 h 6650463"/>
              <a:gd name="connsiteX33" fmla="*/ 3238528 w 8636594"/>
              <a:gd name="connsiteY33" fmla="*/ 6305184 h 6650463"/>
              <a:gd name="connsiteX34" fmla="*/ 3285021 w 8636594"/>
              <a:gd name="connsiteY34" fmla="*/ 6286245 h 6650463"/>
              <a:gd name="connsiteX35" fmla="*/ 3330977 w 8636594"/>
              <a:gd name="connsiteY35" fmla="*/ 6266942 h 6650463"/>
              <a:gd name="connsiteX36" fmla="*/ 3376401 w 8636594"/>
              <a:gd name="connsiteY36" fmla="*/ 6247281 h 6650463"/>
              <a:gd name="connsiteX37" fmla="*/ 3421300 w 8636594"/>
              <a:gd name="connsiteY37" fmla="*/ 6227263 h 6650463"/>
              <a:gd name="connsiteX38" fmla="*/ 3465680 w 8636594"/>
              <a:gd name="connsiteY38" fmla="*/ 6206893 h 6650463"/>
              <a:gd name="connsiteX39" fmla="*/ 3509548 w 8636594"/>
              <a:gd name="connsiteY39" fmla="*/ 6186174 h 6650463"/>
              <a:gd name="connsiteX40" fmla="*/ 3552910 w 8636594"/>
              <a:gd name="connsiteY40" fmla="*/ 6165110 h 6650463"/>
              <a:gd name="connsiteX41" fmla="*/ 3595773 w 8636594"/>
              <a:gd name="connsiteY41" fmla="*/ 6143704 h 6650463"/>
              <a:gd name="connsiteX42" fmla="*/ 3638142 w 8636594"/>
              <a:gd name="connsiteY42" fmla="*/ 6121960 h 6650463"/>
              <a:gd name="connsiteX43" fmla="*/ 3680024 w 8636594"/>
              <a:gd name="connsiteY43" fmla="*/ 6099881 h 6650463"/>
              <a:gd name="connsiteX44" fmla="*/ 3721426 w 8636594"/>
              <a:gd name="connsiteY44" fmla="*/ 6077471 h 6650463"/>
              <a:gd name="connsiteX45" fmla="*/ 3762353 w 8636594"/>
              <a:gd name="connsiteY45" fmla="*/ 6054733 h 6650463"/>
              <a:gd name="connsiteX46" fmla="*/ 3802812 w 8636594"/>
              <a:gd name="connsiteY46" fmla="*/ 6031671 h 6650463"/>
              <a:gd name="connsiteX47" fmla="*/ 3842810 w 8636594"/>
              <a:gd name="connsiteY47" fmla="*/ 6008288 h 6650463"/>
              <a:gd name="connsiteX48" fmla="*/ 3882352 w 8636594"/>
              <a:gd name="connsiteY48" fmla="*/ 5984588 h 6650463"/>
              <a:gd name="connsiteX49" fmla="*/ 3921445 w 8636594"/>
              <a:gd name="connsiteY49" fmla="*/ 5960574 h 6650463"/>
              <a:gd name="connsiteX50" fmla="*/ 3960096 w 8636594"/>
              <a:gd name="connsiteY50" fmla="*/ 5936250 h 6650463"/>
              <a:gd name="connsiteX51" fmla="*/ 3998311 w 8636594"/>
              <a:gd name="connsiteY51" fmla="*/ 5911619 h 6650463"/>
              <a:gd name="connsiteX52" fmla="*/ 4036095 w 8636594"/>
              <a:gd name="connsiteY52" fmla="*/ 5886685 h 6650463"/>
              <a:gd name="connsiteX53" fmla="*/ 4073456 w 8636594"/>
              <a:gd name="connsiteY53" fmla="*/ 5861452 h 6650463"/>
              <a:gd name="connsiteX54" fmla="*/ 4110400 w 8636594"/>
              <a:gd name="connsiteY54" fmla="*/ 5835922 h 6650463"/>
              <a:gd name="connsiteX55" fmla="*/ 4146933 w 8636594"/>
              <a:gd name="connsiteY55" fmla="*/ 5810100 h 6650463"/>
              <a:gd name="connsiteX56" fmla="*/ 4183061 w 8636594"/>
              <a:gd name="connsiteY56" fmla="*/ 5783988 h 6650463"/>
              <a:gd name="connsiteX57" fmla="*/ 4218791 w 8636594"/>
              <a:gd name="connsiteY57" fmla="*/ 5757591 h 6650463"/>
              <a:gd name="connsiteX58" fmla="*/ 4254129 w 8636594"/>
              <a:gd name="connsiteY58" fmla="*/ 5730912 h 6650463"/>
              <a:gd name="connsiteX59" fmla="*/ 4289081 w 8636594"/>
              <a:gd name="connsiteY59" fmla="*/ 5703955 h 6650463"/>
              <a:gd name="connsiteX60" fmla="*/ 4323654 w 8636594"/>
              <a:gd name="connsiteY60" fmla="*/ 5676722 h 6650463"/>
              <a:gd name="connsiteX61" fmla="*/ 4357854 w 8636594"/>
              <a:gd name="connsiteY61" fmla="*/ 5649218 h 6650463"/>
              <a:gd name="connsiteX62" fmla="*/ 4391688 w 8636594"/>
              <a:gd name="connsiteY62" fmla="*/ 5621446 h 6650463"/>
              <a:gd name="connsiteX63" fmla="*/ 4425162 w 8636594"/>
              <a:gd name="connsiteY63" fmla="*/ 5593409 h 6650463"/>
              <a:gd name="connsiteX64" fmla="*/ 4458281 w 8636594"/>
              <a:gd name="connsiteY64" fmla="*/ 5565111 h 6650463"/>
              <a:gd name="connsiteX65" fmla="*/ 4491053 w 8636594"/>
              <a:gd name="connsiteY65" fmla="*/ 5536556 h 6650463"/>
              <a:gd name="connsiteX66" fmla="*/ 4523484 w 8636594"/>
              <a:gd name="connsiteY66" fmla="*/ 5507747 h 6650463"/>
              <a:gd name="connsiteX67" fmla="*/ 4555580 w 8636594"/>
              <a:gd name="connsiteY67" fmla="*/ 5478687 h 6650463"/>
              <a:gd name="connsiteX68" fmla="*/ 4587347 w 8636594"/>
              <a:gd name="connsiteY68" fmla="*/ 5449380 h 6650463"/>
              <a:gd name="connsiteX69" fmla="*/ 4618793 w 8636594"/>
              <a:gd name="connsiteY69" fmla="*/ 5419830 h 6650463"/>
              <a:gd name="connsiteX70" fmla="*/ 4649922 w 8636594"/>
              <a:gd name="connsiteY70" fmla="*/ 5390040 h 6650463"/>
              <a:gd name="connsiteX71" fmla="*/ 4680742 w 8636594"/>
              <a:gd name="connsiteY71" fmla="*/ 5360014 h 6650463"/>
              <a:gd name="connsiteX72" fmla="*/ 4711259 w 8636594"/>
              <a:gd name="connsiteY72" fmla="*/ 5329755 h 6650463"/>
              <a:gd name="connsiteX73" fmla="*/ 4741478 w 8636594"/>
              <a:gd name="connsiteY73" fmla="*/ 5299266 h 6650463"/>
              <a:gd name="connsiteX74" fmla="*/ 4771408 w 8636594"/>
              <a:gd name="connsiteY74" fmla="*/ 5268551 h 6650463"/>
              <a:gd name="connsiteX75" fmla="*/ 4801053 w 8636594"/>
              <a:gd name="connsiteY75" fmla="*/ 5237614 h 6650463"/>
              <a:gd name="connsiteX76" fmla="*/ 4830420 w 8636594"/>
              <a:gd name="connsiteY76" fmla="*/ 5206458 h 6650463"/>
              <a:gd name="connsiteX77" fmla="*/ 4859516 w 8636594"/>
              <a:gd name="connsiteY77" fmla="*/ 5175087 h 6650463"/>
              <a:gd name="connsiteX78" fmla="*/ 4888347 w 8636594"/>
              <a:gd name="connsiteY78" fmla="*/ 5143504 h 6650463"/>
              <a:gd name="connsiteX79" fmla="*/ 4916919 w 8636594"/>
              <a:gd name="connsiteY79" fmla="*/ 5111713 h 6650463"/>
              <a:gd name="connsiteX80" fmla="*/ 4945238 w 8636594"/>
              <a:gd name="connsiteY80" fmla="*/ 5079717 h 6650463"/>
              <a:gd name="connsiteX81" fmla="*/ 4973311 w 8636594"/>
              <a:gd name="connsiteY81" fmla="*/ 5047519 h 6650463"/>
              <a:gd name="connsiteX82" fmla="*/ 5001145 w 8636594"/>
              <a:gd name="connsiteY82" fmla="*/ 5015124 h 6650463"/>
              <a:gd name="connsiteX83" fmla="*/ 5028745 w 8636594"/>
              <a:gd name="connsiteY83" fmla="*/ 4982535 h 6650463"/>
              <a:gd name="connsiteX84" fmla="*/ 5056117 w 8636594"/>
              <a:gd name="connsiteY84" fmla="*/ 4949755 h 6650463"/>
              <a:gd name="connsiteX85" fmla="*/ 5083269 w 8636594"/>
              <a:gd name="connsiteY85" fmla="*/ 4916787 h 6650463"/>
              <a:gd name="connsiteX86" fmla="*/ 5110207 w 8636594"/>
              <a:gd name="connsiteY86" fmla="*/ 4883636 h 6650463"/>
              <a:gd name="connsiteX87" fmla="*/ 5136937 w 8636594"/>
              <a:gd name="connsiteY87" fmla="*/ 4850305 h 6650463"/>
              <a:gd name="connsiteX88" fmla="*/ 5163464 w 8636594"/>
              <a:gd name="connsiteY88" fmla="*/ 4816797 h 6650463"/>
              <a:gd name="connsiteX89" fmla="*/ 5215940 w 8636594"/>
              <a:gd name="connsiteY89" fmla="*/ 4749265 h 6650463"/>
              <a:gd name="connsiteX90" fmla="*/ 5267684 w 8636594"/>
              <a:gd name="connsiteY90" fmla="*/ 4681068 h 6650463"/>
              <a:gd name="connsiteX91" fmla="*/ 5318748 w 8636594"/>
              <a:gd name="connsiteY91" fmla="*/ 4612234 h 6650463"/>
              <a:gd name="connsiteX92" fmla="*/ 5369182 w 8636594"/>
              <a:gd name="connsiteY92" fmla="*/ 4542793 h 6650463"/>
              <a:gd name="connsiteX93" fmla="*/ 5419038 w 8636594"/>
              <a:gd name="connsiteY93" fmla="*/ 4472771 h 6650463"/>
              <a:gd name="connsiteX94" fmla="*/ 5468365 w 8636594"/>
              <a:gd name="connsiteY94" fmla="*/ 4402196 h 6650463"/>
              <a:gd name="connsiteX95" fmla="*/ 5517215 w 8636594"/>
              <a:gd name="connsiteY95" fmla="*/ 4331098 h 6650463"/>
              <a:gd name="connsiteX96" fmla="*/ 5565637 w 8636594"/>
              <a:gd name="connsiteY96" fmla="*/ 4259503 h 6650463"/>
              <a:gd name="connsiteX97" fmla="*/ 5613684 w 8636594"/>
              <a:gd name="connsiteY97" fmla="*/ 4187441 h 6650463"/>
              <a:gd name="connsiteX98" fmla="*/ 5685160 w 8636594"/>
              <a:gd name="connsiteY98" fmla="*/ 4078531 h 6650463"/>
              <a:gd name="connsiteX99" fmla="*/ 5756074 w 8636594"/>
              <a:gd name="connsiteY99" fmla="*/ 3968727 h 6650463"/>
              <a:gd name="connsiteX100" fmla="*/ 5873483 w 8636594"/>
              <a:gd name="connsiteY100" fmla="*/ 3783989 h 6650463"/>
              <a:gd name="connsiteX101" fmla="*/ 6203209 w 8636594"/>
              <a:gd name="connsiteY101" fmla="*/ 3258640 h 6650463"/>
              <a:gd name="connsiteX102" fmla="*/ 6299430 w 8636594"/>
              <a:gd name="connsiteY102" fmla="*/ 3107321 h 6650463"/>
              <a:gd name="connsiteX103" fmla="*/ 6372650 w 8636594"/>
              <a:gd name="connsiteY103" fmla="*/ 2993735 h 6650463"/>
              <a:gd name="connsiteX104" fmla="*/ 6453197 w 8636594"/>
              <a:gd name="connsiteY104" fmla="*/ 2869788 h 6650463"/>
              <a:gd name="connsiteX105" fmla="*/ 6564167 w 8636594"/>
              <a:gd name="connsiteY105" fmla="*/ 2696807 h 6650463"/>
              <a:gd name="connsiteX106" fmla="*/ 6976233 w 8636594"/>
              <a:gd name="connsiteY106" fmla="*/ 2045274 h 6650463"/>
              <a:gd name="connsiteX107" fmla="*/ 7086755 w 8636594"/>
              <a:gd name="connsiteY107" fmla="*/ 1872743 h 6650463"/>
              <a:gd name="connsiteX108" fmla="*/ 7170279 w 8636594"/>
              <a:gd name="connsiteY108" fmla="*/ 1744202 h 6650463"/>
              <a:gd name="connsiteX109" fmla="*/ 7226351 w 8636594"/>
              <a:gd name="connsiteY109" fmla="*/ 1659017 h 6650463"/>
              <a:gd name="connsiteX110" fmla="*/ 7282789 w 8636594"/>
              <a:gd name="connsiteY110" fmla="*/ 1574303 h 6650463"/>
              <a:gd name="connsiteX111" fmla="*/ 7339643 w 8636594"/>
              <a:gd name="connsiteY111" fmla="*/ 1490113 h 6650463"/>
              <a:gd name="connsiteX112" fmla="*/ 7396957 w 8636594"/>
              <a:gd name="connsiteY112" fmla="*/ 1406503 h 6650463"/>
              <a:gd name="connsiteX113" fmla="*/ 7454781 w 8636594"/>
              <a:gd name="connsiteY113" fmla="*/ 1323526 h 6650463"/>
              <a:gd name="connsiteX114" fmla="*/ 7513161 w 8636594"/>
              <a:gd name="connsiteY114" fmla="*/ 1241237 h 6650463"/>
              <a:gd name="connsiteX115" fmla="*/ 7572144 w 8636594"/>
              <a:gd name="connsiteY115" fmla="*/ 1159689 h 6650463"/>
              <a:gd name="connsiteX116" fmla="*/ 7601877 w 8636594"/>
              <a:gd name="connsiteY116" fmla="*/ 1119210 h 6650463"/>
              <a:gd name="connsiteX117" fmla="*/ 7631779 w 8636594"/>
              <a:gd name="connsiteY117" fmla="*/ 1078937 h 6650463"/>
              <a:gd name="connsiteX118" fmla="*/ 7661855 w 8636594"/>
              <a:gd name="connsiteY118" fmla="*/ 1038876 h 6650463"/>
              <a:gd name="connsiteX119" fmla="*/ 7692111 w 8636594"/>
              <a:gd name="connsiteY119" fmla="*/ 999035 h 6650463"/>
              <a:gd name="connsiteX120" fmla="*/ 7722554 w 8636594"/>
              <a:gd name="connsiteY120" fmla="*/ 959419 h 6650463"/>
              <a:gd name="connsiteX121" fmla="*/ 7753190 w 8636594"/>
              <a:gd name="connsiteY121" fmla="*/ 920037 h 6650463"/>
              <a:gd name="connsiteX122" fmla="*/ 7784023 w 8636594"/>
              <a:gd name="connsiteY122" fmla="*/ 880894 h 6650463"/>
              <a:gd name="connsiteX123" fmla="*/ 7815061 w 8636594"/>
              <a:gd name="connsiteY123" fmla="*/ 841997 h 6650463"/>
              <a:gd name="connsiteX124" fmla="*/ 7846308 w 8636594"/>
              <a:gd name="connsiteY124" fmla="*/ 803354 h 6650463"/>
              <a:gd name="connsiteX125" fmla="*/ 7877772 w 8636594"/>
              <a:gd name="connsiteY125" fmla="*/ 764970 h 6650463"/>
              <a:gd name="connsiteX126" fmla="*/ 7909458 w 8636594"/>
              <a:gd name="connsiteY126" fmla="*/ 726853 h 6650463"/>
              <a:gd name="connsiteX127" fmla="*/ 7941371 w 8636594"/>
              <a:gd name="connsiteY127" fmla="*/ 689010 h 6650463"/>
              <a:gd name="connsiteX128" fmla="*/ 7973518 w 8636594"/>
              <a:gd name="connsiteY128" fmla="*/ 651447 h 6650463"/>
              <a:gd name="connsiteX129" fmla="*/ 8005905 w 8636594"/>
              <a:gd name="connsiteY129" fmla="*/ 614171 h 6650463"/>
              <a:gd name="connsiteX130" fmla="*/ 8038538 w 8636594"/>
              <a:gd name="connsiteY130" fmla="*/ 577189 h 6650463"/>
              <a:gd name="connsiteX131" fmla="*/ 8071421 w 8636594"/>
              <a:gd name="connsiteY131" fmla="*/ 540507 h 6650463"/>
              <a:gd name="connsiteX132" fmla="*/ 8104563 w 8636594"/>
              <a:gd name="connsiteY132" fmla="*/ 504132 h 6650463"/>
              <a:gd name="connsiteX133" fmla="*/ 8137967 w 8636594"/>
              <a:gd name="connsiteY133" fmla="*/ 468072 h 6650463"/>
              <a:gd name="connsiteX134" fmla="*/ 8171641 w 8636594"/>
              <a:gd name="connsiteY134" fmla="*/ 432332 h 6650463"/>
              <a:gd name="connsiteX135" fmla="*/ 8205590 w 8636594"/>
              <a:gd name="connsiteY135" fmla="*/ 396920 h 6650463"/>
              <a:gd name="connsiteX136" fmla="*/ 8239820 w 8636594"/>
              <a:gd name="connsiteY136" fmla="*/ 361843 h 6650463"/>
              <a:gd name="connsiteX137" fmla="*/ 8274337 w 8636594"/>
              <a:gd name="connsiteY137" fmla="*/ 327107 h 6650463"/>
              <a:gd name="connsiteX138" fmla="*/ 8309147 w 8636594"/>
              <a:gd name="connsiteY138" fmla="*/ 292718 h 6650463"/>
              <a:gd name="connsiteX139" fmla="*/ 8344256 w 8636594"/>
              <a:gd name="connsiteY139" fmla="*/ 258685 h 6650463"/>
              <a:gd name="connsiteX140" fmla="*/ 8379669 w 8636594"/>
              <a:gd name="connsiteY140" fmla="*/ 225013 h 6650463"/>
              <a:gd name="connsiteX141" fmla="*/ 8415394 w 8636594"/>
              <a:gd name="connsiteY141" fmla="*/ 191709 h 6650463"/>
              <a:gd name="connsiteX142" fmla="*/ 8451434 w 8636594"/>
              <a:gd name="connsiteY142" fmla="*/ 158780 h 6650463"/>
              <a:gd name="connsiteX143" fmla="*/ 8487798 w 8636594"/>
              <a:gd name="connsiteY143" fmla="*/ 126233 h 6650463"/>
              <a:gd name="connsiteX144" fmla="*/ 8524489 w 8636594"/>
              <a:gd name="connsiteY144" fmla="*/ 94075 h 6650463"/>
              <a:gd name="connsiteX145" fmla="*/ 8561515 w 8636594"/>
              <a:gd name="connsiteY145" fmla="*/ 62312 h 6650463"/>
              <a:gd name="connsiteX146" fmla="*/ 8598881 w 8636594"/>
              <a:gd name="connsiteY146" fmla="*/ 30951 h 6650463"/>
              <a:gd name="connsiteX147" fmla="*/ 8636594 w 8636594"/>
              <a:gd name="connsiteY147" fmla="*/ 0 h 6650463"/>
              <a:gd name="connsiteX0" fmla="*/ 8636594 w 8636594"/>
              <a:gd name="connsiteY0" fmla="*/ 0 h 6641737"/>
              <a:gd name="connsiteX1" fmla="*/ 5293 w 8636594"/>
              <a:gd name="connsiteY1" fmla="*/ 0 h 6641737"/>
              <a:gd name="connsiteX2" fmla="*/ 0 w 8636594"/>
              <a:gd name="connsiteY2" fmla="*/ 5587843 h 6641737"/>
              <a:gd name="connsiteX3" fmla="*/ 1594033 w 8636594"/>
              <a:gd name="connsiteY3" fmla="*/ 5600057 h 6641737"/>
              <a:gd name="connsiteX4" fmla="*/ 1686068 w 8636594"/>
              <a:gd name="connsiteY4" fmla="*/ 5599745 h 6641737"/>
              <a:gd name="connsiteX5" fmla="*/ 1883237 w 8636594"/>
              <a:gd name="connsiteY5" fmla="*/ 5855484 h 6641737"/>
              <a:gd name="connsiteX6" fmla="*/ 2084977 w 8636594"/>
              <a:gd name="connsiteY6" fmla="*/ 5695440 h 6641737"/>
              <a:gd name="connsiteX7" fmla="*/ 2222486 w 8636594"/>
              <a:gd name="connsiteY7" fmla="*/ 5687627 h 6641737"/>
              <a:gd name="connsiteX8" fmla="*/ 2412216 w 8636594"/>
              <a:gd name="connsiteY8" fmla="*/ 5587741 h 6641737"/>
              <a:gd name="connsiteX9" fmla="*/ 1944909 w 8636594"/>
              <a:gd name="connsiteY9" fmla="*/ 6641737 h 6641737"/>
              <a:gd name="connsiteX10" fmla="*/ 2006208 w 8636594"/>
              <a:gd name="connsiteY10" fmla="*/ 6632561 h 6641737"/>
              <a:gd name="connsiteX11" fmla="*/ 2066817 w 8636594"/>
              <a:gd name="connsiteY11" fmla="*/ 6622937 h 6641737"/>
              <a:gd name="connsiteX12" fmla="*/ 2126742 w 8636594"/>
              <a:gd name="connsiteY12" fmla="*/ 6612869 h 6641737"/>
              <a:gd name="connsiteX13" fmla="*/ 2185991 w 8636594"/>
              <a:gd name="connsiteY13" fmla="*/ 6602362 h 6641737"/>
              <a:gd name="connsiteX14" fmla="*/ 2244569 w 8636594"/>
              <a:gd name="connsiteY14" fmla="*/ 6591417 h 6641737"/>
              <a:gd name="connsiteX15" fmla="*/ 2302482 w 8636594"/>
              <a:gd name="connsiteY15" fmla="*/ 6580040 h 6641737"/>
              <a:gd name="connsiteX16" fmla="*/ 2359737 w 8636594"/>
              <a:gd name="connsiteY16" fmla="*/ 6568233 h 6641737"/>
              <a:gd name="connsiteX17" fmla="*/ 2416341 w 8636594"/>
              <a:gd name="connsiteY17" fmla="*/ 6555999 h 6641737"/>
              <a:gd name="connsiteX18" fmla="*/ 2472299 w 8636594"/>
              <a:gd name="connsiteY18" fmla="*/ 6543344 h 6641737"/>
              <a:gd name="connsiteX19" fmla="*/ 2527618 w 8636594"/>
              <a:gd name="connsiteY19" fmla="*/ 6530269 h 6641737"/>
              <a:gd name="connsiteX20" fmla="*/ 2582304 w 8636594"/>
              <a:gd name="connsiteY20" fmla="*/ 6516778 h 6641737"/>
              <a:gd name="connsiteX21" fmla="*/ 2636364 w 8636594"/>
              <a:gd name="connsiteY21" fmla="*/ 6502876 h 6641737"/>
              <a:gd name="connsiteX22" fmla="*/ 2689804 w 8636594"/>
              <a:gd name="connsiteY22" fmla="*/ 6488565 h 6641737"/>
              <a:gd name="connsiteX23" fmla="*/ 2742629 w 8636594"/>
              <a:gd name="connsiteY23" fmla="*/ 6473849 h 6641737"/>
              <a:gd name="connsiteX24" fmla="*/ 2794848 w 8636594"/>
              <a:gd name="connsiteY24" fmla="*/ 6458731 h 6641737"/>
              <a:gd name="connsiteX25" fmla="*/ 2846466 w 8636594"/>
              <a:gd name="connsiteY25" fmla="*/ 6443216 h 6641737"/>
              <a:gd name="connsiteX26" fmla="*/ 2897488 w 8636594"/>
              <a:gd name="connsiteY26" fmla="*/ 6427305 h 6641737"/>
              <a:gd name="connsiteX27" fmla="*/ 2947923 w 8636594"/>
              <a:gd name="connsiteY27" fmla="*/ 6411004 h 6641737"/>
              <a:gd name="connsiteX28" fmla="*/ 2997775 w 8636594"/>
              <a:gd name="connsiteY28" fmla="*/ 6394316 h 6641737"/>
              <a:gd name="connsiteX29" fmla="*/ 3047052 w 8636594"/>
              <a:gd name="connsiteY29" fmla="*/ 6377243 h 6641737"/>
              <a:gd name="connsiteX30" fmla="*/ 3095759 w 8636594"/>
              <a:gd name="connsiteY30" fmla="*/ 6359791 h 6641737"/>
              <a:gd name="connsiteX31" fmla="*/ 3143903 w 8636594"/>
              <a:gd name="connsiteY31" fmla="*/ 6341961 h 6641737"/>
              <a:gd name="connsiteX32" fmla="*/ 3191491 w 8636594"/>
              <a:gd name="connsiteY32" fmla="*/ 6323757 h 6641737"/>
              <a:gd name="connsiteX33" fmla="*/ 3238528 w 8636594"/>
              <a:gd name="connsiteY33" fmla="*/ 6305184 h 6641737"/>
              <a:gd name="connsiteX34" fmla="*/ 3285021 w 8636594"/>
              <a:gd name="connsiteY34" fmla="*/ 6286245 h 6641737"/>
              <a:gd name="connsiteX35" fmla="*/ 3330977 w 8636594"/>
              <a:gd name="connsiteY35" fmla="*/ 6266942 h 6641737"/>
              <a:gd name="connsiteX36" fmla="*/ 3376401 w 8636594"/>
              <a:gd name="connsiteY36" fmla="*/ 6247281 h 6641737"/>
              <a:gd name="connsiteX37" fmla="*/ 3421300 w 8636594"/>
              <a:gd name="connsiteY37" fmla="*/ 6227263 h 6641737"/>
              <a:gd name="connsiteX38" fmla="*/ 3465680 w 8636594"/>
              <a:gd name="connsiteY38" fmla="*/ 6206893 h 6641737"/>
              <a:gd name="connsiteX39" fmla="*/ 3509548 w 8636594"/>
              <a:gd name="connsiteY39" fmla="*/ 6186174 h 6641737"/>
              <a:gd name="connsiteX40" fmla="*/ 3552910 w 8636594"/>
              <a:gd name="connsiteY40" fmla="*/ 6165110 h 6641737"/>
              <a:gd name="connsiteX41" fmla="*/ 3595773 w 8636594"/>
              <a:gd name="connsiteY41" fmla="*/ 6143704 h 6641737"/>
              <a:gd name="connsiteX42" fmla="*/ 3638142 w 8636594"/>
              <a:gd name="connsiteY42" fmla="*/ 6121960 h 6641737"/>
              <a:gd name="connsiteX43" fmla="*/ 3680024 w 8636594"/>
              <a:gd name="connsiteY43" fmla="*/ 6099881 h 6641737"/>
              <a:gd name="connsiteX44" fmla="*/ 3721426 w 8636594"/>
              <a:gd name="connsiteY44" fmla="*/ 6077471 h 6641737"/>
              <a:gd name="connsiteX45" fmla="*/ 3762353 w 8636594"/>
              <a:gd name="connsiteY45" fmla="*/ 6054733 h 6641737"/>
              <a:gd name="connsiteX46" fmla="*/ 3802812 w 8636594"/>
              <a:gd name="connsiteY46" fmla="*/ 6031671 h 6641737"/>
              <a:gd name="connsiteX47" fmla="*/ 3842810 w 8636594"/>
              <a:gd name="connsiteY47" fmla="*/ 6008288 h 6641737"/>
              <a:gd name="connsiteX48" fmla="*/ 3882352 w 8636594"/>
              <a:gd name="connsiteY48" fmla="*/ 5984588 h 6641737"/>
              <a:gd name="connsiteX49" fmla="*/ 3921445 w 8636594"/>
              <a:gd name="connsiteY49" fmla="*/ 5960574 h 6641737"/>
              <a:gd name="connsiteX50" fmla="*/ 3960096 w 8636594"/>
              <a:gd name="connsiteY50" fmla="*/ 5936250 h 6641737"/>
              <a:gd name="connsiteX51" fmla="*/ 3998311 w 8636594"/>
              <a:gd name="connsiteY51" fmla="*/ 5911619 h 6641737"/>
              <a:gd name="connsiteX52" fmla="*/ 4036095 w 8636594"/>
              <a:gd name="connsiteY52" fmla="*/ 5886685 h 6641737"/>
              <a:gd name="connsiteX53" fmla="*/ 4073456 w 8636594"/>
              <a:gd name="connsiteY53" fmla="*/ 5861452 h 6641737"/>
              <a:gd name="connsiteX54" fmla="*/ 4110400 w 8636594"/>
              <a:gd name="connsiteY54" fmla="*/ 5835922 h 6641737"/>
              <a:gd name="connsiteX55" fmla="*/ 4146933 w 8636594"/>
              <a:gd name="connsiteY55" fmla="*/ 5810100 h 6641737"/>
              <a:gd name="connsiteX56" fmla="*/ 4183061 w 8636594"/>
              <a:gd name="connsiteY56" fmla="*/ 5783988 h 6641737"/>
              <a:gd name="connsiteX57" fmla="*/ 4218791 w 8636594"/>
              <a:gd name="connsiteY57" fmla="*/ 5757591 h 6641737"/>
              <a:gd name="connsiteX58" fmla="*/ 4254129 w 8636594"/>
              <a:gd name="connsiteY58" fmla="*/ 5730912 h 6641737"/>
              <a:gd name="connsiteX59" fmla="*/ 4289081 w 8636594"/>
              <a:gd name="connsiteY59" fmla="*/ 5703955 h 6641737"/>
              <a:gd name="connsiteX60" fmla="*/ 4323654 w 8636594"/>
              <a:gd name="connsiteY60" fmla="*/ 5676722 h 6641737"/>
              <a:gd name="connsiteX61" fmla="*/ 4357854 w 8636594"/>
              <a:gd name="connsiteY61" fmla="*/ 5649218 h 6641737"/>
              <a:gd name="connsiteX62" fmla="*/ 4391688 w 8636594"/>
              <a:gd name="connsiteY62" fmla="*/ 5621446 h 6641737"/>
              <a:gd name="connsiteX63" fmla="*/ 4425162 w 8636594"/>
              <a:gd name="connsiteY63" fmla="*/ 5593409 h 6641737"/>
              <a:gd name="connsiteX64" fmla="*/ 4458281 w 8636594"/>
              <a:gd name="connsiteY64" fmla="*/ 5565111 h 6641737"/>
              <a:gd name="connsiteX65" fmla="*/ 4491053 w 8636594"/>
              <a:gd name="connsiteY65" fmla="*/ 5536556 h 6641737"/>
              <a:gd name="connsiteX66" fmla="*/ 4523484 w 8636594"/>
              <a:gd name="connsiteY66" fmla="*/ 5507747 h 6641737"/>
              <a:gd name="connsiteX67" fmla="*/ 4555580 w 8636594"/>
              <a:gd name="connsiteY67" fmla="*/ 5478687 h 6641737"/>
              <a:gd name="connsiteX68" fmla="*/ 4587347 w 8636594"/>
              <a:gd name="connsiteY68" fmla="*/ 5449380 h 6641737"/>
              <a:gd name="connsiteX69" fmla="*/ 4618793 w 8636594"/>
              <a:gd name="connsiteY69" fmla="*/ 5419830 h 6641737"/>
              <a:gd name="connsiteX70" fmla="*/ 4649922 w 8636594"/>
              <a:gd name="connsiteY70" fmla="*/ 5390040 h 6641737"/>
              <a:gd name="connsiteX71" fmla="*/ 4680742 w 8636594"/>
              <a:gd name="connsiteY71" fmla="*/ 5360014 h 6641737"/>
              <a:gd name="connsiteX72" fmla="*/ 4711259 w 8636594"/>
              <a:gd name="connsiteY72" fmla="*/ 5329755 h 6641737"/>
              <a:gd name="connsiteX73" fmla="*/ 4741478 w 8636594"/>
              <a:gd name="connsiteY73" fmla="*/ 5299266 h 6641737"/>
              <a:gd name="connsiteX74" fmla="*/ 4771408 w 8636594"/>
              <a:gd name="connsiteY74" fmla="*/ 5268551 h 6641737"/>
              <a:gd name="connsiteX75" fmla="*/ 4801053 w 8636594"/>
              <a:gd name="connsiteY75" fmla="*/ 5237614 h 6641737"/>
              <a:gd name="connsiteX76" fmla="*/ 4830420 w 8636594"/>
              <a:gd name="connsiteY76" fmla="*/ 5206458 h 6641737"/>
              <a:gd name="connsiteX77" fmla="*/ 4859516 w 8636594"/>
              <a:gd name="connsiteY77" fmla="*/ 5175087 h 6641737"/>
              <a:gd name="connsiteX78" fmla="*/ 4888347 w 8636594"/>
              <a:gd name="connsiteY78" fmla="*/ 5143504 h 6641737"/>
              <a:gd name="connsiteX79" fmla="*/ 4916919 w 8636594"/>
              <a:gd name="connsiteY79" fmla="*/ 5111713 h 6641737"/>
              <a:gd name="connsiteX80" fmla="*/ 4945238 w 8636594"/>
              <a:gd name="connsiteY80" fmla="*/ 5079717 h 6641737"/>
              <a:gd name="connsiteX81" fmla="*/ 4973311 w 8636594"/>
              <a:gd name="connsiteY81" fmla="*/ 5047519 h 6641737"/>
              <a:gd name="connsiteX82" fmla="*/ 5001145 w 8636594"/>
              <a:gd name="connsiteY82" fmla="*/ 5015124 h 6641737"/>
              <a:gd name="connsiteX83" fmla="*/ 5028745 w 8636594"/>
              <a:gd name="connsiteY83" fmla="*/ 4982535 h 6641737"/>
              <a:gd name="connsiteX84" fmla="*/ 5056117 w 8636594"/>
              <a:gd name="connsiteY84" fmla="*/ 4949755 h 6641737"/>
              <a:gd name="connsiteX85" fmla="*/ 5083269 w 8636594"/>
              <a:gd name="connsiteY85" fmla="*/ 4916787 h 6641737"/>
              <a:gd name="connsiteX86" fmla="*/ 5110207 w 8636594"/>
              <a:gd name="connsiteY86" fmla="*/ 4883636 h 6641737"/>
              <a:gd name="connsiteX87" fmla="*/ 5136937 w 8636594"/>
              <a:gd name="connsiteY87" fmla="*/ 4850305 h 6641737"/>
              <a:gd name="connsiteX88" fmla="*/ 5163464 w 8636594"/>
              <a:gd name="connsiteY88" fmla="*/ 4816797 h 6641737"/>
              <a:gd name="connsiteX89" fmla="*/ 5215940 w 8636594"/>
              <a:gd name="connsiteY89" fmla="*/ 4749265 h 6641737"/>
              <a:gd name="connsiteX90" fmla="*/ 5267684 w 8636594"/>
              <a:gd name="connsiteY90" fmla="*/ 4681068 h 6641737"/>
              <a:gd name="connsiteX91" fmla="*/ 5318748 w 8636594"/>
              <a:gd name="connsiteY91" fmla="*/ 4612234 h 6641737"/>
              <a:gd name="connsiteX92" fmla="*/ 5369182 w 8636594"/>
              <a:gd name="connsiteY92" fmla="*/ 4542793 h 6641737"/>
              <a:gd name="connsiteX93" fmla="*/ 5419038 w 8636594"/>
              <a:gd name="connsiteY93" fmla="*/ 4472771 h 6641737"/>
              <a:gd name="connsiteX94" fmla="*/ 5468365 w 8636594"/>
              <a:gd name="connsiteY94" fmla="*/ 4402196 h 6641737"/>
              <a:gd name="connsiteX95" fmla="*/ 5517215 w 8636594"/>
              <a:gd name="connsiteY95" fmla="*/ 4331098 h 6641737"/>
              <a:gd name="connsiteX96" fmla="*/ 5565637 w 8636594"/>
              <a:gd name="connsiteY96" fmla="*/ 4259503 h 6641737"/>
              <a:gd name="connsiteX97" fmla="*/ 5613684 w 8636594"/>
              <a:gd name="connsiteY97" fmla="*/ 4187441 h 6641737"/>
              <a:gd name="connsiteX98" fmla="*/ 5685160 w 8636594"/>
              <a:gd name="connsiteY98" fmla="*/ 4078531 h 6641737"/>
              <a:gd name="connsiteX99" fmla="*/ 5756074 w 8636594"/>
              <a:gd name="connsiteY99" fmla="*/ 3968727 h 6641737"/>
              <a:gd name="connsiteX100" fmla="*/ 5873483 w 8636594"/>
              <a:gd name="connsiteY100" fmla="*/ 3783989 h 6641737"/>
              <a:gd name="connsiteX101" fmla="*/ 6203209 w 8636594"/>
              <a:gd name="connsiteY101" fmla="*/ 3258640 h 6641737"/>
              <a:gd name="connsiteX102" fmla="*/ 6299430 w 8636594"/>
              <a:gd name="connsiteY102" fmla="*/ 3107321 h 6641737"/>
              <a:gd name="connsiteX103" fmla="*/ 6372650 w 8636594"/>
              <a:gd name="connsiteY103" fmla="*/ 2993735 h 6641737"/>
              <a:gd name="connsiteX104" fmla="*/ 6453197 w 8636594"/>
              <a:gd name="connsiteY104" fmla="*/ 2869788 h 6641737"/>
              <a:gd name="connsiteX105" fmla="*/ 6564167 w 8636594"/>
              <a:gd name="connsiteY105" fmla="*/ 2696807 h 6641737"/>
              <a:gd name="connsiteX106" fmla="*/ 6976233 w 8636594"/>
              <a:gd name="connsiteY106" fmla="*/ 2045274 h 6641737"/>
              <a:gd name="connsiteX107" fmla="*/ 7086755 w 8636594"/>
              <a:gd name="connsiteY107" fmla="*/ 1872743 h 6641737"/>
              <a:gd name="connsiteX108" fmla="*/ 7170279 w 8636594"/>
              <a:gd name="connsiteY108" fmla="*/ 1744202 h 6641737"/>
              <a:gd name="connsiteX109" fmla="*/ 7226351 w 8636594"/>
              <a:gd name="connsiteY109" fmla="*/ 1659017 h 6641737"/>
              <a:gd name="connsiteX110" fmla="*/ 7282789 w 8636594"/>
              <a:gd name="connsiteY110" fmla="*/ 1574303 h 6641737"/>
              <a:gd name="connsiteX111" fmla="*/ 7339643 w 8636594"/>
              <a:gd name="connsiteY111" fmla="*/ 1490113 h 6641737"/>
              <a:gd name="connsiteX112" fmla="*/ 7396957 w 8636594"/>
              <a:gd name="connsiteY112" fmla="*/ 1406503 h 6641737"/>
              <a:gd name="connsiteX113" fmla="*/ 7454781 w 8636594"/>
              <a:gd name="connsiteY113" fmla="*/ 1323526 h 6641737"/>
              <a:gd name="connsiteX114" fmla="*/ 7513161 w 8636594"/>
              <a:gd name="connsiteY114" fmla="*/ 1241237 h 6641737"/>
              <a:gd name="connsiteX115" fmla="*/ 7572144 w 8636594"/>
              <a:gd name="connsiteY115" fmla="*/ 1159689 h 6641737"/>
              <a:gd name="connsiteX116" fmla="*/ 7601877 w 8636594"/>
              <a:gd name="connsiteY116" fmla="*/ 1119210 h 6641737"/>
              <a:gd name="connsiteX117" fmla="*/ 7631779 w 8636594"/>
              <a:gd name="connsiteY117" fmla="*/ 1078937 h 6641737"/>
              <a:gd name="connsiteX118" fmla="*/ 7661855 w 8636594"/>
              <a:gd name="connsiteY118" fmla="*/ 1038876 h 6641737"/>
              <a:gd name="connsiteX119" fmla="*/ 7692111 w 8636594"/>
              <a:gd name="connsiteY119" fmla="*/ 999035 h 6641737"/>
              <a:gd name="connsiteX120" fmla="*/ 7722554 w 8636594"/>
              <a:gd name="connsiteY120" fmla="*/ 959419 h 6641737"/>
              <a:gd name="connsiteX121" fmla="*/ 7753190 w 8636594"/>
              <a:gd name="connsiteY121" fmla="*/ 920037 h 6641737"/>
              <a:gd name="connsiteX122" fmla="*/ 7784023 w 8636594"/>
              <a:gd name="connsiteY122" fmla="*/ 880894 h 6641737"/>
              <a:gd name="connsiteX123" fmla="*/ 7815061 w 8636594"/>
              <a:gd name="connsiteY123" fmla="*/ 841997 h 6641737"/>
              <a:gd name="connsiteX124" fmla="*/ 7846308 w 8636594"/>
              <a:gd name="connsiteY124" fmla="*/ 803354 h 6641737"/>
              <a:gd name="connsiteX125" fmla="*/ 7877772 w 8636594"/>
              <a:gd name="connsiteY125" fmla="*/ 764970 h 6641737"/>
              <a:gd name="connsiteX126" fmla="*/ 7909458 w 8636594"/>
              <a:gd name="connsiteY126" fmla="*/ 726853 h 6641737"/>
              <a:gd name="connsiteX127" fmla="*/ 7941371 w 8636594"/>
              <a:gd name="connsiteY127" fmla="*/ 689010 h 6641737"/>
              <a:gd name="connsiteX128" fmla="*/ 7973518 w 8636594"/>
              <a:gd name="connsiteY128" fmla="*/ 651447 h 6641737"/>
              <a:gd name="connsiteX129" fmla="*/ 8005905 w 8636594"/>
              <a:gd name="connsiteY129" fmla="*/ 614171 h 6641737"/>
              <a:gd name="connsiteX130" fmla="*/ 8038538 w 8636594"/>
              <a:gd name="connsiteY130" fmla="*/ 577189 h 6641737"/>
              <a:gd name="connsiteX131" fmla="*/ 8071421 w 8636594"/>
              <a:gd name="connsiteY131" fmla="*/ 540507 h 6641737"/>
              <a:gd name="connsiteX132" fmla="*/ 8104563 w 8636594"/>
              <a:gd name="connsiteY132" fmla="*/ 504132 h 6641737"/>
              <a:gd name="connsiteX133" fmla="*/ 8137967 w 8636594"/>
              <a:gd name="connsiteY133" fmla="*/ 468072 h 6641737"/>
              <a:gd name="connsiteX134" fmla="*/ 8171641 w 8636594"/>
              <a:gd name="connsiteY134" fmla="*/ 432332 h 6641737"/>
              <a:gd name="connsiteX135" fmla="*/ 8205590 w 8636594"/>
              <a:gd name="connsiteY135" fmla="*/ 396920 h 6641737"/>
              <a:gd name="connsiteX136" fmla="*/ 8239820 w 8636594"/>
              <a:gd name="connsiteY136" fmla="*/ 361843 h 6641737"/>
              <a:gd name="connsiteX137" fmla="*/ 8274337 w 8636594"/>
              <a:gd name="connsiteY137" fmla="*/ 327107 h 6641737"/>
              <a:gd name="connsiteX138" fmla="*/ 8309147 w 8636594"/>
              <a:gd name="connsiteY138" fmla="*/ 292718 h 6641737"/>
              <a:gd name="connsiteX139" fmla="*/ 8344256 w 8636594"/>
              <a:gd name="connsiteY139" fmla="*/ 258685 h 6641737"/>
              <a:gd name="connsiteX140" fmla="*/ 8379669 w 8636594"/>
              <a:gd name="connsiteY140" fmla="*/ 225013 h 6641737"/>
              <a:gd name="connsiteX141" fmla="*/ 8415394 w 8636594"/>
              <a:gd name="connsiteY141" fmla="*/ 191709 h 6641737"/>
              <a:gd name="connsiteX142" fmla="*/ 8451434 w 8636594"/>
              <a:gd name="connsiteY142" fmla="*/ 158780 h 6641737"/>
              <a:gd name="connsiteX143" fmla="*/ 8487798 w 8636594"/>
              <a:gd name="connsiteY143" fmla="*/ 126233 h 6641737"/>
              <a:gd name="connsiteX144" fmla="*/ 8524489 w 8636594"/>
              <a:gd name="connsiteY144" fmla="*/ 94075 h 6641737"/>
              <a:gd name="connsiteX145" fmla="*/ 8561515 w 8636594"/>
              <a:gd name="connsiteY145" fmla="*/ 62312 h 6641737"/>
              <a:gd name="connsiteX146" fmla="*/ 8598881 w 8636594"/>
              <a:gd name="connsiteY146" fmla="*/ 30951 h 6641737"/>
              <a:gd name="connsiteX147" fmla="*/ 8636594 w 8636594"/>
              <a:gd name="connsiteY147" fmla="*/ 0 h 6641737"/>
              <a:gd name="connsiteX0" fmla="*/ 8636594 w 8636594"/>
              <a:gd name="connsiteY0" fmla="*/ 0 h 6632561"/>
              <a:gd name="connsiteX1" fmla="*/ 5293 w 8636594"/>
              <a:gd name="connsiteY1" fmla="*/ 0 h 6632561"/>
              <a:gd name="connsiteX2" fmla="*/ 0 w 8636594"/>
              <a:gd name="connsiteY2" fmla="*/ 5587843 h 6632561"/>
              <a:gd name="connsiteX3" fmla="*/ 1594033 w 8636594"/>
              <a:gd name="connsiteY3" fmla="*/ 5600057 h 6632561"/>
              <a:gd name="connsiteX4" fmla="*/ 1686068 w 8636594"/>
              <a:gd name="connsiteY4" fmla="*/ 5599745 h 6632561"/>
              <a:gd name="connsiteX5" fmla="*/ 1883237 w 8636594"/>
              <a:gd name="connsiteY5" fmla="*/ 5855484 h 6632561"/>
              <a:gd name="connsiteX6" fmla="*/ 2084977 w 8636594"/>
              <a:gd name="connsiteY6" fmla="*/ 5695440 h 6632561"/>
              <a:gd name="connsiteX7" fmla="*/ 2222486 w 8636594"/>
              <a:gd name="connsiteY7" fmla="*/ 5687627 h 6632561"/>
              <a:gd name="connsiteX8" fmla="*/ 2412216 w 8636594"/>
              <a:gd name="connsiteY8" fmla="*/ 5587741 h 6632561"/>
              <a:gd name="connsiteX9" fmla="*/ 2490090 w 8636594"/>
              <a:gd name="connsiteY9" fmla="*/ 5591230 h 6632561"/>
              <a:gd name="connsiteX10" fmla="*/ 2006208 w 8636594"/>
              <a:gd name="connsiteY10" fmla="*/ 6632561 h 6632561"/>
              <a:gd name="connsiteX11" fmla="*/ 2066817 w 8636594"/>
              <a:gd name="connsiteY11" fmla="*/ 6622937 h 6632561"/>
              <a:gd name="connsiteX12" fmla="*/ 2126742 w 8636594"/>
              <a:gd name="connsiteY12" fmla="*/ 6612869 h 6632561"/>
              <a:gd name="connsiteX13" fmla="*/ 2185991 w 8636594"/>
              <a:gd name="connsiteY13" fmla="*/ 6602362 h 6632561"/>
              <a:gd name="connsiteX14" fmla="*/ 2244569 w 8636594"/>
              <a:gd name="connsiteY14" fmla="*/ 6591417 h 6632561"/>
              <a:gd name="connsiteX15" fmla="*/ 2302482 w 8636594"/>
              <a:gd name="connsiteY15" fmla="*/ 6580040 h 6632561"/>
              <a:gd name="connsiteX16" fmla="*/ 2359737 w 8636594"/>
              <a:gd name="connsiteY16" fmla="*/ 6568233 h 6632561"/>
              <a:gd name="connsiteX17" fmla="*/ 2416341 w 8636594"/>
              <a:gd name="connsiteY17" fmla="*/ 6555999 h 6632561"/>
              <a:gd name="connsiteX18" fmla="*/ 2472299 w 8636594"/>
              <a:gd name="connsiteY18" fmla="*/ 6543344 h 6632561"/>
              <a:gd name="connsiteX19" fmla="*/ 2527618 w 8636594"/>
              <a:gd name="connsiteY19" fmla="*/ 6530269 h 6632561"/>
              <a:gd name="connsiteX20" fmla="*/ 2582304 w 8636594"/>
              <a:gd name="connsiteY20" fmla="*/ 6516778 h 6632561"/>
              <a:gd name="connsiteX21" fmla="*/ 2636364 w 8636594"/>
              <a:gd name="connsiteY21" fmla="*/ 6502876 h 6632561"/>
              <a:gd name="connsiteX22" fmla="*/ 2689804 w 8636594"/>
              <a:gd name="connsiteY22" fmla="*/ 6488565 h 6632561"/>
              <a:gd name="connsiteX23" fmla="*/ 2742629 w 8636594"/>
              <a:gd name="connsiteY23" fmla="*/ 6473849 h 6632561"/>
              <a:gd name="connsiteX24" fmla="*/ 2794848 w 8636594"/>
              <a:gd name="connsiteY24" fmla="*/ 6458731 h 6632561"/>
              <a:gd name="connsiteX25" fmla="*/ 2846466 w 8636594"/>
              <a:gd name="connsiteY25" fmla="*/ 6443216 h 6632561"/>
              <a:gd name="connsiteX26" fmla="*/ 2897488 w 8636594"/>
              <a:gd name="connsiteY26" fmla="*/ 6427305 h 6632561"/>
              <a:gd name="connsiteX27" fmla="*/ 2947923 w 8636594"/>
              <a:gd name="connsiteY27" fmla="*/ 6411004 h 6632561"/>
              <a:gd name="connsiteX28" fmla="*/ 2997775 w 8636594"/>
              <a:gd name="connsiteY28" fmla="*/ 6394316 h 6632561"/>
              <a:gd name="connsiteX29" fmla="*/ 3047052 w 8636594"/>
              <a:gd name="connsiteY29" fmla="*/ 6377243 h 6632561"/>
              <a:gd name="connsiteX30" fmla="*/ 3095759 w 8636594"/>
              <a:gd name="connsiteY30" fmla="*/ 6359791 h 6632561"/>
              <a:gd name="connsiteX31" fmla="*/ 3143903 w 8636594"/>
              <a:gd name="connsiteY31" fmla="*/ 6341961 h 6632561"/>
              <a:gd name="connsiteX32" fmla="*/ 3191491 w 8636594"/>
              <a:gd name="connsiteY32" fmla="*/ 6323757 h 6632561"/>
              <a:gd name="connsiteX33" fmla="*/ 3238528 w 8636594"/>
              <a:gd name="connsiteY33" fmla="*/ 6305184 h 6632561"/>
              <a:gd name="connsiteX34" fmla="*/ 3285021 w 8636594"/>
              <a:gd name="connsiteY34" fmla="*/ 6286245 h 6632561"/>
              <a:gd name="connsiteX35" fmla="*/ 3330977 w 8636594"/>
              <a:gd name="connsiteY35" fmla="*/ 6266942 h 6632561"/>
              <a:gd name="connsiteX36" fmla="*/ 3376401 w 8636594"/>
              <a:gd name="connsiteY36" fmla="*/ 6247281 h 6632561"/>
              <a:gd name="connsiteX37" fmla="*/ 3421300 w 8636594"/>
              <a:gd name="connsiteY37" fmla="*/ 6227263 h 6632561"/>
              <a:gd name="connsiteX38" fmla="*/ 3465680 w 8636594"/>
              <a:gd name="connsiteY38" fmla="*/ 6206893 h 6632561"/>
              <a:gd name="connsiteX39" fmla="*/ 3509548 w 8636594"/>
              <a:gd name="connsiteY39" fmla="*/ 6186174 h 6632561"/>
              <a:gd name="connsiteX40" fmla="*/ 3552910 w 8636594"/>
              <a:gd name="connsiteY40" fmla="*/ 6165110 h 6632561"/>
              <a:gd name="connsiteX41" fmla="*/ 3595773 w 8636594"/>
              <a:gd name="connsiteY41" fmla="*/ 6143704 h 6632561"/>
              <a:gd name="connsiteX42" fmla="*/ 3638142 w 8636594"/>
              <a:gd name="connsiteY42" fmla="*/ 6121960 h 6632561"/>
              <a:gd name="connsiteX43" fmla="*/ 3680024 w 8636594"/>
              <a:gd name="connsiteY43" fmla="*/ 6099881 h 6632561"/>
              <a:gd name="connsiteX44" fmla="*/ 3721426 w 8636594"/>
              <a:gd name="connsiteY44" fmla="*/ 6077471 h 6632561"/>
              <a:gd name="connsiteX45" fmla="*/ 3762353 w 8636594"/>
              <a:gd name="connsiteY45" fmla="*/ 6054733 h 6632561"/>
              <a:gd name="connsiteX46" fmla="*/ 3802812 w 8636594"/>
              <a:gd name="connsiteY46" fmla="*/ 6031671 h 6632561"/>
              <a:gd name="connsiteX47" fmla="*/ 3842810 w 8636594"/>
              <a:gd name="connsiteY47" fmla="*/ 6008288 h 6632561"/>
              <a:gd name="connsiteX48" fmla="*/ 3882352 w 8636594"/>
              <a:gd name="connsiteY48" fmla="*/ 5984588 h 6632561"/>
              <a:gd name="connsiteX49" fmla="*/ 3921445 w 8636594"/>
              <a:gd name="connsiteY49" fmla="*/ 5960574 h 6632561"/>
              <a:gd name="connsiteX50" fmla="*/ 3960096 w 8636594"/>
              <a:gd name="connsiteY50" fmla="*/ 5936250 h 6632561"/>
              <a:gd name="connsiteX51" fmla="*/ 3998311 w 8636594"/>
              <a:gd name="connsiteY51" fmla="*/ 5911619 h 6632561"/>
              <a:gd name="connsiteX52" fmla="*/ 4036095 w 8636594"/>
              <a:gd name="connsiteY52" fmla="*/ 5886685 h 6632561"/>
              <a:gd name="connsiteX53" fmla="*/ 4073456 w 8636594"/>
              <a:gd name="connsiteY53" fmla="*/ 5861452 h 6632561"/>
              <a:gd name="connsiteX54" fmla="*/ 4110400 w 8636594"/>
              <a:gd name="connsiteY54" fmla="*/ 5835922 h 6632561"/>
              <a:gd name="connsiteX55" fmla="*/ 4146933 w 8636594"/>
              <a:gd name="connsiteY55" fmla="*/ 5810100 h 6632561"/>
              <a:gd name="connsiteX56" fmla="*/ 4183061 w 8636594"/>
              <a:gd name="connsiteY56" fmla="*/ 5783988 h 6632561"/>
              <a:gd name="connsiteX57" fmla="*/ 4218791 w 8636594"/>
              <a:gd name="connsiteY57" fmla="*/ 5757591 h 6632561"/>
              <a:gd name="connsiteX58" fmla="*/ 4254129 w 8636594"/>
              <a:gd name="connsiteY58" fmla="*/ 5730912 h 6632561"/>
              <a:gd name="connsiteX59" fmla="*/ 4289081 w 8636594"/>
              <a:gd name="connsiteY59" fmla="*/ 5703955 h 6632561"/>
              <a:gd name="connsiteX60" fmla="*/ 4323654 w 8636594"/>
              <a:gd name="connsiteY60" fmla="*/ 5676722 h 6632561"/>
              <a:gd name="connsiteX61" fmla="*/ 4357854 w 8636594"/>
              <a:gd name="connsiteY61" fmla="*/ 5649218 h 6632561"/>
              <a:gd name="connsiteX62" fmla="*/ 4391688 w 8636594"/>
              <a:gd name="connsiteY62" fmla="*/ 5621446 h 6632561"/>
              <a:gd name="connsiteX63" fmla="*/ 4425162 w 8636594"/>
              <a:gd name="connsiteY63" fmla="*/ 5593409 h 6632561"/>
              <a:gd name="connsiteX64" fmla="*/ 4458281 w 8636594"/>
              <a:gd name="connsiteY64" fmla="*/ 5565111 h 6632561"/>
              <a:gd name="connsiteX65" fmla="*/ 4491053 w 8636594"/>
              <a:gd name="connsiteY65" fmla="*/ 5536556 h 6632561"/>
              <a:gd name="connsiteX66" fmla="*/ 4523484 w 8636594"/>
              <a:gd name="connsiteY66" fmla="*/ 5507747 h 6632561"/>
              <a:gd name="connsiteX67" fmla="*/ 4555580 w 8636594"/>
              <a:gd name="connsiteY67" fmla="*/ 5478687 h 6632561"/>
              <a:gd name="connsiteX68" fmla="*/ 4587347 w 8636594"/>
              <a:gd name="connsiteY68" fmla="*/ 5449380 h 6632561"/>
              <a:gd name="connsiteX69" fmla="*/ 4618793 w 8636594"/>
              <a:gd name="connsiteY69" fmla="*/ 5419830 h 6632561"/>
              <a:gd name="connsiteX70" fmla="*/ 4649922 w 8636594"/>
              <a:gd name="connsiteY70" fmla="*/ 5390040 h 6632561"/>
              <a:gd name="connsiteX71" fmla="*/ 4680742 w 8636594"/>
              <a:gd name="connsiteY71" fmla="*/ 5360014 h 6632561"/>
              <a:gd name="connsiteX72" fmla="*/ 4711259 w 8636594"/>
              <a:gd name="connsiteY72" fmla="*/ 5329755 h 6632561"/>
              <a:gd name="connsiteX73" fmla="*/ 4741478 w 8636594"/>
              <a:gd name="connsiteY73" fmla="*/ 5299266 h 6632561"/>
              <a:gd name="connsiteX74" fmla="*/ 4771408 w 8636594"/>
              <a:gd name="connsiteY74" fmla="*/ 5268551 h 6632561"/>
              <a:gd name="connsiteX75" fmla="*/ 4801053 w 8636594"/>
              <a:gd name="connsiteY75" fmla="*/ 5237614 h 6632561"/>
              <a:gd name="connsiteX76" fmla="*/ 4830420 w 8636594"/>
              <a:gd name="connsiteY76" fmla="*/ 5206458 h 6632561"/>
              <a:gd name="connsiteX77" fmla="*/ 4859516 w 8636594"/>
              <a:gd name="connsiteY77" fmla="*/ 5175087 h 6632561"/>
              <a:gd name="connsiteX78" fmla="*/ 4888347 w 8636594"/>
              <a:gd name="connsiteY78" fmla="*/ 5143504 h 6632561"/>
              <a:gd name="connsiteX79" fmla="*/ 4916919 w 8636594"/>
              <a:gd name="connsiteY79" fmla="*/ 5111713 h 6632561"/>
              <a:gd name="connsiteX80" fmla="*/ 4945238 w 8636594"/>
              <a:gd name="connsiteY80" fmla="*/ 5079717 h 6632561"/>
              <a:gd name="connsiteX81" fmla="*/ 4973311 w 8636594"/>
              <a:gd name="connsiteY81" fmla="*/ 5047519 h 6632561"/>
              <a:gd name="connsiteX82" fmla="*/ 5001145 w 8636594"/>
              <a:gd name="connsiteY82" fmla="*/ 5015124 h 6632561"/>
              <a:gd name="connsiteX83" fmla="*/ 5028745 w 8636594"/>
              <a:gd name="connsiteY83" fmla="*/ 4982535 h 6632561"/>
              <a:gd name="connsiteX84" fmla="*/ 5056117 w 8636594"/>
              <a:gd name="connsiteY84" fmla="*/ 4949755 h 6632561"/>
              <a:gd name="connsiteX85" fmla="*/ 5083269 w 8636594"/>
              <a:gd name="connsiteY85" fmla="*/ 4916787 h 6632561"/>
              <a:gd name="connsiteX86" fmla="*/ 5110207 w 8636594"/>
              <a:gd name="connsiteY86" fmla="*/ 4883636 h 6632561"/>
              <a:gd name="connsiteX87" fmla="*/ 5136937 w 8636594"/>
              <a:gd name="connsiteY87" fmla="*/ 4850305 h 6632561"/>
              <a:gd name="connsiteX88" fmla="*/ 5163464 w 8636594"/>
              <a:gd name="connsiteY88" fmla="*/ 4816797 h 6632561"/>
              <a:gd name="connsiteX89" fmla="*/ 5215940 w 8636594"/>
              <a:gd name="connsiteY89" fmla="*/ 4749265 h 6632561"/>
              <a:gd name="connsiteX90" fmla="*/ 5267684 w 8636594"/>
              <a:gd name="connsiteY90" fmla="*/ 4681068 h 6632561"/>
              <a:gd name="connsiteX91" fmla="*/ 5318748 w 8636594"/>
              <a:gd name="connsiteY91" fmla="*/ 4612234 h 6632561"/>
              <a:gd name="connsiteX92" fmla="*/ 5369182 w 8636594"/>
              <a:gd name="connsiteY92" fmla="*/ 4542793 h 6632561"/>
              <a:gd name="connsiteX93" fmla="*/ 5419038 w 8636594"/>
              <a:gd name="connsiteY93" fmla="*/ 4472771 h 6632561"/>
              <a:gd name="connsiteX94" fmla="*/ 5468365 w 8636594"/>
              <a:gd name="connsiteY94" fmla="*/ 4402196 h 6632561"/>
              <a:gd name="connsiteX95" fmla="*/ 5517215 w 8636594"/>
              <a:gd name="connsiteY95" fmla="*/ 4331098 h 6632561"/>
              <a:gd name="connsiteX96" fmla="*/ 5565637 w 8636594"/>
              <a:gd name="connsiteY96" fmla="*/ 4259503 h 6632561"/>
              <a:gd name="connsiteX97" fmla="*/ 5613684 w 8636594"/>
              <a:gd name="connsiteY97" fmla="*/ 4187441 h 6632561"/>
              <a:gd name="connsiteX98" fmla="*/ 5685160 w 8636594"/>
              <a:gd name="connsiteY98" fmla="*/ 4078531 h 6632561"/>
              <a:gd name="connsiteX99" fmla="*/ 5756074 w 8636594"/>
              <a:gd name="connsiteY99" fmla="*/ 3968727 h 6632561"/>
              <a:gd name="connsiteX100" fmla="*/ 5873483 w 8636594"/>
              <a:gd name="connsiteY100" fmla="*/ 3783989 h 6632561"/>
              <a:gd name="connsiteX101" fmla="*/ 6203209 w 8636594"/>
              <a:gd name="connsiteY101" fmla="*/ 3258640 h 6632561"/>
              <a:gd name="connsiteX102" fmla="*/ 6299430 w 8636594"/>
              <a:gd name="connsiteY102" fmla="*/ 3107321 h 6632561"/>
              <a:gd name="connsiteX103" fmla="*/ 6372650 w 8636594"/>
              <a:gd name="connsiteY103" fmla="*/ 2993735 h 6632561"/>
              <a:gd name="connsiteX104" fmla="*/ 6453197 w 8636594"/>
              <a:gd name="connsiteY104" fmla="*/ 2869788 h 6632561"/>
              <a:gd name="connsiteX105" fmla="*/ 6564167 w 8636594"/>
              <a:gd name="connsiteY105" fmla="*/ 2696807 h 6632561"/>
              <a:gd name="connsiteX106" fmla="*/ 6976233 w 8636594"/>
              <a:gd name="connsiteY106" fmla="*/ 2045274 h 6632561"/>
              <a:gd name="connsiteX107" fmla="*/ 7086755 w 8636594"/>
              <a:gd name="connsiteY107" fmla="*/ 1872743 h 6632561"/>
              <a:gd name="connsiteX108" fmla="*/ 7170279 w 8636594"/>
              <a:gd name="connsiteY108" fmla="*/ 1744202 h 6632561"/>
              <a:gd name="connsiteX109" fmla="*/ 7226351 w 8636594"/>
              <a:gd name="connsiteY109" fmla="*/ 1659017 h 6632561"/>
              <a:gd name="connsiteX110" fmla="*/ 7282789 w 8636594"/>
              <a:gd name="connsiteY110" fmla="*/ 1574303 h 6632561"/>
              <a:gd name="connsiteX111" fmla="*/ 7339643 w 8636594"/>
              <a:gd name="connsiteY111" fmla="*/ 1490113 h 6632561"/>
              <a:gd name="connsiteX112" fmla="*/ 7396957 w 8636594"/>
              <a:gd name="connsiteY112" fmla="*/ 1406503 h 6632561"/>
              <a:gd name="connsiteX113" fmla="*/ 7454781 w 8636594"/>
              <a:gd name="connsiteY113" fmla="*/ 1323526 h 6632561"/>
              <a:gd name="connsiteX114" fmla="*/ 7513161 w 8636594"/>
              <a:gd name="connsiteY114" fmla="*/ 1241237 h 6632561"/>
              <a:gd name="connsiteX115" fmla="*/ 7572144 w 8636594"/>
              <a:gd name="connsiteY115" fmla="*/ 1159689 h 6632561"/>
              <a:gd name="connsiteX116" fmla="*/ 7601877 w 8636594"/>
              <a:gd name="connsiteY116" fmla="*/ 1119210 h 6632561"/>
              <a:gd name="connsiteX117" fmla="*/ 7631779 w 8636594"/>
              <a:gd name="connsiteY117" fmla="*/ 1078937 h 6632561"/>
              <a:gd name="connsiteX118" fmla="*/ 7661855 w 8636594"/>
              <a:gd name="connsiteY118" fmla="*/ 1038876 h 6632561"/>
              <a:gd name="connsiteX119" fmla="*/ 7692111 w 8636594"/>
              <a:gd name="connsiteY119" fmla="*/ 999035 h 6632561"/>
              <a:gd name="connsiteX120" fmla="*/ 7722554 w 8636594"/>
              <a:gd name="connsiteY120" fmla="*/ 959419 h 6632561"/>
              <a:gd name="connsiteX121" fmla="*/ 7753190 w 8636594"/>
              <a:gd name="connsiteY121" fmla="*/ 920037 h 6632561"/>
              <a:gd name="connsiteX122" fmla="*/ 7784023 w 8636594"/>
              <a:gd name="connsiteY122" fmla="*/ 880894 h 6632561"/>
              <a:gd name="connsiteX123" fmla="*/ 7815061 w 8636594"/>
              <a:gd name="connsiteY123" fmla="*/ 841997 h 6632561"/>
              <a:gd name="connsiteX124" fmla="*/ 7846308 w 8636594"/>
              <a:gd name="connsiteY124" fmla="*/ 803354 h 6632561"/>
              <a:gd name="connsiteX125" fmla="*/ 7877772 w 8636594"/>
              <a:gd name="connsiteY125" fmla="*/ 764970 h 6632561"/>
              <a:gd name="connsiteX126" fmla="*/ 7909458 w 8636594"/>
              <a:gd name="connsiteY126" fmla="*/ 726853 h 6632561"/>
              <a:gd name="connsiteX127" fmla="*/ 7941371 w 8636594"/>
              <a:gd name="connsiteY127" fmla="*/ 689010 h 6632561"/>
              <a:gd name="connsiteX128" fmla="*/ 7973518 w 8636594"/>
              <a:gd name="connsiteY128" fmla="*/ 651447 h 6632561"/>
              <a:gd name="connsiteX129" fmla="*/ 8005905 w 8636594"/>
              <a:gd name="connsiteY129" fmla="*/ 614171 h 6632561"/>
              <a:gd name="connsiteX130" fmla="*/ 8038538 w 8636594"/>
              <a:gd name="connsiteY130" fmla="*/ 577189 h 6632561"/>
              <a:gd name="connsiteX131" fmla="*/ 8071421 w 8636594"/>
              <a:gd name="connsiteY131" fmla="*/ 540507 h 6632561"/>
              <a:gd name="connsiteX132" fmla="*/ 8104563 w 8636594"/>
              <a:gd name="connsiteY132" fmla="*/ 504132 h 6632561"/>
              <a:gd name="connsiteX133" fmla="*/ 8137967 w 8636594"/>
              <a:gd name="connsiteY133" fmla="*/ 468072 h 6632561"/>
              <a:gd name="connsiteX134" fmla="*/ 8171641 w 8636594"/>
              <a:gd name="connsiteY134" fmla="*/ 432332 h 6632561"/>
              <a:gd name="connsiteX135" fmla="*/ 8205590 w 8636594"/>
              <a:gd name="connsiteY135" fmla="*/ 396920 h 6632561"/>
              <a:gd name="connsiteX136" fmla="*/ 8239820 w 8636594"/>
              <a:gd name="connsiteY136" fmla="*/ 361843 h 6632561"/>
              <a:gd name="connsiteX137" fmla="*/ 8274337 w 8636594"/>
              <a:gd name="connsiteY137" fmla="*/ 327107 h 6632561"/>
              <a:gd name="connsiteX138" fmla="*/ 8309147 w 8636594"/>
              <a:gd name="connsiteY138" fmla="*/ 292718 h 6632561"/>
              <a:gd name="connsiteX139" fmla="*/ 8344256 w 8636594"/>
              <a:gd name="connsiteY139" fmla="*/ 258685 h 6632561"/>
              <a:gd name="connsiteX140" fmla="*/ 8379669 w 8636594"/>
              <a:gd name="connsiteY140" fmla="*/ 225013 h 6632561"/>
              <a:gd name="connsiteX141" fmla="*/ 8415394 w 8636594"/>
              <a:gd name="connsiteY141" fmla="*/ 191709 h 6632561"/>
              <a:gd name="connsiteX142" fmla="*/ 8451434 w 8636594"/>
              <a:gd name="connsiteY142" fmla="*/ 158780 h 6632561"/>
              <a:gd name="connsiteX143" fmla="*/ 8487798 w 8636594"/>
              <a:gd name="connsiteY143" fmla="*/ 126233 h 6632561"/>
              <a:gd name="connsiteX144" fmla="*/ 8524489 w 8636594"/>
              <a:gd name="connsiteY144" fmla="*/ 94075 h 6632561"/>
              <a:gd name="connsiteX145" fmla="*/ 8561515 w 8636594"/>
              <a:gd name="connsiteY145" fmla="*/ 62312 h 6632561"/>
              <a:gd name="connsiteX146" fmla="*/ 8598881 w 8636594"/>
              <a:gd name="connsiteY146" fmla="*/ 30951 h 6632561"/>
              <a:gd name="connsiteX147" fmla="*/ 8636594 w 8636594"/>
              <a:gd name="connsiteY147" fmla="*/ 0 h 6632561"/>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222486 w 8636594"/>
              <a:gd name="connsiteY6" fmla="*/ 5687627 h 6622937"/>
              <a:gd name="connsiteX7" fmla="*/ 2412216 w 8636594"/>
              <a:gd name="connsiteY7" fmla="*/ 5587741 h 6622937"/>
              <a:gd name="connsiteX8" fmla="*/ 2490090 w 8636594"/>
              <a:gd name="connsiteY8" fmla="*/ 5591230 h 6622937"/>
              <a:gd name="connsiteX9" fmla="*/ 2561975 w 8636594"/>
              <a:gd name="connsiteY9" fmla="*/ 5533193 h 6622937"/>
              <a:gd name="connsiteX10" fmla="*/ 2066817 w 8636594"/>
              <a:gd name="connsiteY10" fmla="*/ 6622937 h 6622937"/>
              <a:gd name="connsiteX11" fmla="*/ 2126742 w 8636594"/>
              <a:gd name="connsiteY11" fmla="*/ 6612869 h 6622937"/>
              <a:gd name="connsiteX12" fmla="*/ 2185991 w 8636594"/>
              <a:gd name="connsiteY12" fmla="*/ 6602362 h 6622937"/>
              <a:gd name="connsiteX13" fmla="*/ 2244569 w 8636594"/>
              <a:gd name="connsiteY13" fmla="*/ 6591417 h 6622937"/>
              <a:gd name="connsiteX14" fmla="*/ 2302482 w 8636594"/>
              <a:gd name="connsiteY14" fmla="*/ 6580040 h 6622937"/>
              <a:gd name="connsiteX15" fmla="*/ 2359737 w 8636594"/>
              <a:gd name="connsiteY15" fmla="*/ 6568233 h 6622937"/>
              <a:gd name="connsiteX16" fmla="*/ 2416341 w 8636594"/>
              <a:gd name="connsiteY16" fmla="*/ 6555999 h 6622937"/>
              <a:gd name="connsiteX17" fmla="*/ 2472299 w 8636594"/>
              <a:gd name="connsiteY17" fmla="*/ 6543344 h 6622937"/>
              <a:gd name="connsiteX18" fmla="*/ 2527618 w 8636594"/>
              <a:gd name="connsiteY18" fmla="*/ 6530269 h 6622937"/>
              <a:gd name="connsiteX19" fmla="*/ 2582304 w 8636594"/>
              <a:gd name="connsiteY19" fmla="*/ 6516778 h 6622937"/>
              <a:gd name="connsiteX20" fmla="*/ 2636364 w 8636594"/>
              <a:gd name="connsiteY20" fmla="*/ 6502876 h 6622937"/>
              <a:gd name="connsiteX21" fmla="*/ 2689804 w 8636594"/>
              <a:gd name="connsiteY21" fmla="*/ 6488565 h 6622937"/>
              <a:gd name="connsiteX22" fmla="*/ 2742629 w 8636594"/>
              <a:gd name="connsiteY22" fmla="*/ 6473849 h 6622937"/>
              <a:gd name="connsiteX23" fmla="*/ 2794848 w 8636594"/>
              <a:gd name="connsiteY23" fmla="*/ 6458731 h 6622937"/>
              <a:gd name="connsiteX24" fmla="*/ 2846466 w 8636594"/>
              <a:gd name="connsiteY24" fmla="*/ 6443216 h 6622937"/>
              <a:gd name="connsiteX25" fmla="*/ 2897488 w 8636594"/>
              <a:gd name="connsiteY25" fmla="*/ 6427305 h 6622937"/>
              <a:gd name="connsiteX26" fmla="*/ 2947923 w 8636594"/>
              <a:gd name="connsiteY26" fmla="*/ 6411004 h 6622937"/>
              <a:gd name="connsiteX27" fmla="*/ 2997775 w 8636594"/>
              <a:gd name="connsiteY27" fmla="*/ 6394316 h 6622937"/>
              <a:gd name="connsiteX28" fmla="*/ 3047052 w 8636594"/>
              <a:gd name="connsiteY28" fmla="*/ 6377243 h 6622937"/>
              <a:gd name="connsiteX29" fmla="*/ 3095759 w 8636594"/>
              <a:gd name="connsiteY29" fmla="*/ 6359791 h 6622937"/>
              <a:gd name="connsiteX30" fmla="*/ 3143903 w 8636594"/>
              <a:gd name="connsiteY30" fmla="*/ 6341961 h 6622937"/>
              <a:gd name="connsiteX31" fmla="*/ 3191491 w 8636594"/>
              <a:gd name="connsiteY31" fmla="*/ 6323757 h 6622937"/>
              <a:gd name="connsiteX32" fmla="*/ 3238528 w 8636594"/>
              <a:gd name="connsiteY32" fmla="*/ 6305184 h 6622937"/>
              <a:gd name="connsiteX33" fmla="*/ 3285021 w 8636594"/>
              <a:gd name="connsiteY33" fmla="*/ 6286245 h 6622937"/>
              <a:gd name="connsiteX34" fmla="*/ 3330977 w 8636594"/>
              <a:gd name="connsiteY34" fmla="*/ 6266942 h 6622937"/>
              <a:gd name="connsiteX35" fmla="*/ 3376401 w 8636594"/>
              <a:gd name="connsiteY35" fmla="*/ 6247281 h 6622937"/>
              <a:gd name="connsiteX36" fmla="*/ 3421300 w 8636594"/>
              <a:gd name="connsiteY36" fmla="*/ 6227263 h 6622937"/>
              <a:gd name="connsiteX37" fmla="*/ 3465680 w 8636594"/>
              <a:gd name="connsiteY37" fmla="*/ 6206893 h 6622937"/>
              <a:gd name="connsiteX38" fmla="*/ 3509548 w 8636594"/>
              <a:gd name="connsiteY38" fmla="*/ 6186174 h 6622937"/>
              <a:gd name="connsiteX39" fmla="*/ 3552910 w 8636594"/>
              <a:gd name="connsiteY39" fmla="*/ 6165110 h 6622937"/>
              <a:gd name="connsiteX40" fmla="*/ 3595773 w 8636594"/>
              <a:gd name="connsiteY40" fmla="*/ 6143704 h 6622937"/>
              <a:gd name="connsiteX41" fmla="*/ 3638142 w 8636594"/>
              <a:gd name="connsiteY41" fmla="*/ 6121960 h 6622937"/>
              <a:gd name="connsiteX42" fmla="*/ 3680024 w 8636594"/>
              <a:gd name="connsiteY42" fmla="*/ 6099881 h 6622937"/>
              <a:gd name="connsiteX43" fmla="*/ 3721426 w 8636594"/>
              <a:gd name="connsiteY43" fmla="*/ 6077471 h 6622937"/>
              <a:gd name="connsiteX44" fmla="*/ 3762353 w 8636594"/>
              <a:gd name="connsiteY44" fmla="*/ 6054733 h 6622937"/>
              <a:gd name="connsiteX45" fmla="*/ 3802812 w 8636594"/>
              <a:gd name="connsiteY45" fmla="*/ 6031671 h 6622937"/>
              <a:gd name="connsiteX46" fmla="*/ 3842810 w 8636594"/>
              <a:gd name="connsiteY46" fmla="*/ 6008288 h 6622937"/>
              <a:gd name="connsiteX47" fmla="*/ 3882352 w 8636594"/>
              <a:gd name="connsiteY47" fmla="*/ 5984588 h 6622937"/>
              <a:gd name="connsiteX48" fmla="*/ 3921445 w 8636594"/>
              <a:gd name="connsiteY48" fmla="*/ 5960574 h 6622937"/>
              <a:gd name="connsiteX49" fmla="*/ 3960096 w 8636594"/>
              <a:gd name="connsiteY49" fmla="*/ 5936250 h 6622937"/>
              <a:gd name="connsiteX50" fmla="*/ 3998311 w 8636594"/>
              <a:gd name="connsiteY50" fmla="*/ 5911619 h 6622937"/>
              <a:gd name="connsiteX51" fmla="*/ 4036095 w 8636594"/>
              <a:gd name="connsiteY51" fmla="*/ 5886685 h 6622937"/>
              <a:gd name="connsiteX52" fmla="*/ 4073456 w 8636594"/>
              <a:gd name="connsiteY52" fmla="*/ 5861452 h 6622937"/>
              <a:gd name="connsiteX53" fmla="*/ 4110400 w 8636594"/>
              <a:gd name="connsiteY53" fmla="*/ 5835922 h 6622937"/>
              <a:gd name="connsiteX54" fmla="*/ 4146933 w 8636594"/>
              <a:gd name="connsiteY54" fmla="*/ 5810100 h 6622937"/>
              <a:gd name="connsiteX55" fmla="*/ 4183061 w 8636594"/>
              <a:gd name="connsiteY55" fmla="*/ 5783988 h 6622937"/>
              <a:gd name="connsiteX56" fmla="*/ 4218791 w 8636594"/>
              <a:gd name="connsiteY56" fmla="*/ 5757591 h 6622937"/>
              <a:gd name="connsiteX57" fmla="*/ 4254129 w 8636594"/>
              <a:gd name="connsiteY57" fmla="*/ 5730912 h 6622937"/>
              <a:gd name="connsiteX58" fmla="*/ 4289081 w 8636594"/>
              <a:gd name="connsiteY58" fmla="*/ 5703955 h 6622937"/>
              <a:gd name="connsiteX59" fmla="*/ 4323654 w 8636594"/>
              <a:gd name="connsiteY59" fmla="*/ 5676722 h 6622937"/>
              <a:gd name="connsiteX60" fmla="*/ 4357854 w 8636594"/>
              <a:gd name="connsiteY60" fmla="*/ 5649218 h 6622937"/>
              <a:gd name="connsiteX61" fmla="*/ 4391688 w 8636594"/>
              <a:gd name="connsiteY61" fmla="*/ 5621446 h 6622937"/>
              <a:gd name="connsiteX62" fmla="*/ 4425162 w 8636594"/>
              <a:gd name="connsiteY62" fmla="*/ 5593409 h 6622937"/>
              <a:gd name="connsiteX63" fmla="*/ 4458281 w 8636594"/>
              <a:gd name="connsiteY63" fmla="*/ 5565111 h 6622937"/>
              <a:gd name="connsiteX64" fmla="*/ 4491053 w 8636594"/>
              <a:gd name="connsiteY64" fmla="*/ 5536556 h 6622937"/>
              <a:gd name="connsiteX65" fmla="*/ 4523484 w 8636594"/>
              <a:gd name="connsiteY65" fmla="*/ 5507747 h 6622937"/>
              <a:gd name="connsiteX66" fmla="*/ 4555580 w 8636594"/>
              <a:gd name="connsiteY66" fmla="*/ 5478687 h 6622937"/>
              <a:gd name="connsiteX67" fmla="*/ 4587347 w 8636594"/>
              <a:gd name="connsiteY67" fmla="*/ 5449380 h 6622937"/>
              <a:gd name="connsiteX68" fmla="*/ 4618793 w 8636594"/>
              <a:gd name="connsiteY68" fmla="*/ 5419830 h 6622937"/>
              <a:gd name="connsiteX69" fmla="*/ 4649922 w 8636594"/>
              <a:gd name="connsiteY69" fmla="*/ 5390040 h 6622937"/>
              <a:gd name="connsiteX70" fmla="*/ 4680742 w 8636594"/>
              <a:gd name="connsiteY70" fmla="*/ 5360014 h 6622937"/>
              <a:gd name="connsiteX71" fmla="*/ 4711259 w 8636594"/>
              <a:gd name="connsiteY71" fmla="*/ 5329755 h 6622937"/>
              <a:gd name="connsiteX72" fmla="*/ 4741478 w 8636594"/>
              <a:gd name="connsiteY72" fmla="*/ 5299266 h 6622937"/>
              <a:gd name="connsiteX73" fmla="*/ 4771408 w 8636594"/>
              <a:gd name="connsiteY73" fmla="*/ 5268551 h 6622937"/>
              <a:gd name="connsiteX74" fmla="*/ 4801053 w 8636594"/>
              <a:gd name="connsiteY74" fmla="*/ 5237614 h 6622937"/>
              <a:gd name="connsiteX75" fmla="*/ 4830420 w 8636594"/>
              <a:gd name="connsiteY75" fmla="*/ 5206458 h 6622937"/>
              <a:gd name="connsiteX76" fmla="*/ 4859516 w 8636594"/>
              <a:gd name="connsiteY76" fmla="*/ 5175087 h 6622937"/>
              <a:gd name="connsiteX77" fmla="*/ 4888347 w 8636594"/>
              <a:gd name="connsiteY77" fmla="*/ 5143504 h 6622937"/>
              <a:gd name="connsiteX78" fmla="*/ 4916919 w 8636594"/>
              <a:gd name="connsiteY78" fmla="*/ 5111713 h 6622937"/>
              <a:gd name="connsiteX79" fmla="*/ 4945238 w 8636594"/>
              <a:gd name="connsiteY79" fmla="*/ 5079717 h 6622937"/>
              <a:gd name="connsiteX80" fmla="*/ 4973311 w 8636594"/>
              <a:gd name="connsiteY80" fmla="*/ 5047519 h 6622937"/>
              <a:gd name="connsiteX81" fmla="*/ 5001145 w 8636594"/>
              <a:gd name="connsiteY81" fmla="*/ 5015124 h 6622937"/>
              <a:gd name="connsiteX82" fmla="*/ 5028745 w 8636594"/>
              <a:gd name="connsiteY82" fmla="*/ 4982535 h 6622937"/>
              <a:gd name="connsiteX83" fmla="*/ 5056117 w 8636594"/>
              <a:gd name="connsiteY83" fmla="*/ 4949755 h 6622937"/>
              <a:gd name="connsiteX84" fmla="*/ 5083269 w 8636594"/>
              <a:gd name="connsiteY84" fmla="*/ 4916787 h 6622937"/>
              <a:gd name="connsiteX85" fmla="*/ 5110207 w 8636594"/>
              <a:gd name="connsiteY85" fmla="*/ 4883636 h 6622937"/>
              <a:gd name="connsiteX86" fmla="*/ 5136937 w 8636594"/>
              <a:gd name="connsiteY86" fmla="*/ 4850305 h 6622937"/>
              <a:gd name="connsiteX87" fmla="*/ 5163464 w 8636594"/>
              <a:gd name="connsiteY87" fmla="*/ 4816797 h 6622937"/>
              <a:gd name="connsiteX88" fmla="*/ 5215940 w 8636594"/>
              <a:gd name="connsiteY88" fmla="*/ 4749265 h 6622937"/>
              <a:gd name="connsiteX89" fmla="*/ 5267684 w 8636594"/>
              <a:gd name="connsiteY89" fmla="*/ 4681068 h 6622937"/>
              <a:gd name="connsiteX90" fmla="*/ 5318748 w 8636594"/>
              <a:gd name="connsiteY90" fmla="*/ 4612234 h 6622937"/>
              <a:gd name="connsiteX91" fmla="*/ 5369182 w 8636594"/>
              <a:gd name="connsiteY91" fmla="*/ 4542793 h 6622937"/>
              <a:gd name="connsiteX92" fmla="*/ 5419038 w 8636594"/>
              <a:gd name="connsiteY92" fmla="*/ 4472771 h 6622937"/>
              <a:gd name="connsiteX93" fmla="*/ 5468365 w 8636594"/>
              <a:gd name="connsiteY93" fmla="*/ 4402196 h 6622937"/>
              <a:gd name="connsiteX94" fmla="*/ 5517215 w 8636594"/>
              <a:gd name="connsiteY94" fmla="*/ 4331098 h 6622937"/>
              <a:gd name="connsiteX95" fmla="*/ 5565637 w 8636594"/>
              <a:gd name="connsiteY95" fmla="*/ 4259503 h 6622937"/>
              <a:gd name="connsiteX96" fmla="*/ 5613684 w 8636594"/>
              <a:gd name="connsiteY96" fmla="*/ 4187441 h 6622937"/>
              <a:gd name="connsiteX97" fmla="*/ 5685160 w 8636594"/>
              <a:gd name="connsiteY97" fmla="*/ 4078531 h 6622937"/>
              <a:gd name="connsiteX98" fmla="*/ 5756074 w 8636594"/>
              <a:gd name="connsiteY98" fmla="*/ 3968727 h 6622937"/>
              <a:gd name="connsiteX99" fmla="*/ 5873483 w 8636594"/>
              <a:gd name="connsiteY99" fmla="*/ 3783989 h 6622937"/>
              <a:gd name="connsiteX100" fmla="*/ 6203209 w 8636594"/>
              <a:gd name="connsiteY100" fmla="*/ 3258640 h 6622937"/>
              <a:gd name="connsiteX101" fmla="*/ 6299430 w 8636594"/>
              <a:gd name="connsiteY101" fmla="*/ 3107321 h 6622937"/>
              <a:gd name="connsiteX102" fmla="*/ 6372650 w 8636594"/>
              <a:gd name="connsiteY102" fmla="*/ 2993735 h 6622937"/>
              <a:gd name="connsiteX103" fmla="*/ 6453197 w 8636594"/>
              <a:gd name="connsiteY103" fmla="*/ 2869788 h 6622937"/>
              <a:gd name="connsiteX104" fmla="*/ 6564167 w 8636594"/>
              <a:gd name="connsiteY104" fmla="*/ 2696807 h 6622937"/>
              <a:gd name="connsiteX105" fmla="*/ 6976233 w 8636594"/>
              <a:gd name="connsiteY105" fmla="*/ 2045274 h 6622937"/>
              <a:gd name="connsiteX106" fmla="*/ 7086755 w 8636594"/>
              <a:gd name="connsiteY106" fmla="*/ 1872743 h 6622937"/>
              <a:gd name="connsiteX107" fmla="*/ 7170279 w 8636594"/>
              <a:gd name="connsiteY107" fmla="*/ 1744202 h 6622937"/>
              <a:gd name="connsiteX108" fmla="*/ 7226351 w 8636594"/>
              <a:gd name="connsiteY108" fmla="*/ 1659017 h 6622937"/>
              <a:gd name="connsiteX109" fmla="*/ 7282789 w 8636594"/>
              <a:gd name="connsiteY109" fmla="*/ 1574303 h 6622937"/>
              <a:gd name="connsiteX110" fmla="*/ 7339643 w 8636594"/>
              <a:gd name="connsiteY110" fmla="*/ 1490113 h 6622937"/>
              <a:gd name="connsiteX111" fmla="*/ 7396957 w 8636594"/>
              <a:gd name="connsiteY111" fmla="*/ 1406503 h 6622937"/>
              <a:gd name="connsiteX112" fmla="*/ 7454781 w 8636594"/>
              <a:gd name="connsiteY112" fmla="*/ 1323526 h 6622937"/>
              <a:gd name="connsiteX113" fmla="*/ 7513161 w 8636594"/>
              <a:gd name="connsiteY113" fmla="*/ 1241237 h 6622937"/>
              <a:gd name="connsiteX114" fmla="*/ 7572144 w 8636594"/>
              <a:gd name="connsiteY114" fmla="*/ 1159689 h 6622937"/>
              <a:gd name="connsiteX115" fmla="*/ 7601877 w 8636594"/>
              <a:gd name="connsiteY115" fmla="*/ 1119210 h 6622937"/>
              <a:gd name="connsiteX116" fmla="*/ 7631779 w 8636594"/>
              <a:gd name="connsiteY116" fmla="*/ 1078937 h 6622937"/>
              <a:gd name="connsiteX117" fmla="*/ 7661855 w 8636594"/>
              <a:gd name="connsiteY117" fmla="*/ 1038876 h 6622937"/>
              <a:gd name="connsiteX118" fmla="*/ 7692111 w 8636594"/>
              <a:gd name="connsiteY118" fmla="*/ 999035 h 6622937"/>
              <a:gd name="connsiteX119" fmla="*/ 7722554 w 8636594"/>
              <a:gd name="connsiteY119" fmla="*/ 959419 h 6622937"/>
              <a:gd name="connsiteX120" fmla="*/ 7753190 w 8636594"/>
              <a:gd name="connsiteY120" fmla="*/ 920037 h 6622937"/>
              <a:gd name="connsiteX121" fmla="*/ 7784023 w 8636594"/>
              <a:gd name="connsiteY121" fmla="*/ 880894 h 6622937"/>
              <a:gd name="connsiteX122" fmla="*/ 7815061 w 8636594"/>
              <a:gd name="connsiteY122" fmla="*/ 841997 h 6622937"/>
              <a:gd name="connsiteX123" fmla="*/ 7846308 w 8636594"/>
              <a:gd name="connsiteY123" fmla="*/ 803354 h 6622937"/>
              <a:gd name="connsiteX124" fmla="*/ 7877772 w 8636594"/>
              <a:gd name="connsiteY124" fmla="*/ 764970 h 6622937"/>
              <a:gd name="connsiteX125" fmla="*/ 7909458 w 8636594"/>
              <a:gd name="connsiteY125" fmla="*/ 726853 h 6622937"/>
              <a:gd name="connsiteX126" fmla="*/ 7941371 w 8636594"/>
              <a:gd name="connsiteY126" fmla="*/ 689010 h 6622937"/>
              <a:gd name="connsiteX127" fmla="*/ 7973518 w 8636594"/>
              <a:gd name="connsiteY127" fmla="*/ 651447 h 6622937"/>
              <a:gd name="connsiteX128" fmla="*/ 8005905 w 8636594"/>
              <a:gd name="connsiteY128" fmla="*/ 614171 h 6622937"/>
              <a:gd name="connsiteX129" fmla="*/ 8038538 w 8636594"/>
              <a:gd name="connsiteY129" fmla="*/ 577189 h 6622937"/>
              <a:gd name="connsiteX130" fmla="*/ 8071421 w 8636594"/>
              <a:gd name="connsiteY130" fmla="*/ 540507 h 6622937"/>
              <a:gd name="connsiteX131" fmla="*/ 8104563 w 8636594"/>
              <a:gd name="connsiteY131" fmla="*/ 504132 h 6622937"/>
              <a:gd name="connsiteX132" fmla="*/ 8137967 w 8636594"/>
              <a:gd name="connsiteY132" fmla="*/ 468072 h 6622937"/>
              <a:gd name="connsiteX133" fmla="*/ 8171641 w 8636594"/>
              <a:gd name="connsiteY133" fmla="*/ 432332 h 6622937"/>
              <a:gd name="connsiteX134" fmla="*/ 8205590 w 8636594"/>
              <a:gd name="connsiteY134" fmla="*/ 396920 h 6622937"/>
              <a:gd name="connsiteX135" fmla="*/ 8239820 w 8636594"/>
              <a:gd name="connsiteY135" fmla="*/ 361843 h 6622937"/>
              <a:gd name="connsiteX136" fmla="*/ 8274337 w 8636594"/>
              <a:gd name="connsiteY136" fmla="*/ 327107 h 6622937"/>
              <a:gd name="connsiteX137" fmla="*/ 8309147 w 8636594"/>
              <a:gd name="connsiteY137" fmla="*/ 292718 h 6622937"/>
              <a:gd name="connsiteX138" fmla="*/ 8344256 w 8636594"/>
              <a:gd name="connsiteY138" fmla="*/ 258685 h 6622937"/>
              <a:gd name="connsiteX139" fmla="*/ 8379669 w 8636594"/>
              <a:gd name="connsiteY139" fmla="*/ 225013 h 6622937"/>
              <a:gd name="connsiteX140" fmla="*/ 8415394 w 8636594"/>
              <a:gd name="connsiteY140" fmla="*/ 191709 h 6622937"/>
              <a:gd name="connsiteX141" fmla="*/ 8451434 w 8636594"/>
              <a:gd name="connsiteY141" fmla="*/ 158780 h 6622937"/>
              <a:gd name="connsiteX142" fmla="*/ 8487798 w 8636594"/>
              <a:gd name="connsiteY142" fmla="*/ 126233 h 6622937"/>
              <a:gd name="connsiteX143" fmla="*/ 8524489 w 8636594"/>
              <a:gd name="connsiteY143" fmla="*/ 94075 h 6622937"/>
              <a:gd name="connsiteX144" fmla="*/ 8561515 w 8636594"/>
              <a:gd name="connsiteY144" fmla="*/ 62312 h 6622937"/>
              <a:gd name="connsiteX145" fmla="*/ 8598881 w 8636594"/>
              <a:gd name="connsiteY145" fmla="*/ 30951 h 6622937"/>
              <a:gd name="connsiteX146" fmla="*/ 8636594 w 8636594"/>
              <a:gd name="connsiteY146"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222486 w 8636594"/>
              <a:gd name="connsiteY5" fmla="*/ 5687627 h 6622937"/>
              <a:gd name="connsiteX6" fmla="*/ 2412216 w 8636594"/>
              <a:gd name="connsiteY6" fmla="*/ 5587741 h 6622937"/>
              <a:gd name="connsiteX7" fmla="*/ 2490090 w 8636594"/>
              <a:gd name="connsiteY7" fmla="*/ 5591230 h 6622937"/>
              <a:gd name="connsiteX8" fmla="*/ 2561975 w 8636594"/>
              <a:gd name="connsiteY8" fmla="*/ 5533193 h 6622937"/>
              <a:gd name="connsiteX9" fmla="*/ 2066817 w 8636594"/>
              <a:gd name="connsiteY9" fmla="*/ 6622937 h 6622937"/>
              <a:gd name="connsiteX10" fmla="*/ 2126742 w 8636594"/>
              <a:gd name="connsiteY10" fmla="*/ 6612869 h 6622937"/>
              <a:gd name="connsiteX11" fmla="*/ 2185991 w 8636594"/>
              <a:gd name="connsiteY11" fmla="*/ 6602362 h 6622937"/>
              <a:gd name="connsiteX12" fmla="*/ 2244569 w 8636594"/>
              <a:gd name="connsiteY12" fmla="*/ 6591417 h 6622937"/>
              <a:gd name="connsiteX13" fmla="*/ 2302482 w 8636594"/>
              <a:gd name="connsiteY13" fmla="*/ 6580040 h 6622937"/>
              <a:gd name="connsiteX14" fmla="*/ 2359737 w 8636594"/>
              <a:gd name="connsiteY14" fmla="*/ 6568233 h 6622937"/>
              <a:gd name="connsiteX15" fmla="*/ 2416341 w 8636594"/>
              <a:gd name="connsiteY15" fmla="*/ 6555999 h 6622937"/>
              <a:gd name="connsiteX16" fmla="*/ 2472299 w 8636594"/>
              <a:gd name="connsiteY16" fmla="*/ 6543344 h 6622937"/>
              <a:gd name="connsiteX17" fmla="*/ 2527618 w 8636594"/>
              <a:gd name="connsiteY17" fmla="*/ 6530269 h 6622937"/>
              <a:gd name="connsiteX18" fmla="*/ 2582304 w 8636594"/>
              <a:gd name="connsiteY18" fmla="*/ 6516778 h 6622937"/>
              <a:gd name="connsiteX19" fmla="*/ 2636364 w 8636594"/>
              <a:gd name="connsiteY19" fmla="*/ 6502876 h 6622937"/>
              <a:gd name="connsiteX20" fmla="*/ 2689804 w 8636594"/>
              <a:gd name="connsiteY20" fmla="*/ 6488565 h 6622937"/>
              <a:gd name="connsiteX21" fmla="*/ 2742629 w 8636594"/>
              <a:gd name="connsiteY21" fmla="*/ 6473849 h 6622937"/>
              <a:gd name="connsiteX22" fmla="*/ 2794848 w 8636594"/>
              <a:gd name="connsiteY22" fmla="*/ 6458731 h 6622937"/>
              <a:gd name="connsiteX23" fmla="*/ 2846466 w 8636594"/>
              <a:gd name="connsiteY23" fmla="*/ 6443216 h 6622937"/>
              <a:gd name="connsiteX24" fmla="*/ 2897488 w 8636594"/>
              <a:gd name="connsiteY24" fmla="*/ 6427305 h 6622937"/>
              <a:gd name="connsiteX25" fmla="*/ 2947923 w 8636594"/>
              <a:gd name="connsiteY25" fmla="*/ 6411004 h 6622937"/>
              <a:gd name="connsiteX26" fmla="*/ 2997775 w 8636594"/>
              <a:gd name="connsiteY26" fmla="*/ 6394316 h 6622937"/>
              <a:gd name="connsiteX27" fmla="*/ 3047052 w 8636594"/>
              <a:gd name="connsiteY27" fmla="*/ 6377243 h 6622937"/>
              <a:gd name="connsiteX28" fmla="*/ 3095759 w 8636594"/>
              <a:gd name="connsiteY28" fmla="*/ 6359791 h 6622937"/>
              <a:gd name="connsiteX29" fmla="*/ 3143903 w 8636594"/>
              <a:gd name="connsiteY29" fmla="*/ 6341961 h 6622937"/>
              <a:gd name="connsiteX30" fmla="*/ 3191491 w 8636594"/>
              <a:gd name="connsiteY30" fmla="*/ 6323757 h 6622937"/>
              <a:gd name="connsiteX31" fmla="*/ 3238528 w 8636594"/>
              <a:gd name="connsiteY31" fmla="*/ 6305184 h 6622937"/>
              <a:gd name="connsiteX32" fmla="*/ 3285021 w 8636594"/>
              <a:gd name="connsiteY32" fmla="*/ 6286245 h 6622937"/>
              <a:gd name="connsiteX33" fmla="*/ 3330977 w 8636594"/>
              <a:gd name="connsiteY33" fmla="*/ 6266942 h 6622937"/>
              <a:gd name="connsiteX34" fmla="*/ 3376401 w 8636594"/>
              <a:gd name="connsiteY34" fmla="*/ 6247281 h 6622937"/>
              <a:gd name="connsiteX35" fmla="*/ 3421300 w 8636594"/>
              <a:gd name="connsiteY35" fmla="*/ 6227263 h 6622937"/>
              <a:gd name="connsiteX36" fmla="*/ 3465680 w 8636594"/>
              <a:gd name="connsiteY36" fmla="*/ 6206893 h 6622937"/>
              <a:gd name="connsiteX37" fmla="*/ 3509548 w 8636594"/>
              <a:gd name="connsiteY37" fmla="*/ 6186174 h 6622937"/>
              <a:gd name="connsiteX38" fmla="*/ 3552910 w 8636594"/>
              <a:gd name="connsiteY38" fmla="*/ 6165110 h 6622937"/>
              <a:gd name="connsiteX39" fmla="*/ 3595773 w 8636594"/>
              <a:gd name="connsiteY39" fmla="*/ 6143704 h 6622937"/>
              <a:gd name="connsiteX40" fmla="*/ 3638142 w 8636594"/>
              <a:gd name="connsiteY40" fmla="*/ 6121960 h 6622937"/>
              <a:gd name="connsiteX41" fmla="*/ 3680024 w 8636594"/>
              <a:gd name="connsiteY41" fmla="*/ 6099881 h 6622937"/>
              <a:gd name="connsiteX42" fmla="*/ 3721426 w 8636594"/>
              <a:gd name="connsiteY42" fmla="*/ 6077471 h 6622937"/>
              <a:gd name="connsiteX43" fmla="*/ 3762353 w 8636594"/>
              <a:gd name="connsiteY43" fmla="*/ 6054733 h 6622937"/>
              <a:gd name="connsiteX44" fmla="*/ 3802812 w 8636594"/>
              <a:gd name="connsiteY44" fmla="*/ 6031671 h 6622937"/>
              <a:gd name="connsiteX45" fmla="*/ 3842810 w 8636594"/>
              <a:gd name="connsiteY45" fmla="*/ 6008288 h 6622937"/>
              <a:gd name="connsiteX46" fmla="*/ 3882352 w 8636594"/>
              <a:gd name="connsiteY46" fmla="*/ 5984588 h 6622937"/>
              <a:gd name="connsiteX47" fmla="*/ 3921445 w 8636594"/>
              <a:gd name="connsiteY47" fmla="*/ 5960574 h 6622937"/>
              <a:gd name="connsiteX48" fmla="*/ 3960096 w 8636594"/>
              <a:gd name="connsiteY48" fmla="*/ 5936250 h 6622937"/>
              <a:gd name="connsiteX49" fmla="*/ 3998311 w 8636594"/>
              <a:gd name="connsiteY49" fmla="*/ 5911619 h 6622937"/>
              <a:gd name="connsiteX50" fmla="*/ 4036095 w 8636594"/>
              <a:gd name="connsiteY50" fmla="*/ 5886685 h 6622937"/>
              <a:gd name="connsiteX51" fmla="*/ 4073456 w 8636594"/>
              <a:gd name="connsiteY51" fmla="*/ 5861452 h 6622937"/>
              <a:gd name="connsiteX52" fmla="*/ 4110400 w 8636594"/>
              <a:gd name="connsiteY52" fmla="*/ 5835922 h 6622937"/>
              <a:gd name="connsiteX53" fmla="*/ 4146933 w 8636594"/>
              <a:gd name="connsiteY53" fmla="*/ 5810100 h 6622937"/>
              <a:gd name="connsiteX54" fmla="*/ 4183061 w 8636594"/>
              <a:gd name="connsiteY54" fmla="*/ 5783988 h 6622937"/>
              <a:gd name="connsiteX55" fmla="*/ 4218791 w 8636594"/>
              <a:gd name="connsiteY55" fmla="*/ 5757591 h 6622937"/>
              <a:gd name="connsiteX56" fmla="*/ 4254129 w 8636594"/>
              <a:gd name="connsiteY56" fmla="*/ 5730912 h 6622937"/>
              <a:gd name="connsiteX57" fmla="*/ 4289081 w 8636594"/>
              <a:gd name="connsiteY57" fmla="*/ 5703955 h 6622937"/>
              <a:gd name="connsiteX58" fmla="*/ 4323654 w 8636594"/>
              <a:gd name="connsiteY58" fmla="*/ 5676722 h 6622937"/>
              <a:gd name="connsiteX59" fmla="*/ 4357854 w 8636594"/>
              <a:gd name="connsiteY59" fmla="*/ 5649218 h 6622937"/>
              <a:gd name="connsiteX60" fmla="*/ 4391688 w 8636594"/>
              <a:gd name="connsiteY60" fmla="*/ 5621446 h 6622937"/>
              <a:gd name="connsiteX61" fmla="*/ 4425162 w 8636594"/>
              <a:gd name="connsiteY61" fmla="*/ 5593409 h 6622937"/>
              <a:gd name="connsiteX62" fmla="*/ 4458281 w 8636594"/>
              <a:gd name="connsiteY62" fmla="*/ 5565111 h 6622937"/>
              <a:gd name="connsiteX63" fmla="*/ 4491053 w 8636594"/>
              <a:gd name="connsiteY63" fmla="*/ 5536556 h 6622937"/>
              <a:gd name="connsiteX64" fmla="*/ 4523484 w 8636594"/>
              <a:gd name="connsiteY64" fmla="*/ 5507747 h 6622937"/>
              <a:gd name="connsiteX65" fmla="*/ 4555580 w 8636594"/>
              <a:gd name="connsiteY65" fmla="*/ 5478687 h 6622937"/>
              <a:gd name="connsiteX66" fmla="*/ 4587347 w 8636594"/>
              <a:gd name="connsiteY66" fmla="*/ 5449380 h 6622937"/>
              <a:gd name="connsiteX67" fmla="*/ 4618793 w 8636594"/>
              <a:gd name="connsiteY67" fmla="*/ 5419830 h 6622937"/>
              <a:gd name="connsiteX68" fmla="*/ 4649922 w 8636594"/>
              <a:gd name="connsiteY68" fmla="*/ 5390040 h 6622937"/>
              <a:gd name="connsiteX69" fmla="*/ 4680742 w 8636594"/>
              <a:gd name="connsiteY69" fmla="*/ 5360014 h 6622937"/>
              <a:gd name="connsiteX70" fmla="*/ 4711259 w 8636594"/>
              <a:gd name="connsiteY70" fmla="*/ 5329755 h 6622937"/>
              <a:gd name="connsiteX71" fmla="*/ 4741478 w 8636594"/>
              <a:gd name="connsiteY71" fmla="*/ 5299266 h 6622937"/>
              <a:gd name="connsiteX72" fmla="*/ 4771408 w 8636594"/>
              <a:gd name="connsiteY72" fmla="*/ 5268551 h 6622937"/>
              <a:gd name="connsiteX73" fmla="*/ 4801053 w 8636594"/>
              <a:gd name="connsiteY73" fmla="*/ 5237614 h 6622937"/>
              <a:gd name="connsiteX74" fmla="*/ 4830420 w 8636594"/>
              <a:gd name="connsiteY74" fmla="*/ 5206458 h 6622937"/>
              <a:gd name="connsiteX75" fmla="*/ 4859516 w 8636594"/>
              <a:gd name="connsiteY75" fmla="*/ 5175087 h 6622937"/>
              <a:gd name="connsiteX76" fmla="*/ 4888347 w 8636594"/>
              <a:gd name="connsiteY76" fmla="*/ 5143504 h 6622937"/>
              <a:gd name="connsiteX77" fmla="*/ 4916919 w 8636594"/>
              <a:gd name="connsiteY77" fmla="*/ 5111713 h 6622937"/>
              <a:gd name="connsiteX78" fmla="*/ 4945238 w 8636594"/>
              <a:gd name="connsiteY78" fmla="*/ 5079717 h 6622937"/>
              <a:gd name="connsiteX79" fmla="*/ 4973311 w 8636594"/>
              <a:gd name="connsiteY79" fmla="*/ 5047519 h 6622937"/>
              <a:gd name="connsiteX80" fmla="*/ 5001145 w 8636594"/>
              <a:gd name="connsiteY80" fmla="*/ 5015124 h 6622937"/>
              <a:gd name="connsiteX81" fmla="*/ 5028745 w 8636594"/>
              <a:gd name="connsiteY81" fmla="*/ 4982535 h 6622937"/>
              <a:gd name="connsiteX82" fmla="*/ 5056117 w 8636594"/>
              <a:gd name="connsiteY82" fmla="*/ 4949755 h 6622937"/>
              <a:gd name="connsiteX83" fmla="*/ 5083269 w 8636594"/>
              <a:gd name="connsiteY83" fmla="*/ 4916787 h 6622937"/>
              <a:gd name="connsiteX84" fmla="*/ 5110207 w 8636594"/>
              <a:gd name="connsiteY84" fmla="*/ 4883636 h 6622937"/>
              <a:gd name="connsiteX85" fmla="*/ 5136937 w 8636594"/>
              <a:gd name="connsiteY85" fmla="*/ 4850305 h 6622937"/>
              <a:gd name="connsiteX86" fmla="*/ 5163464 w 8636594"/>
              <a:gd name="connsiteY86" fmla="*/ 4816797 h 6622937"/>
              <a:gd name="connsiteX87" fmla="*/ 5215940 w 8636594"/>
              <a:gd name="connsiteY87" fmla="*/ 4749265 h 6622937"/>
              <a:gd name="connsiteX88" fmla="*/ 5267684 w 8636594"/>
              <a:gd name="connsiteY88" fmla="*/ 4681068 h 6622937"/>
              <a:gd name="connsiteX89" fmla="*/ 5318748 w 8636594"/>
              <a:gd name="connsiteY89" fmla="*/ 4612234 h 6622937"/>
              <a:gd name="connsiteX90" fmla="*/ 5369182 w 8636594"/>
              <a:gd name="connsiteY90" fmla="*/ 4542793 h 6622937"/>
              <a:gd name="connsiteX91" fmla="*/ 5419038 w 8636594"/>
              <a:gd name="connsiteY91" fmla="*/ 4472771 h 6622937"/>
              <a:gd name="connsiteX92" fmla="*/ 5468365 w 8636594"/>
              <a:gd name="connsiteY92" fmla="*/ 4402196 h 6622937"/>
              <a:gd name="connsiteX93" fmla="*/ 5517215 w 8636594"/>
              <a:gd name="connsiteY93" fmla="*/ 4331098 h 6622937"/>
              <a:gd name="connsiteX94" fmla="*/ 5565637 w 8636594"/>
              <a:gd name="connsiteY94" fmla="*/ 4259503 h 6622937"/>
              <a:gd name="connsiteX95" fmla="*/ 5613684 w 8636594"/>
              <a:gd name="connsiteY95" fmla="*/ 4187441 h 6622937"/>
              <a:gd name="connsiteX96" fmla="*/ 5685160 w 8636594"/>
              <a:gd name="connsiteY96" fmla="*/ 4078531 h 6622937"/>
              <a:gd name="connsiteX97" fmla="*/ 5756074 w 8636594"/>
              <a:gd name="connsiteY97" fmla="*/ 3968727 h 6622937"/>
              <a:gd name="connsiteX98" fmla="*/ 5873483 w 8636594"/>
              <a:gd name="connsiteY98" fmla="*/ 3783989 h 6622937"/>
              <a:gd name="connsiteX99" fmla="*/ 6203209 w 8636594"/>
              <a:gd name="connsiteY99" fmla="*/ 3258640 h 6622937"/>
              <a:gd name="connsiteX100" fmla="*/ 6299430 w 8636594"/>
              <a:gd name="connsiteY100" fmla="*/ 3107321 h 6622937"/>
              <a:gd name="connsiteX101" fmla="*/ 6372650 w 8636594"/>
              <a:gd name="connsiteY101" fmla="*/ 2993735 h 6622937"/>
              <a:gd name="connsiteX102" fmla="*/ 6453197 w 8636594"/>
              <a:gd name="connsiteY102" fmla="*/ 2869788 h 6622937"/>
              <a:gd name="connsiteX103" fmla="*/ 6564167 w 8636594"/>
              <a:gd name="connsiteY103" fmla="*/ 2696807 h 6622937"/>
              <a:gd name="connsiteX104" fmla="*/ 6976233 w 8636594"/>
              <a:gd name="connsiteY104" fmla="*/ 2045274 h 6622937"/>
              <a:gd name="connsiteX105" fmla="*/ 7086755 w 8636594"/>
              <a:gd name="connsiteY105" fmla="*/ 1872743 h 6622937"/>
              <a:gd name="connsiteX106" fmla="*/ 7170279 w 8636594"/>
              <a:gd name="connsiteY106" fmla="*/ 1744202 h 6622937"/>
              <a:gd name="connsiteX107" fmla="*/ 7226351 w 8636594"/>
              <a:gd name="connsiteY107" fmla="*/ 1659017 h 6622937"/>
              <a:gd name="connsiteX108" fmla="*/ 7282789 w 8636594"/>
              <a:gd name="connsiteY108" fmla="*/ 1574303 h 6622937"/>
              <a:gd name="connsiteX109" fmla="*/ 7339643 w 8636594"/>
              <a:gd name="connsiteY109" fmla="*/ 1490113 h 6622937"/>
              <a:gd name="connsiteX110" fmla="*/ 7396957 w 8636594"/>
              <a:gd name="connsiteY110" fmla="*/ 1406503 h 6622937"/>
              <a:gd name="connsiteX111" fmla="*/ 7454781 w 8636594"/>
              <a:gd name="connsiteY111" fmla="*/ 1323526 h 6622937"/>
              <a:gd name="connsiteX112" fmla="*/ 7513161 w 8636594"/>
              <a:gd name="connsiteY112" fmla="*/ 1241237 h 6622937"/>
              <a:gd name="connsiteX113" fmla="*/ 7572144 w 8636594"/>
              <a:gd name="connsiteY113" fmla="*/ 1159689 h 6622937"/>
              <a:gd name="connsiteX114" fmla="*/ 7601877 w 8636594"/>
              <a:gd name="connsiteY114" fmla="*/ 1119210 h 6622937"/>
              <a:gd name="connsiteX115" fmla="*/ 7631779 w 8636594"/>
              <a:gd name="connsiteY115" fmla="*/ 1078937 h 6622937"/>
              <a:gd name="connsiteX116" fmla="*/ 7661855 w 8636594"/>
              <a:gd name="connsiteY116" fmla="*/ 1038876 h 6622937"/>
              <a:gd name="connsiteX117" fmla="*/ 7692111 w 8636594"/>
              <a:gd name="connsiteY117" fmla="*/ 999035 h 6622937"/>
              <a:gd name="connsiteX118" fmla="*/ 7722554 w 8636594"/>
              <a:gd name="connsiteY118" fmla="*/ 959419 h 6622937"/>
              <a:gd name="connsiteX119" fmla="*/ 7753190 w 8636594"/>
              <a:gd name="connsiteY119" fmla="*/ 920037 h 6622937"/>
              <a:gd name="connsiteX120" fmla="*/ 7784023 w 8636594"/>
              <a:gd name="connsiteY120" fmla="*/ 880894 h 6622937"/>
              <a:gd name="connsiteX121" fmla="*/ 7815061 w 8636594"/>
              <a:gd name="connsiteY121" fmla="*/ 841997 h 6622937"/>
              <a:gd name="connsiteX122" fmla="*/ 7846308 w 8636594"/>
              <a:gd name="connsiteY122" fmla="*/ 803354 h 6622937"/>
              <a:gd name="connsiteX123" fmla="*/ 7877772 w 8636594"/>
              <a:gd name="connsiteY123" fmla="*/ 764970 h 6622937"/>
              <a:gd name="connsiteX124" fmla="*/ 7909458 w 8636594"/>
              <a:gd name="connsiteY124" fmla="*/ 726853 h 6622937"/>
              <a:gd name="connsiteX125" fmla="*/ 7941371 w 8636594"/>
              <a:gd name="connsiteY125" fmla="*/ 689010 h 6622937"/>
              <a:gd name="connsiteX126" fmla="*/ 7973518 w 8636594"/>
              <a:gd name="connsiteY126" fmla="*/ 651447 h 6622937"/>
              <a:gd name="connsiteX127" fmla="*/ 8005905 w 8636594"/>
              <a:gd name="connsiteY127" fmla="*/ 614171 h 6622937"/>
              <a:gd name="connsiteX128" fmla="*/ 8038538 w 8636594"/>
              <a:gd name="connsiteY128" fmla="*/ 577189 h 6622937"/>
              <a:gd name="connsiteX129" fmla="*/ 8071421 w 8636594"/>
              <a:gd name="connsiteY129" fmla="*/ 540507 h 6622937"/>
              <a:gd name="connsiteX130" fmla="*/ 8104563 w 8636594"/>
              <a:gd name="connsiteY130" fmla="*/ 504132 h 6622937"/>
              <a:gd name="connsiteX131" fmla="*/ 8137967 w 8636594"/>
              <a:gd name="connsiteY131" fmla="*/ 468072 h 6622937"/>
              <a:gd name="connsiteX132" fmla="*/ 8171641 w 8636594"/>
              <a:gd name="connsiteY132" fmla="*/ 432332 h 6622937"/>
              <a:gd name="connsiteX133" fmla="*/ 8205590 w 8636594"/>
              <a:gd name="connsiteY133" fmla="*/ 396920 h 6622937"/>
              <a:gd name="connsiteX134" fmla="*/ 8239820 w 8636594"/>
              <a:gd name="connsiteY134" fmla="*/ 361843 h 6622937"/>
              <a:gd name="connsiteX135" fmla="*/ 8274337 w 8636594"/>
              <a:gd name="connsiteY135" fmla="*/ 327107 h 6622937"/>
              <a:gd name="connsiteX136" fmla="*/ 8309147 w 8636594"/>
              <a:gd name="connsiteY136" fmla="*/ 292718 h 6622937"/>
              <a:gd name="connsiteX137" fmla="*/ 8344256 w 8636594"/>
              <a:gd name="connsiteY137" fmla="*/ 258685 h 6622937"/>
              <a:gd name="connsiteX138" fmla="*/ 8379669 w 8636594"/>
              <a:gd name="connsiteY138" fmla="*/ 225013 h 6622937"/>
              <a:gd name="connsiteX139" fmla="*/ 8415394 w 8636594"/>
              <a:gd name="connsiteY139" fmla="*/ 191709 h 6622937"/>
              <a:gd name="connsiteX140" fmla="*/ 8451434 w 8636594"/>
              <a:gd name="connsiteY140" fmla="*/ 158780 h 6622937"/>
              <a:gd name="connsiteX141" fmla="*/ 8487798 w 8636594"/>
              <a:gd name="connsiteY141" fmla="*/ 126233 h 6622937"/>
              <a:gd name="connsiteX142" fmla="*/ 8524489 w 8636594"/>
              <a:gd name="connsiteY142" fmla="*/ 94075 h 6622937"/>
              <a:gd name="connsiteX143" fmla="*/ 8561515 w 8636594"/>
              <a:gd name="connsiteY143" fmla="*/ 62312 h 6622937"/>
              <a:gd name="connsiteX144" fmla="*/ 8598881 w 8636594"/>
              <a:gd name="connsiteY144" fmla="*/ 30951 h 6622937"/>
              <a:gd name="connsiteX145" fmla="*/ 8636594 w 8636594"/>
              <a:gd name="connsiteY145"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12216 w 8636594"/>
              <a:gd name="connsiteY5" fmla="*/ 5587741 h 6622937"/>
              <a:gd name="connsiteX6" fmla="*/ 2490090 w 8636594"/>
              <a:gd name="connsiteY6" fmla="*/ 5591230 h 6622937"/>
              <a:gd name="connsiteX7" fmla="*/ 2561975 w 8636594"/>
              <a:gd name="connsiteY7" fmla="*/ 5533193 h 6622937"/>
              <a:gd name="connsiteX8" fmla="*/ 2066817 w 8636594"/>
              <a:gd name="connsiteY8" fmla="*/ 6622937 h 6622937"/>
              <a:gd name="connsiteX9" fmla="*/ 2126742 w 8636594"/>
              <a:gd name="connsiteY9" fmla="*/ 6612869 h 6622937"/>
              <a:gd name="connsiteX10" fmla="*/ 2185991 w 8636594"/>
              <a:gd name="connsiteY10" fmla="*/ 6602362 h 6622937"/>
              <a:gd name="connsiteX11" fmla="*/ 2244569 w 8636594"/>
              <a:gd name="connsiteY11" fmla="*/ 6591417 h 6622937"/>
              <a:gd name="connsiteX12" fmla="*/ 2302482 w 8636594"/>
              <a:gd name="connsiteY12" fmla="*/ 6580040 h 6622937"/>
              <a:gd name="connsiteX13" fmla="*/ 2359737 w 8636594"/>
              <a:gd name="connsiteY13" fmla="*/ 6568233 h 6622937"/>
              <a:gd name="connsiteX14" fmla="*/ 2416341 w 8636594"/>
              <a:gd name="connsiteY14" fmla="*/ 6555999 h 6622937"/>
              <a:gd name="connsiteX15" fmla="*/ 2472299 w 8636594"/>
              <a:gd name="connsiteY15" fmla="*/ 6543344 h 6622937"/>
              <a:gd name="connsiteX16" fmla="*/ 2527618 w 8636594"/>
              <a:gd name="connsiteY16" fmla="*/ 6530269 h 6622937"/>
              <a:gd name="connsiteX17" fmla="*/ 2582304 w 8636594"/>
              <a:gd name="connsiteY17" fmla="*/ 6516778 h 6622937"/>
              <a:gd name="connsiteX18" fmla="*/ 2636364 w 8636594"/>
              <a:gd name="connsiteY18" fmla="*/ 6502876 h 6622937"/>
              <a:gd name="connsiteX19" fmla="*/ 2689804 w 8636594"/>
              <a:gd name="connsiteY19" fmla="*/ 6488565 h 6622937"/>
              <a:gd name="connsiteX20" fmla="*/ 2742629 w 8636594"/>
              <a:gd name="connsiteY20" fmla="*/ 6473849 h 6622937"/>
              <a:gd name="connsiteX21" fmla="*/ 2794848 w 8636594"/>
              <a:gd name="connsiteY21" fmla="*/ 6458731 h 6622937"/>
              <a:gd name="connsiteX22" fmla="*/ 2846466 w 8636594"/>
              <a:gd name="connsiteY22" fmla="*/ 6443216 h 6622937"/>
              <a:gd name="connsiteX23" fmla="*/ 2897488 w 8636594"/>
              <a:gd name="connsiteY23" fmla="*/ 6427305 h 6622937"/>
              <a:gd name="connsiteX24" fmla="*/ 2947923 w 8636594"/>
              <a:gd name="connsiteY24" fmla="*/ 6411004 h 6622937"/>
              <a:gd name="connsiteX25" fmla="*/ 2997775 w 8636594"/>
              <a:gd name="connsiteY25" fmla="*/ 6394316 h 6622937"/>
              <a:gd name="connsiteX26" fmla="*/ 3047052 w 8636594"/>
              <a:gd name="connsiteY26" fmla="*/ 6377243 h 6622937"/>
              <a:gd name="connsiteX27" fmla="*/ 3095759 w 8636594"/>
              <a:gd name="connsiteY27" fmla="*/ 6359791 h 6622937"/>
              <a:gd name="connsiteX28" fmla="*/ 3143903 w 8636594"/>
              <a:gd name="connsiteY28" fmla="*/ 6341961 h 6622937"/>
              <a:gd name="connsiteX29" fmla="*/ 3191491 w 8636594"/>
              <a:gd name="connsiteY29" fmla="*/ 6323757 h 6622937"/>
              <a:gd name="connsiteX30" fmla="*/ 3238528 w 8636594"/>
              <a:gd name="connsiteY30" fmla="*/ 6305184 h 6622937"/>
              <a:gd name="connsiteX31" fmla="*/ 3285021 w 8636594"/>
              <a:gd name="connsiteY31" fmla="*/ 6286245 h 6622937"/>
              <a:gd name="connsiteX32" fmla="*/ 3330977 w 8636594"/>
              <a:gd name="connsiteY32" fmla="*/ 6266942 h 6622937"/>
              <a:gd name="connsiteX33" fmla="*/ 3376401 w 8636594"/>
              <a:gd name="connsiteY33" fmla="*/ 6247281 h 6622937"/>
              <a:gd name="connsiteX34" fmla="*/ 3421300 w 8636594"/>
              <a:gd name="connsiteY34" fmla="*/ 6227263 h 6622937"/>
              <a:gd name="connsiteX35" fmla="*/ 3465680 w 8636594"/>
              <a:gd name="connsiteY35" fmla="*/ 6206893 h 6622937"/>
              <a:gd name="connsiteX36" fmla="*/ 3509548 w 8636594"/>
              <a:gd name="connsiteY36" fmla="*/ 6186174 h 6622937"/>
              <a:gd name="connsiteX37" fmla="*/ 3552910 w 8636594"/>
              <a:gd name="connsiteY37" fmla="*/ 6165110 h 6622937"/>
              <a:gd name="connsiteX38" fmla="*/ 3595773 w 8636594"/>
              <a:gd name="connsiteY38" fmla="*/ 6143704 h 6622937"/>
              <a:gd name="connsiteX39" fmla="*/ 3638142 w 8636594"/>
              <a:gd name="connsiteY39" fmla="*/ 6121960 h 6622937"/>
              <a:gd name="connsiteX40" fmla="*/ 3680024 w 8636594"/>
              <a:gd name="connsiteY40" fmla="*/ 6099881 h 6622937"/>
              <a:gd name="connsiteX41" fmla="*/ 3721426 w 8636594"/>
              <a:gd name="connsiteY41" fmla="*/ 6077471 h 6622937"/>
              <a:gd name="connsiteX42" fmla="*/ 3762353 w 8636594"/>
              <a:gd name="connsiteY42" fmla="*/ 6054733 h 6622937"/>
              <a:gd name="connsiteX43" fmla="*/ 3802812 w 8636594"/>
              <a:gd name="connsiteY43" fmla="*/ 6031671 h 6622937"/>
              <a:gd name="connsiteX44" fmla="*/ 3842810 w 8636594"/>
              <a:gd name="connsiteY44" fmla="*/ 6008288 h 6622937"/>
              <a:gd name="connsiteX45" fmla="*/ 3882352 w 8636594"/>
              <a:gd name="connsiteY45" fmla="*/ 5984588 h 6622937"/>
              <a:gd name="connsiteX46" fmla="*/ 3921445 w 8636594"/>
              <a:gd name="connsiteY46" fmla="*/ 5960574 h 6622937"/>
              <a:gd name="connsiteX47" fmla="*/ 3960096 w 8636594"/>
              <a:gd name="connsiteY47" fmla="*/ 5936250 h 6622937"/>
              <a:gd name="connsiteX48" fmla="*/ 3998311 w 8636594"/>
              <a:gd name="connsiteY48" fmla="*/ 5911619 h 6622937"/>
              <a:gd name="connsiteX49" fmla="*/ 4036095 w 8636594"/>
              <a:gd name="connsiteY49" fmla="*/ 5886685 h 6622937"/>
              <a:gd name="connsiteX50" fmla="*/ 4073456 w 8636594"/>
              <a:gd name="connsiteY50" fmla="*/ 5861452 h 6622937"/>
              <a:gd name="connsiteX51" fmla="*/ 4110400 w 8636594"/>
              <a:gd name="connsiteY51" fmla="*/ 5835922 h 6622937"/>
              <a:gd name="connsiteX52" fmla="*/ 4146933 w 8636594"/>
              <a:gd name="connsiteY52" fmla="*/ 5810100 h 6622937"/>
              <a:gd name="connsiteX53" fmla="*/ 4183061 w 8636594"/>
              <a:gd name="connsiteY53" fmla="*/ 5783988 h 6622937"/>
              <a:gd name="connsiteX54" fmla="*/ 4218791 w 8636594"/>
              <a:gd name="connsiteY54" fmla="*/ 5757591 h 6622937"/>
              <a:gd name="connsiteX55" fmla="*/ 4254129 w 8636594"/>
              <a:gd name="connsiteY55" fmla="*/ 5730912 h 6622937"/>
              <a:gd name="connsiteX56" fmla="*/ 4289081 w 8636594"/>
              <a:gd name="connsiteY56" fmla="*/ 5703955 h 6622937"/>
              <a:gd name="connsiteX57" fmla="*/ 4323654 w 8636594"/>
              <a:gd name="connsiteY57" fmla="*/ 5676722 h 6622937"/>
              <a:gd name="connsiteX58" fmla="*/ 4357854 w 8636594"/>
              <a:gd name="connsiteY58" fmla="*/ 5649218 h 6622937"/>
              <a:gd name="connsiteX59" fmla="*/ 4391688 w 8636594"/>
              <a:gd name="connsiteY59" fmla="*/ 5621446 h 6622937"/>
              <a:gd name="connsiteX60" fmla="*/ 4425162 w 8636594"/>
              <a:gd name="connsiteY60" fmla="*/ 5593409 h 6622937"/>
              <a:gd name="connsiteX61" fmla="*/ 4458281 w 8636594"/>
              <a:gd name="connsiteY61" fmla="*/ 5565111 h 6622937"/>
              <a:gd name="connsiteX62" fmla="*/ 4491053 w 8636594"/>
              <a:gd name="connsiteY62" fmla="*/ 5536556 h 6622937"/>
              <a:gd name="connsiteX63" fmla="*/ 4523484 w 8636594"/>
              <a:gd name="connsiteY63" fmla="*/ 5507747 h 6622937"/>
              <a:gd name="connsiteX64" fmla="*/ 4555580 w 8636594"/>
              <a:gd name="connsiteY64" fmla="*/ 5478687 h 6622937"/>
              <a:gd name="connsiteX65" fmla="*/ 4587347 w 8636594"/>
              <a:gd name="connsiteY65" fmla="*/ 5449380 h 6622937"/>
              <a:gd name="connsiteX66" fmla="*/ 4618793 w 8636594"/>
              <a:gd name="connsiteY66" fmla="*/ 5419830 h 6622937"/>
              <a:gd name="connsiteX67" fmla="*/ 4649922 w 8636594"/>
              <a:gd name="connsiteY67" fmla="*/ 5390040 h 6622937"/>
              <a:gd name="connsiteX68" fmla="*/ 4680742 w 8636594"/>
              <a:gd name="connsiteY68" fmla="*/ 5360014 h 6622937"/>
              <a:gd name="connsiteX69" fmla="*/ 4711259 w 8636594"/>
              <a:gd name="connsiteY69" fmla="*/ 5329755 h 6622937"/>
              <a:gd name="connsiteX70" fmla="*/ 4741478 w 8636594"/>
              <a:gd name="connsiteY70" fmla="*/ 5299266 h 6622937"/>
              <a:gd name="connsiteX71" fmla="*/ 4771408 w 8636594"/>
              <a:gd name="connsiteY71" fmla="*/ 5268551 h 6622937"/>
              <a:gd name="connsiteX72" fmla="*/ 4801053 w 8636594"/>
              <a:gd name="connsiteY72" fmla="*/ 5237614 h 6622937"/>
              <a:gd name="connsiteX73" fmla="*/ 4830420 w 8636594"/>
              <a:gd name="connsiteY73" fmla="*/ 5206458 h 6622937"/>
              <a:gd name="connsiteX74" fmla="*/ 4859516 w 8636594"/>
              <a:gd name="connsiteY74" fmla="*/ 5175087 h 6622937"/>
              <a:gd name="connsiteX75" fmla="*/ 4888347 w 8636594"/>
              <a:gd name="connsiteY75" fmla="*/ 5143504 h 6622937"/>
              <a:gd name="connsiteX76" fmla="*/ 4916919 w 8636594"/>
              <a:gd name="connsiteY76" fmla="*/ 5111713 h 6622937"/>
              <a:gd name="connsiteX77" fmla="*/ 4945238 w 8636594"/>
              <a:gd name="connsiteY77" fmla="*/ 5079717 h 6622937"/>
              <a:gd name="connsiteX78" fmla="*/ 4973311 w 8636594"/>
              <a:gd name="connsiteY78" fmla="*/ 5047519 h 6622937"/>
              <a:gd name="connsiteX79" fmla="*/ 5001145 w 8636594"/>
              <a:gd name="connsiteY79" fmla="*/ 5015124 h 6622937"/>
              <a:gd name="connsiteX80" fmla="*/ 5028745 w 8636594"/>
              <a:gd name="connsiteY80" fmla="*/ 4982535 h 6622937"/>
              <a:gd name="connsiteX81" fmla="*/ 5056117 w 8636594"/>
              <a:gd name="connsiteY81" fmla="*/ 4949755 h 6622937"/>
              <a:gd name="connsiteX82" fmla="*/ 5083269 w 8636594"/>
              <a:gd name="connsiteY82" fmla="*/ 4916787 h 6622937"/>
              <a:gd name="connsiteX83" fmla="*/ 5110207 w 8636594"/>
              <a:gd name="connsiteY83" fmla="*/ 4883636 h 6622937"/>
              <a:gd name="connsiteX84" fmla="*/ 5136937 w 8636594"/>
              <a:gd name="connsiteY84" fmla="*/ 4850305 h 6622937"/>
              <a:gd name="connsiteX85" fmla="*/ 5163464 w 8636594"/>
              <a:gd name="connsiteY85" fmla="*/ 4816797 h 6622937"/>
              <a:gd name="connsiteX86" fmla="*/ 5215940 w 8636594"/>
              <a:gd name="connsiteY86" fmla="*/ 4749265 h 6622937"/>
              <a:gd name="connsiteX87" fmla="*/ 5267684 w 8636594"/>
              <a:gd name="connsiteY87" fmla="*/ 4681068 h 6622937"/>
              <a:gd name="connsiteX88" fmla="*/ 5318748 w 8636594"/>
              <a:gd name="connsiteY88" fmla="*/ 4612234 h 6622937"/>
              <a:gd name="connsiteX89" fmla="*/ 5369182 w 8636594"/>
              <a:gd name="connsiteY89" fmla="*/ 4542793 h 6622937"/>
              <a:gd name="connsiteX90" fmla="*/ 5419038 w 8636594"/>
              <a:gd name="connsiteY90" fmla="*/ 4472771 h 6622937"/>
              <a:gd name="connsiteX91" fmla="*/ 5468365 w 8636594"/>
              <a:gd name="connsiteY91" fmla="*/ 4402196 h 6622937"/>
              <a:gd name="connsiteX92" fmla="*/ 5517215 w 8636594"/>
              <a:gd name="connsiteY92" fmla="*/ 4331098 h 6622937"/>
              <a:gd name="connsiteX93" fmla="*/ 5565637 w 8636594"/>
              <a:gd name="connsiteY93" fmla="*/ 4259503 h 6622937"/>
              <a:gd name="connsiteX94" fmla="*/ 5613684 w 8636594"/>
              <a:gd name="connsiteY94" fmla="*/ 4187441 h 6622937"/>
              <a:gd name="connsiteX95" fmla="*/ 5685160 w 8636594"/>
              <a:gd name="connsiteY95" fmla="*/ 4078531 h 6622937"/>
              <a:gd name="connsiteX96" fmla="*/ 5756074 w 8636594"/>
              <a:gd name="connsiteY96" fmla="*/ 3968727 h 6622937"/>
              <a:gd name="connsiteX97" fmla="*/ 5873483 w 8636594"/>
              <a:gd name="connsiteY97" fmla="*/ 3783989 h 6622937"/>
              <a:gd name="connsiteX98" fmla="*/ 6203209 w 8636594"/>
              <a:gd name="connsiteY98" fmla="*/ 3258640 h 6622937"/>
              <a:gd name="connsiteX99" fmla="*/ 6299430 w 8636594"/>
              <a:gd name="connsiteY99" fmla="*/ 3107321 h 6622937"/>
              <a:gd name="connsiteX100" fmla="*/ 6372650 w 8636594"/>
              <a:gd name="connsiteY100" fmla="*/ 2993735 h 6622937"/>
              <a:gd name="connsiteX101" fmla="*/ 6453197 w 8636594"/>
              <a:gd name="connsiteY101" fmla="*/ 2869788 h 6622937"/>
              <a:gd name="connsiteX102" fmla="*/ 6564167 w 8636594"/>
              <a:gd name="connsiteY102" fmla="*/ 2696807 h 6622937"/>
              <a:gd name="connsiteX103" fmla="*/ 6976233 w 8636594"/>
              <a:gd name="connsiteY103" fmla="*/ 2045274 h 6622937"/>
              <a:gd name="connsiteX104" fmla="*/ 7086755 w 8636594"/>
              <a:gd name="connsiteY104" fmla="*/ 1872743 h 6622937"/>
              <a:gd name="connsiteX105" fmla="*/ 7170279 w 8636594"/>
              <a:gd name="connsiteY105" fmla="*/ 1744202 h 6622937"/>
              <a:gd name="connsiteX106" fmla="*/ 7226351 w 8636594"/>
              <a:gd name="connsiteY106" fmla="*/ 1659017 h 6622937"/>
              <a:gd name="connsiteX107" fmla="*/ 7282789 w 8636594"/>
              <a:gd name="connsiteY107" fmla="*/ 1574303 h 6622937"/>
              <a:gd name="connsiteX108" fmla="*/ 7339643 w 8636594"/>
              <a:gd name="connsiteY108" fmla="*/ 1490113 h 6622937"/>
              <a:gd name="connsiteX109" fmla="*/ 7396957 w 8636594"/>
              <a:gd name="connsiteY109" fmla="*/ 1406503 h 6622937"/>
              <a:gd name="connsiteX110" fmla="*/ 7454781 w 8636594"/>
              <a:gd name="connsiteY110" fmla="*/ 1323526 h 6622937"/>
              <a:gd name="connsiteX111" fmla="*/ 7513161 w 8636594"/>
              <a:gd name="connsiteY111" fmla="*/ 1241237 h 6622937"/>
              <a:gd name="connsiteX112" fmla="*/ 7572144 w 8636594"/>
              <a:gd name="connsiteY112" fmla="*/ 1159689 h 6622937"/>
              <a:gd name="connsiteX113" fmla="*/ 7601877 w 8636594"/>
              <a:gd name="connsiteY113" fmla="*/ 1119210 h 6622937"/>
              <a:gd name="connsiteX114" fmla="*/ 7631779 w 8636594"/>
              <a:gd name="connsiteY114" fmla="*/ 1078937 h 6622937"/>
              <a:gd name="connsiteX115" fmla="*/ 7661855 w 8636594"/>
              <a:gd name="connsiteY115" fmla="*/ 1038876 h 6622937"/>
              <a:gd name="connsiteX116" fmla="*/ 7692111 w 8636594"/>
              <a:gd name="connsiteY116" fmla="*/ 999035 h 6622937"/>
              <a:gd name="connsiteX117" fmla="*/ 7722554 w 8636594"/>
              <a:gd name="connsiteY117" fmla="*/ 959419 h 6622937"/>
              <a:gd name="connsiteX118" fmla="*/ 7753190 w 8636594"/>
              <a:gd name="connsiteY118" fmla="*/ 920037 h 6622937"/>
              <a:gd name="connsiteX119" fmla="*/ 7784023 w 8636594"/>
              <a:gd name="connsiteY119" fmla="*/ 880894 h 6622937"/>
              <a:gd name="connsiteX120" fmla="*/ 7815061 w 8636594"/>
              <a:gd name="connsiteY120" fmla="*/ 841997 h 6622937"/>
              <a:gd name="connsiteX121" fmla="*/ 7846308 w 8636594"/>
              <a:gd name="connsiteY121" fmla="*/ 803354 h 6622937"/>
              <a:gd name="connsiteX122" fmla="*/ 7877772 w 8636594"/>
              <a:gd name="connsiteY122" fmla="*/ 764970 h 6622937"/>
              <a:gd name="connsiteX123" fmla="*/ 7909458 w 8636594"/>
              <a:gd name="connsiteY123" fmla="*/ 726853 h 6622937"/>
              <a:gd name="connsiteX124" fmla="*/ 7941371 w 8636594"/>
              <a:gd name="connsiteY124" fmla="*/ 689010 h 6622937"/>
              <a:gd name="connsiteX125" fmla="*/ 7973518 w 8636594"/>
              <a:gd name="connsiteY125" fmla="*/ 651447 h 6622937"/>
              <a:gd name="connsiteX126" fmla="*/ 8005905 w 8636594"/>
              <a:gd name="connsiteY126" fmla="*/ 614171 h 6622937"/>
              <a:gd name="connsiteX127" fmla="*/ 8038538 w 8636594"/>
              <a:gd name="connsiteY127" fmla="*/ 577189 h 6622937"/>
              <a:gd name="connsiteX128" fmla="*/ 8071421 w 8636594"/>
              <a:gd name="connsiteY128" fmla="*/ 540507 h 6622937"/>
              <a:gd name="connsiteX129" fmla="*/ 8104563 w 8636594"/>
              <a:gd name="connsiteY129" fmla="*/ 504132 h 6622937"/>
              <a:gd name="connsiteX130" fmla="*/ 8137967 w 8636594"/>
              <a:gd name="connsiteY130" fmla="*/ 468072 h 6622937"/>
              <a:gd name="connsiteX131" fmla="*/ 8171641 w 8636594"/>
              <a:gd name="connsiteY131" fmla="*/ 432332 h 6622937"/>
              <a:gd name="connsiteX132" fmla="*/ 8205590 w 8636594"/>
              <a:gd name="connsiteY132" fmla="*/ 396920 h 6622937"/>
              <a:gd name="connsiteX133" fmla="*/ 8239820 w 8636594"/>
              <a:gd name="connsiteY133" fmla="*/ 361843 h 6622937"/>
              <a:gd name="connsiteX134" fmla="*/ 8274337 w 8636594"/>
              <a:gd name="connsiteY134" fmla="*/ 327107 h 6622937"/>
              <a:gd name="connsiteX135" fmla="*/ 8309147 w 8636594"/>
              <a:gd name="connsiteY135" fmla="*/ 292718 h 6622937"/>
              <a:gd name="connsiteX136" fmla="*/ 8344256 w 8636594"/>
              <a:gd name="connsiteY136" fmla="*/ 258685 h 6622937"/>
              <a:gd name="connsiteX137" fmla="*/ 8379669 w 8636594"/>
              <a:gd name="connsiteY137" fmla="*/ 225013 h 6622937"/>
              <a:gd name="connsiteX138" fmla="*/ 8415394 w 8636594"/>
              <a:gd name="connsiteY138" fmla="*/ 191709 h 6622937"/>
              <a:gd name="connsiteX139" fmla="*/ 8451434 w 8636594"/>
              <a:gd name="connsiteY139" fmla="*/ 158780 h 6622937"/>
              <a:gd name="connsiteX140" fmla="*/ 8487798 w 8636594"/>
              <a:gd name="connsiteY140" fmla="*/ 126233 h 6622937"/>
              <a:gd name="connsiteX141" fmla="*/ 8524489 w 8636594"/>
              <a:gd name="connsiteY141" fmla="*/ 94075 h 6622937"/>
              <a:gd name="connsiteX142" fmla="*/ 8561515 w 8636594"/>
              <a:gd name="connsiteY142" fmla="*/ 62312 h 6622937"/>
              <a:gd name="connsiteX143" fmla="*/ 8598881 w 8636594"/>
              <a:gd name="connsiteY143" fmla="*/ 30951 h 6622937"/>
              <a:gd name="connsiteX144" fmla="*/ 8636594 w 8636594"/>
              <a:gd name="connsiteY144"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90090 w 8636594"/>
              <a:gd name="connsiteY5" fmla="*/ 5591230 h 6622937"/>
              <a:gd name="connsiteX6" fmla="*/ 2561975 w 8636594"/>
              <a:gd name="connsiteY6" fmla="*/ 5533193 h 6622937"/>
              <a:gd name="connsiteX7" fmla="*/ 2066817 w 8636594"/>
              <a:gd name="connsiteY7" fmla="*/ 6622937 h 6622937"/>
              <a:gd name="connsiteX8" fmla="*/ 2126742 w 8636594"/>
              <a:gd name="connsiteY8" fmla="*/ 6612869 h 6622937"/>
              <a:gd name="connsiteX9" fmla="*/ 2185991 w 8636594"/>
              <a:gd name="connsiteY9" fmla="*/ 6602362 h 6622937"/>
              <a:gd name="connsiteX10" fmla="*/ 2244569 w 8636594"/>
              <a:gd name="connsiteY10" fmla="*/ 6591417 h 6622937"/>
              <a:gd name="connsiteX11" fmla="*/ 2302482 w 8636594"/>
              <a:gd name="connsiteY11" fmla="*/ 6580040 h 6622937"/>
              <a:gd name="connsiteX12" fmla="*/ 2359737 w 8636594"/>
              <a:gd name="connsiteY12" fmla="*/ 6568233 h 6622937"/>
              <a:gd name="connsiteX13" fmla="*/ 2416341 w 8636594"/>
              <a:gd name="connsiteY13" fmla="*/ 6555999 h 6622937"/>
              <a:gd name="connsiteX14" fmla="*/ 2472299 w 8636594"/>
              <a:gd name="connsiteY14" fmla="*/ 6543344 h 6622937"/>
              <a:gd name="connsiteX15" fmla="*/ 2527618 w 8636594"/>
              <a:gd name="connsiteY15" fmla="*/ 6530269 h 6622937"/>
              <a:gd name="connsiteX16" fmla="*/ 2582304 w 8636594"/>
              <a:gd name="connsiteY16" fmla="*/ 6516778 h 6622937"/>
              <a:gd name="connsiteX17" fmla="*/ 2636364 w 8636594"/>
              <a:gd name="connsiteY17" fmla="*/ 6502876 h 6622937"/>
              <a:gd name="connsiteX18" fmla="*/ 2689804 w 8636594"/>
              <a:gd name="connsiteY18" fmla="*/ 6488565 h 6622937"/>
              <a:gd name="connsiteX19" fmla="*/ 2742629 w 8636594"/>
              <a:gd name="connsiteY19" fmla="*/ 6473849 h 6622937"/>
              <a:gd name="connsiteX20" fmla="*/ 2794848 w 8636594"/>
              <a:gd name="connsiteY20" fmla="*/ 6458731 h 6622937"/>
              <a:gd name="connsiteX21" fmla="*/ 2846466 w 8636594"/>
              <a:gd name="connsiteY21" fmla="*/ 6443216 h 6622937"/>
              <a:gd name="connsiteX22" fmla="*/ 2897488 w 8636594"/>
              <a:gd name="connsiteY22" fmla="*/ 6427305 h 6622937"/>
              <a:gd name="connsiteX23" fmla="*/ 2947923 w 8636594"/>
              <a:gd name="connsiteY23" fmla="*/ 6411004 h 6622937"/>
              <a:gd name="connsiteX24" fmla="*/ 2997775 w 8636594"/>
              <a:gd name="connsiteY24" fmla="*/ 6394316 h 6622937"/>
              <a:gd name="connsiteX25" fmla="*/ 3047052 w 8636594"/>
              <a:gd name="connsiteY25" fmla="*/ 6377243 h 6622937"/>
              <a:gd name="connsiteX26" fmla="*/ 3095759 w 8636594"/>
              <a:gd name="connsiteY26" fmla="*/ 6359791 h 6622937"/>
              <a:gd name="connsiteX27" fmla="*/ 3143903 w 8636594"/>
              <a:gd name="connsiteY27" fmla="*/ 6341961 h 6622937"/>
              <a:gd name="connsiteX28" fmla="*/ 3191491 w 8636594"/>
              <a:gd name="connsiteY28" fmla="*/ 6323757 h 6622937"/>
              <a:gd name="connsiteX29" fmla="*/ 3238528 w 8636594"/>
              <a:gd name="connsiteY29" fmla="*/ 6305184 h 6622937"/>
              <a:gd name="connsiteX30" fmla="*/ 3285021 w 8636594"/>
              <a:gd name="connsiteY30" fmla="*/ 6286245 h 6622937"/>
              <a:gd name="connsiteX31" fmla="*/ 3330977 w 8636594"/>
              <a:gd name="connsiteY31" fmla="*/ 6266942 h 6622937"/>
              <a:gd name="connsiteX32" fmla="*/ 3376401 w 8636594"/>
              <a:gd name="connsiteY32" fmla="*/ 6247281 h 6622937"/>
              <a:gd name="connsiteX33" fmla="*/ 3421300 w 8636594"/>
              <a:gd name="connsiteY33" fmla="*/ 6227263 h 6622937"/>
              <a:gd name="connsiteX34" fmla="*/ 3465680 w 8636594"/>
              <a:gd name="connsiteY34" fmla="*/ 6206893 h 6622937"/>
              <a:gd name="connsiteX35" fmla="*/ 3509548 w 8636594"/>
              <a:gd name="connsiteY35" fmla="*/ 6186174 h 6622937"/>
              <a:gd name="connsiteX36" fmla="*/ 3552910 w 8636594"/>
              <a:gd name="connsiteY36" fmla="*/ 6165110 h 6622937"/>
              <a:gd name="connsiteX37" fmla="*/ 3595773 w 8636594"/>
              <a:gd name="connsiteY37" fmla="*/ 6143704 h 6622937"/>
              <a:gd name="connsiteX38" fmla="*/ 3638142 w 8636594"/>
              <a:gd name="connsiteY38" fmla="*/ 6121960 h 6622937"/>
              <a:gd name="connsiteX39" fmla="*/ 3680024 w 8636594"/>
              <a:gd name="connsiteY39" fmla="*/ 6099881 h 6622937"/>
              <a:gd name="connsiteX40" fmla="*/ 3721426 w 8636594"/>
              <a:gd name="connsiteY40" fmla="*/ 6077471 h 6622937"/>
              <a:gd name="connsiteX41" fmla="*/ 3762353 w 8636594"/>
              <a:gd name="connsiteY41" fmla="*/ 6054733 h 6622937"/>
              <a:gd name="connsiteX42" fmla="*/ 3802812 w 8636594"/>
              <a:gd name="connsiteY42" fmla="*/ 6031671 h 6622937"/>
              <a:gd name="connsiteX43" fmla="*/ 3842810 w 8636594"/>
              <a:gd name="connsiteY43" fmla="*/ 6008288 h 6622937"/>
              <a:gd name="connsiteX44" fmla="*/ 3882352 w 8636594"/>
              <a:gd name="connsiteY44" fmla="*/ 5984588 h 6622937"/>
              <a:gd name="connsiteX45" fmla="*/ 3921445 w 8636594"/>
              <a:gd name="connsiteY45" fmla="*/ 5960574 h 6622937"/>
              <a:gd name="connsiteX46" fmla="*/ 3960096 w 8636594"/>
              <a:gd name="connsiteY46" fmla="*/ 5936250 h 6622937"/>
              <a:gd name="connsiteX47" fmla="*/ 3998311 w 8636594"/>
              <a:gd name="connsiteY47" fmla="*/ 5911619 h 6622937"/>
              <a:gd name="connsiteX48" fmla="*/ 4036095 w 8636594"/>
              <a:gd name="connsiteY48" fmla="*/ 5886685 h 6622937"/>
              <a:gd name="connsiteX49" fmla="*/ 4073456 w 8636594"/>
              <a:gd name="connsiteY49" fmla="*/ 5861452 h 6622937"/>
              <a:gd name="connsiteX50" fmla="*/ 4110400 w 8636594"/>
              <a:gd name="connsiteY50" fmla="*/ 5835922 h 6622937"/>
              <a:gd name="connsiteX51" fmla="*/ 4146933 w 8636594"/>
              <a:gd name="connsiteY51" fmla="*/ 5810100 h 6622937"/>
              <a:gd name="connsiteX52" fmla="*/ 4183061 w 8636594"/>
              <a:gd name="connsiteY52" fmla="*/ 5783988 h 6622937"/>
              <a:gd name="connsiteX53" fmla="*/ 4218791 w 8636594"/>
              <a:gd name="connsiteY53" fmla="*/ 5757591 h 6622937"/>
              <a:gd name="connsiteX54" fmla="*/ 4254129 w 8636594"/>
              <a:gd name="connsiteY54" fmla="*/ 5730912 h 6622937"/>
              <a:gd name="connsiteX55" fmla="*/ 4289081 w 8636594"/>
              <a:gd name="connsiteY55" fmla="*/ 5703955 h 6622937"/>
              <a:gd name="connsiteX56" fmla="*/ 4323654 w 8636594"/>
              <a:gd name="connsiteY56" fmla="*/ 5676722 h 6622937"/>
              <a:gd name="connsiteX57" fmla="*/ 4357854 w 8636594"/>
              <a:gd name="connsiteY57" fmla="*/ 5649218 h 6622937"/>
              <a:gd name="connsiteX58" fmla="*/ 4391688 w 8636594"/>
              <a:gd name="connsiteY58" fmla="*/ 5621446 h 6622937"/>
              <a:gd name="connsiteX59" fmla="*/ 4425162 w 8636594"/>
              <a:gd name="connsiteY59" fmla="*/ 5593409 h 6622937"/>
              <a:gd name="connsiteX60" fmla="*/ 4458281 w 8636594"/>
              <a:gd name="connsiteY60" fmla="*/ 5565111 h 6622937"/>
              <a:gd name="connsiteX61" fmla="*/ 4491053 w 8636594"/>
              <a:gd name="connsiteY61" fmla="*/ 5536556 h 6622937"/>
              <a:gd name="connsiteX62" fmla="*/ 4523484 w 8636594"/>
              <a:gd name="connsiteY62" fmla="*/ 5507747 h 6622937"/>
              <a:gd name="connsiteX63" fmla="*/ 4555580 w 8636594"/>
              <a:gd name="connsiteY63" fmla="*/ 5478687 h 6622937"/>
              <a:gd name="connsiteX64" fmla="*/ 4587347 w 8636594"/>
              <a:gd name="connsiteY64" fmla="*/ 5449380 h 6622937"/>
              <a:gd name="connsiteX65" fmla="*/ 4618793 w 8636594"/>
              <a:gd name="connsiteY65" fmla="*/ 5419830 h 6622937"/>
              <a:gd name="connsiteX66" fmla="*/ 4649922 w 8636594"/>
              <a:gd name="connsiteY66" fmla="*/ 5390040 h 6622937"/>
              <a:gd name="connsiteX67" fmla="*/ 4680742 w 8636594"/>
              <a:gd name="connsiteY67" fmla="*/ 5360014 h 6622937"/>
              <a:gd name="connsiteX68" fmla="*/ 4711259 w 8636594"/>
              <a:gd name="connsiteY68" fmla="*/ 5329755 h 6622937"/>
              <a:gd name="connsiteX69" fmla="*/ 4741478 w 8636594"/>
              <a:gd name="connsiteY69" fmla="*/ 5299266 h 6622937"/>
              <a:gd name="connsiteX70" fmla="*/ 4771408 w 8636594"/>
              <a:gd name="connsiteY70" fmla="*/ 5268551 h 6622937"/>
              <a:gd name="connsiteX71" fmla="*/ 4801053 w 8636594"/>
              <a:gd name="connsiteY71" fmla="*/ 5237614 h 6622937"/>
              <a:gd name="connsiteX72" fmla="*/ 4830420 w 8636594"/>
              <a:gd name="connsiteY72" fmla="*/ 5206458 h 6622937"/>
              <a:gd name="connsiteX73" fmla="*/ 4859516 w 8636594"/>
              <a:gd name="connsiteY73" fmla="*/ 5175087 h 6622937"/>
              <a:gd name="connsiteX74" fmla="*/ 4888347 w 8636594"/>
              <a:gd name="connsiteY74" fmla="*/ 5143504 h 6622937"/>
              <a:gd name="connsiteX75" fmla="*/ 4916919 w 8636594"/>
              <a:gd name="connsiteY75" fmla="*/ 5111713 h 6622937"/>
              <a:gd name="connsiteX76" fmla="*/ 4945238 w 8636594"/>
              <a:gd name="connsiteY76" fmla="*/ 5079717 h 6622937"/>
              <a:gd name="connsiteX77" fmla="*/ 4973311 w 8636594"/>
              <a:gd name="connsiteY77" fmla="*/ 5047519 h 6622937"/>
              <a:gd name="connsiteX78" fmla="*/ 5001145 w 8636594"/>
              <a:gd name="connsiteY78" fmla="*/ 5015124 h 6622937"/>
              <a:gd name="connsiteX79" fmla="*/ 5028745 w 8636594"/>
              <a:gd name="connsiteY79" fmla="*/ 4982535 h 6622937"/>
              <a:gd name="connsiteX80" fmla="*/ 5056117 w 8636594"/>
              <a:gd name="connsiteY80" fmla="*/ 4949755 h 6622937"/>
              <a:gd name="connsiteX81" fmla="*/ 5083269 w 8636594"/>
              <a:gd name="connsiteY81" fmla="*/ 4916787 h 6622937"/>
              <a:gd name="connsiteX82" fmla="*/ 5110207 w 8636594"/>
              <a:gd name="connsiteY82" fmla="*/ 4883636 h 6622937"/>
              <a:gd name="connsiteX83" fmla="*/ 5136937 w 8636594"/>
              <a:gd name="connsiteY83" fmla="*/ 4850305 h 6622937"/>
              <a:gd name="connsiteX84" fmla="*/ 5163464 w 8636594"/>
              <a:gd name="connsiteY84" fmla="*/ 4816797 h 6622937"/>
              <a:gd name="connsiteX85" fmla="*/ 5215940 w 8636594"/>
              <a:gd name="connsiteY85" fmla="*/ 4749265 h 6622937"/>
              <a:gd name="connsiteX86" fmla="*/ 5267684 w 8636594"/>
              <a:gd name="connsiteY86" fmla="*/ 4681068 h 6622937"/>
              <a:gd name="connsiteX87" fmla="*/ 5318748 w 8636594"/>
              <a:gd name="connsiteY87" fmla="*/ 4612234 h 6622937"/>
              <a:gd name="connsiteX88" fmla="*/ 5369182 w 8636594"/>
              <a:gd name="connsiteY88" fmla="*/ 4542793 h 6622937"/>
              <a:gd name="connsiteX89" fmla="*/ 5419038 w 8636594"/>
              <a:gd name="connsiteY89" fmla="*/ 4472771 h 6622937"/>
              <a:gd name="connsiteX90" fmla="*/ 5468365 w 8636594"/>
              <a:gd name="connsiteY90" fmla="*/ 4402196 h 6622937"/>
              <a:gd name="connsiteX91" fmla="*/ 5517215 w 8636594"/>
              <a:gd name="connsiteY91" fmla="*/ 4331098 h 6622937"/>
              <a:gd name="connsiteX92" fmla="*/ 5565637 w 8636594"/>
              <a:gd name="connsiteY92" fmla="*/ 4259503 h 6622937"/>
              <a:gd name="connsiteX93" fmla="*/ 5613684 w 8636594"/>
              <a:gd name="connsiteY93" fmla="*/ 4187441 h 6622937"/>
              <a:gd name="connsiteX94" fmla="*/ 5685160 w 8636594"/>
              <a:gd name="connsiteY94" fmla="*/ 4078531 h 6622937"/>
              <a:gd name="connsiteX95" fmla="*/ 5756074 w 8636594"/>
              <a:gd name="connsiteY95" fmla="*/ 3968727 h 6622937"/>
              <a:gd name="connsiteX96" fmla="*/ 5873483 w 8636594"/>
              <a:gd name="connsiteY96" fmla="*/ 3783989 h 6622937"/>
              <a:gd name="connsiteX97" fmla="*/ 6203209 w 8636594"/>
              <a:gd name="connsiteY97" fmla="*/ 3258640 h 6622937"/>
              <a:gd name="connsiteX98" fmla="*/ 6299430 w 8636594"/>
              <a:gd name="connsiteY98" fmla="*/ 3107321 h 6622937"/>
              <a:gd name="connsiteX99" fmla="*/ 6372650 w 8636594"/>
              <a:gd name="connsiteY99" fmla="*/ 2993735 h 6622937"/>
              <a:gd name="connsiteX100" fmla="*/ 6453197 w 8636594"/>
              <a:gd name="connsiteY100" fmla="*/ 2869788 h 6622937"/>
              <a:gd name="connsiteX101" fmla="*/ 6564167 w 8636594"/>
              <a:gd name="connsiteY101" fmla="*/ 2696807 h 6622937"/>
              <a:gd name="connsiteX102" fmla="*/ 6976233 w 8636594"/>
              <a:gd name="connsiteY102" fmla="*/ 2045274 h 6622937"/>
              <a:gd name="connsiteX103" fmla="*/ 7086755 w 8636594"/>
              <a:gd name="connsiteY103" fmla="*/ 1872743 h 6622937"/>
              <a:gd name="connsiteX104" fmla="*/ 7170279 w 8636594"/>
              <a:gd name="connsiteY104" fmla="*/ 1744202 h 6622937"/>
              <a:gd name="connsiteX105" fmla="*/ 7226351 w 8636594"/>
              <a:gd name="connsiteY105" fmla="*/ 1659017 h 6622937"/>
              <a:gd name="connsiteX106" fmla="*/ 7282789 w 8636594"/>
              <a:gd name="connsiteY106" fmla="*/ 1574303 h 6622937"/>
              <a:gd name="connsiteX107" fmla="*/ 7339643 w 8636594"/>
              <a:gd name="connsiteY107" fmla="*/ 1490113 h 6622937"/>
              <a:gd name="connsiteX108" fmla="*/ 7396957 w 8636594"/>
              <a:gd name="connsiteY108" fmla="*/ 1406503 h 6622937"/>
              <a:gd name="connsiteX109" fmla="*/ 7454781 w 8636594"/>
              <a:gd name="connsiteY109" fmla="*/ 1323526 h 6622937"/>
              <a:gd name="connsiteX110" fmla="*/ 7513161 w 8636594"/>
              <a:gd name="connsiteY110" fmla="*/ 1241237 h 6622937"/>
              <a:gd name="connsiteX111" fmla="*/ 7572144 w 8636594"/>
              <a:gd name="connsiteY111" fmla="*/ 1159689 h 6622937"/>
              <a:gd name="connsiteX112" fmla="*/ 7601877 w 8636594"/>
              <a:gd name="connsiteY112" fmla="*/ 1119210 h 6622937"/>
              <a:gd name="connsiteX113" fmla="*/ 7631779 w 8636594"/>
              <a:gd name="connsiteY113" fmla="*/ 1078937 h 6622937"/>
              <a:gd name="connsiteX114" fmla="*/ 7661855 w 8636594"/>
              <a:gd name="connsiteY114" fmla="*/ 1038876 h 6622937"/>
              <a:gd name="connsiteX115" fmla="*/ 7692111 w 8636594"/>
              <a:gd name="connsiteY115" fmla="*/ 999035 h 6622937"/>
              <a:gd name="connsiteX116" fmla="*/ 7722554 w 8636594"/>
              <a:gd name="connsiteY116" fmla="*/ 959419 h 6622937"/>
              <a:gd name="connsiteX117" fmla="*/ 7753190 w 8636594"/>
              <a:gd name="connsiteY117" fmla="*/ 920037 h 6622937"/>
              <a:gd name="connsiteX118" fmla="*/ 7784023 w 8636594"/>
              <a:gd name="connsiteY118" fmla="*/ 880894 h 6622937"/>
              <a:gd name="connsiteX119" fmla="*/ 7815061 w 8636594"/>
              <a:gd name="connsiteY119" fmla="*/ 841997 h 6622937"/>
              <a:gd name="connsiteX120" fmla="*/ 7846308 w 8636594"/>
              <a:gd name="connsiteY120" fmla="*/ 803354 h 6622937"/>
              <a:gd name="connsiteX121" fmla="*/ 7877772 w 8636594"/>
              <a:gd name="connsiteY121" fmla="*/ 764970 h 6622937"/>
              <a:gd name="connsiteX122" fmla="*/ 7909458 w 8636594"/>
              <a:gd name="connsiteY122" fmla="*/ 726853 h 6622937"/>
              <a:gd name="connsiteX123" fmla="*/ 7941371 w 8636594"/>
              <a:gd name="connsiteY123" fmla="*/ 689010 h 6622937"/>
              <a:gd name="connsiteX124" fmla="*/ 7973518 w 8636594"/>
              <a:gd name="connsiteY124" fmla="*/ 651447 h 6622937"/>
              <a:gd name="connsiteX125" fmla="*/ 8005905 w 8636594"/>
              <a:gd name="connsiteY125" fmla="*/ 614171 h 6622937"/>
              <a:gd name="connsiteX126" fmla="*/ 8038538 w 8636594"/>
              <a:gd name="connsiteY126" fmla="*/ 577189 h 6622937"/>
              <a:gd name="connsiteX127" fmla="*/ 8071421 w 8636594"/>
              <a:gd name="connsiteY127" fmla="*/ 540507 h 6622937"/>
              <a:gd name="connsiteX128" fmla="*/ 8104563 w 8636594"/>
              <a:gd name="connsiteY128" fmla="*/ 504132 h 6622937"/>
              <a:gd name="connsiteX129" fmla="*/ 8137967 w 8636594"/>
              <a:gd name="connsiteY129" fmla="*/ 468072 h 6622937"/>
              <a:gd name="connsiteX130" fmla="*/ 8171641 w 8636594"/>
              <a:gd name="connsiteY130" fmla="*/ 432332 h 6622937"/>
              <a:gd name="connsiteX131" fmla="*/ 8205590 w 8636594"/>
              <a:gd name="connsiteY131" fmla="*/ 396920 h 6622937"/>
              <a:gd name="connsiteX132" fmla="*/ 8239820 w 8636594"/>
              <a:gd name="connsiteY132" fmla="*/ 361843 h 6622937"/>
              <a:gd name="connsiteX133" fmla="*/ 8274337 w 8636594"/>
              <a:gd name="connsiteY133" fmla="*/ 327107 h 6622937"/>
              <a:gd name="connsiteX134" fmla="*/ 8309147 w 8636594"/>
              <a:gd name="connsiteY134" fmla="*/ 292718 h 6622937"/>
              <a:gd name="connsiteX135" fmla="*/ 8344256 w 8636594"/>
              <a:gd name="connsiteY135" fmla="*/ 258685 h 6622937"/>
              <a:gd name="connsiteX136" fmla="*/ 8379669 w 8636594"/>
              <a:gd name="connsiteY136" fmla="*/ 225013 h 6622937"/>
              <a:gd name="connsiteX137" fmla="*/ 8415394 w 8636594"/>
              <a:gd name="connsiteY137" fmla="*/ 191709 h 6622937"/>
              <a:gd name="connsiteX138" fmla="*/ 8451434 w 8636594"/>
              <a:gd name="connsiteY138" fmla="*/ 158780 h 6622937"/>
              <a:gd name="connsiteX139" fmla="*/ 8487798 w 8636594"/>
              <a:gd name="connsiteY139" fmla="*/ 126233 h 6622937"/>
              <a:gd name="connsiteX140" fmla="*/ 8524489 w 8636594"/>
              <a:gd name="connsiteY140" fmla="*/ 94075 h 6622937"/>
              <a:gd name="connsiteX141" fmla="*/ 8561515 w 8636594"/>
              <a:gd name="connsiteY141" fmla="*/ 62312 h 6622937"/>
              <a:gd name="connsiteX142" fmla="*/ 8598881 w 8636594"/>
              <a:gd name="connsiteY142" fmla="*/ 30951 h 6622937"/>
              <a:gd name="connsiteX143" fmla="*/ 8636594 w 8636594"/>
              <a:gd name="connsiteY143"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561975 w 8636594"/>
              <a:gd name="connsiteY5" fmla="*/ 5533193 h 6622937"/>
              <a:gd name="connsiteX6" fmla="*/ 2066817 w 8636594"/>
              <a:gd name="connsiteY6" fmla="*/ 6622937 h 6622937"/>
              <a:gd name="connsiteX7" fmla="*/ 2126742 w 8636594"/>
              <a:gd name="connsiteY7" fmla="*/ 6612869 h 6622937"/>
              <a:gd name="connsiteX8" fmla="*/ 2185991 w 8636594"/>
              <a:gd name="connsiteY8" fmla="*/ 6602362 h 6622937"/>
              <a:gd name="connsiteX9" fmla="*/ 2244569 w 8636594"/>
              <a:gd name="connsiteY9" fmla="*/ 6591417 h 6622937"/>
              <a:gd name="connsiteX10" fmla="*/ 2302482 w 8636594"/>
              <a:gd name="connsiteY10" fmla="*/ 6580040 h 6622937"/>
              <a:gd name="connsiteX11" fmla="*/ 2359737 w 8636594"/>
              <a:gd name="connsiteY11" fmla="*/ 6568233 h 6622937"/>
              <a:gd name="connsiteX12" fmla="*/ 2416341 w 8636594"/>
              <a:gd name="connsiteY12" fmla="*/ 6555999 h 6622937"/>
              <a:gd name="connsiteX13" fmla="*/ 2472299 w 8636594"/>
              <a:gd name="connsiteY13" fmla="*/ 6543344 h 6622937"/>
              <a:gd name="connsiteX14" fmla="*/ 2527618 w 8636594"/>
              <a:gd name="connsiteY14" fmla="*/ 6530269 h 6622937"/>
              <a:gd name="connsiteX15" fmla="*/ 2582304 w 8636594"/>
              <a:gd name="connsiteY15" fmla="*/ 6516778 h 6622937"/>
              <a:gd name="connsiteX16" fmla="*/ 2636364 w 8636594"/>
              <a:gd name="connsiteY16" fmla="*/ 6502876 h 6622937"/>
              <a:gd name="connsiteX17" fmla="*/ 2689804 w 8636594"/>
              <a:gd name="connsiteY17" fmla="*/ 6488565 h 6622937"/>
              <a:gd name="connsiteX18" fmla="*/ 2742629 w 8636594"/>
              <a:gd name="connsiteY18" fmla="*/ 6473849 h 6622937"/>
              <a:gd name="connsiteX19" fmla="*/ 2794848 w 8636594"/>
              <a:gd name="connsiteY19" fmla="*/ 6458731 h 6622937"/>
              <a:gd name="connsiteX20" fmla="*/ 2846466 w 8636594"/>
              <a:gd name="connsiteY20" fmla="*/ 6443216 h 6622937"/>
              <a:gd name="connsiteX21" fmla="*/ 2897488 w 8636594"/>
              <a:gd name="connsiteY21" fmla="*/ 6427305 h 6622937"/>
              <a:gd name="connsiteX22" fmla="*/ 2947923 w 8636594"/>
              <a:gd name="connsiteY22" fmla="*/ 6411004 h 6622937"/>
              <a:gd name="connsiteX23" fmla="*/ 2997775 w 8636594"/>
              <a:gd name="connsiteY23" fmla="*/ 6394316 h 6622937"/>
              <a:gd name="connsiteX24" fmla="*/ 3047052 w 8636594"/>
              <a:gd name="connsiteY24" fmla="*/ 6377243 h 6622937"/>
              <a:gd name="connsiteX25" fmla="*/ 3095759 w 8636594"/>
              <a:gd name="connsiteY25" fmla="*/ 6359791 h 6622937"/>
              <a:gd name="connsiteX26" fmla="*/ 3143903 w 8636594"/>
              <a:gd name="connsiteY26" fmla="*/ 6341961 h 6622937"/>
              <a:gd name="connsiteX27" fmla="*/ 3191491 w 8636594"/>
              <a:gd name="connsiteY27" fmla="*/ 6323757 h 6622937"/>
              <a:gd name="connsiteX28" fmla="*/ 3238528 w 8636594"/>
              <a:gd name="connsiteY28" fmla="*/ 6305184 h 6622937"/>
              <a:gd name="connsiteX29" fmla="*/ 3285021 w 8636594"/>
              <a:gd name="connsiteY29" fmla="*/ 6286245 h 6622937"/>
              <a:gd name="connsiteX30" fmla="*/ 3330977 w 8636594"/>
              <a:gd name="connsiteY30" fmla="*/ 6266942 h 6622937"/>
              <a:gd name="connsiteX31" fmla="*/ 3376401 w 8636594"/>
              <a:gd name="connsiteY31" fmla="*/ 6247281 h 6622937"/>
              <a:gd name="connsiteX32" fmla="*/ 3421300 w 8636594"/>
              <a:gd name="connsiteY32" fmla="*/ 6227263 h 6622937"/>
              <a:gd name="connsiteX33" fmla="*/ 3465680 w 8636594"/>
              <a:gd name="connsiteY33" fmla="*/ 6206893 h 6622937"/>
              <a:gd name="connsiteX34" fmla="*/ 3509548 w 8636594"/>
              <a:gd name="connsiteY34" fmla="*/ 6186174 h 6622937"/>
              <a:gd name="connsiteX35" fmla="*/ 3552910 w 8636594"/>
              <a:gd name="connsiteY35" fmla="*/ 6165110 h 6622937"/>
              <a:gd name="connsiteX36" fmla="*/ 3595773 w 8636594"/>
              <a:gd name="connsiteY36" fmla="*/ 6143704 h 6622937"/>
              <a:gd name="connsiteX37" fmla="*/ 3638142 w 8636594"/>
              <a:gd name="connsiteY37" fmla="*/ 6121960 h 6622937"/>
              <a:gd name="connsiteX38" fmla="*/ 3680024 w 8636594"/>
              <a:gd name="connsiteY38" fmla="*/ 6099881 h 6622937"/>
              <a:gd name="connsiteX39" fmla="*/ 3721426 w 8636594"/>
              <a:gd name="connsiteY39" fmla="*/ 6077471 h 6622937"/>
              <a:gd name="connsiteX40" fmla="*/ 3762353 w 8636594"/>
              <a:gd name="connsiteY40" fmla="*/ 6054733 h 6622937"/>
              <a:gd name="connsiteX41" fmla="*/ 3802812 w 8636594"/>
              <a:gd name="connsiteY41" fmla="*/ 6031671 h 6622937"/>
              <a:gd name="connsiteX42" fmla="*/ 3842810 w 8636594"/>
              <a:gd name="connsiteY42" fmla="*/ 6008288 h 6622937"/>
              <a:gd name="connsiteX43" fmla="*/ 3882352 w 8636594"/>
              <a:gd name="connsiteY43" fmla="*/ 5984588 h 6622937"/>
              <a:gd name="connsiteX44" fmla="*/ 3921445 w 8636594"/>
              <a:gd name="connsiteY44" fmla="*/ 5960574 h 6622937"/>
              <a:gd name="connsiteX45" fmla="*/ 3960096 w 8636594"/>
              <a:gd name="connsiteY45" fmla="*/ 5936250 h 6622937"/>
              <a:gd name="connsiteX46" fmla="*/ 3998311 w 8636594"/>
              <a:gd name="connsiteY46" fmla="*/ 5911619 h 6622937"/>
              <a:gd name="connsiteX47" fmla="*/ 4036095 w 8636594"/>
              <a:gd name="connsiteY47" fmla="*/ 5886685 h 6622937"/>
              <a:gd name="connsiteX48" fmla="*/ 4073456 w 8636594"/>
              <a:gd name="connsiteY48" fmla="*/ 5861452 h 6622937"/>
              <a:gd name="connsiteX49" fmla="*/ 4110400 w 8636594"/>
              <a:gd name="connsiteY49" fmla="*/ 5835922 h 6622937"/>
              <a:gd name="connsiteX50" fmla="*/ 4146933 w 8636594"/>
              <a:gd name="connsiteY50" fmla="*/ 5810100 h 6622937"/>
              <a:gd name="connsiteX51" fmla="*/ 4183061 w 8636594"/>
              <a:gd name="connsiteY51" fmla="*/ 5783988 h 6622937"/>
              <a:gd name="connsiteX52" fmla="*/ 4218791 w 8636594"/>
              <a:gd name="connsiteY52" fmla="*/ 5757591 h 6622937"/>
              <a:gd name="connsiteX53" fmla="*/ 4254129 w 8636594"/>
              <a:gd name="connsiteY53" fmla="*/ 5730912 h 6622937"/>
              <a:gd name="connsiteX54" fmla="*/ 4289081 w 8636594"/>
              <a:gd name="connsiteY54" fmla="*/ 5703955 h 6622937"/>
              <a:gd name="connsiteX55" fmla="*/ 4323654 w 8636594"/>
              <a:gd name="connsiteY55" fmla="*/ 5676722 h 6622937"/>
              <a:gd name="connsiteX56" fmla="*/ 4357854 w 8636594"/>
              <a:gd name="connsiteY56" fmla="*/ 5649218 h 6622937"/>
              <a:gd name="connsiteX57" fmla="*/ 4391688 w 8636594"/>
              <a:gd name="connsiteY57" fmla="*/ 5621446 h 6622937"/>
              <a:gd name="connsiteX58" fmla="*/ 4425162 w 8636594"/>
              <a:gd name="connsiteY58" fmla="*/ 5593409 h 6622937"/>
              <a:gd name="connsiteX59" fmla="*/ 4458281 w 8636594"/>
              <a:gd name="connsiteY59" fmla="*/ 5565111 h 6622937"/>
              <a:gd name="connsiteX60" fmla="*/ 4491053 w 8636594"/>
              <a:gd name="connsiteY60" fmla="*/ 5536556 h 6622937"/>
              <a:gd name="connsiteX61" fmla="*/ 4523484 w 8636594"/>
              <a:gd name="connsiteY61" fmla="*/ 5507747 h 6622937"/>
              <a:gd name="connsiteX62" fmla="*/ 4555580 w 8636594"/>
              <a:gd name="connsiteY62" fmla="*/ 5478687 h 6622937"/>
              <a:gd name="connsiteX63" fmla="*/ 4587347 w 8636594"/>
              <a:gd name="connsiteY63" fmla="*/ 5449380 h 6622937"/>
              <a:gd name="connsiteX64" fmla="*/ 4618793 w 8636594"/>
              <a:gd name="connsiteY64" fmla="*/ 5419830 h 6622937"/>
              <a:gd name="connsiteX65" fmla="*/ 4649922 w 8636594"/>
              <a:gd name="connsiteY65" fmla="*/ 5390040 h 6622937"/>
              <a:gd name="connsiteX66" fmla="*/ 4680742 w 8636594"/>
              <a:gd name="connsiteY66" fmla="*/ 5360014 h 6622937"/>
              <a:gd name="connsiteX67" fmla="*/ 4711259 w 8636594"/>
              <a:gd name="connsiteY67" fmla="*/ 5329755 h 6622937"/>
              <a:gd name="connsiteX68" fmla="*/ 4741478 w 8636594"/>
              <a:gd name="connsiteY68" fmla="*/ 5299266 h 6622937"/>
              <a:gd name="connsiteX69" fmla="*/ 4771408 w 8636594"/>
              <a:gd name="connsiteY69" fmla="*/ 5268551 h 6622937"/>
              <a:gd name="connsiteX70" fmla="*/ 4801053 w 8636594"/>
              <a:gd name="connsiteY70" fmla="*/ 5237614 h 6622937"/>
              <a:gd name="connsiteX71" fmla="*/ 4830420 w 8636594"/>
              <a:gd name="connsiteY71" fmla="*/ 5206458 h 6622937"/>
              <a:gd name="connsiteX72" fmla="*/ 4859516 w 8636594"/>
              <a:gd name="connsiteY72" fmla="*/ 5175087 h 6622937"/>
              <a:gd name="connsiteX73" fmla="*/ 4888347 w 8636594"/>
              <a:gd name="connsiteY73" fmla="*/ 5143504 h 6622937"/>
              <a:gd name="connsiteX74" fmla="*/ 4916919 w 8636594"/>
              <a:gd name="connsiteY74" fmla="*/ 5111713 h 6622937"/>
              <a:gd name="connsiteX75" fmla="*/ 4945238 w 8636594"/>
              <a:gd name="connsiteY75" fmla="*/ 5079717 h 6622937"/>
              <a:gd name="connsiteX76" fmla="*/ 4973311 w 8636594"/>
              <a:gd name="connsiteY76" fmla="*/ 5047519 h 6622937"/>
              <a:gd name="connsiteX77" fmla="*/ 5001145 w 8636594"/>
              <a:gd name="connsiteY77" fmla="*/ 5015124 h 6622937"/>
              <a:gd name="connsiteX78" fmla="*/ 5028745 w 8636594"/>
              <a:gd name="connsiteY78" fmla="*/ 4982535 h 6622937"/>
              <a:gd name="connsiteX79" fmla="*/ 5056117 w 8636594"/>
              <a:gd name="connsiteY79" fmla="*/ 4949755 h 6622937"/>
              <a:gd name="connsiteX80" fmla="*/ 5083269 w 8636594"/>
              <a:gd name="connsiteY80" fmla="*/ 4916787 h 6622937"/>
              <a:gd name="connsiteX81" fmla="*/ 5110207 w 8636594"/>
              <a:gd name="connsiteY81" fmla="*/ 4883636 h 6622937"/>
              <a:gd name="connsiteX82" fmla="*/ 5136937 w 8636594"/>
              <a:gd name="connsiteY82" fmla="*/ 4850305 h 6622937"/>
              <a:gd name="connsiteX83" fmla="*/ 5163464 w 8636594"/>
              <a:gd name="connsiteY83" fmla="*/ 4816797 h 6622937"/>
              <a:gd name="connsiteX84" fmla="*/ 5215940 w 8636594"/>
              <a:gd name="connsiteY84" fmla="*/ 4749265 h 6622937"/>
              <a:gd name="connsiteX85" fmla="*/ 5267684 w 8636594"/>
              <a:gd name="connsiteY85" fmla="*/ 4681068 h 6622937"/>
              <a:gd name="connsiteX86" fmla="*/ 5318748 w 8636594"/>
              <a:gd name="connsiteY86" fmla="*/ 4612234 h 6622937"/>
              <a:gd name="connsiteX87" fmla="*/ 5369182 w 8636594"/>
              <a:gd name="connsiteY87" fmla="*/ 4542793 h 6622937"/>
              <a:gd name="connsiteX88" fmla="*/ 5419038 w 8636594"/>
              <a:gd name="connsiteY88" fmla="*/ 4472771 h 6622937"/>
              <a:gd name="connsiteX89" fmla="*/ 5468365 w 8636594"/>
              <a:gd name="connsiteY89" fmla="*/ 4402196 h 6622937"/>
              <a:gd name="connsiteX90" fmla="*/ 5517215 w 8636594"/>
              <a:gd name="connsiteY90" fmla="*/ 4331098 h 6622937"/>
              <a:gd name="connsiteX91" fmla="*/ 5565637 w 8636594"/>
              <a:gd name="connsiteY91" fmla="*/ 4259503 h 6622937"/>
              <a:gd name="connsiteX92" fmla="*/ 5613684 w 8636594"/>
              <a:gd name="connsiteY92" fmla="*/ 4187441 h 6622937"/>
              <a:gd name="connsiteX93" fmla="*/ 5685160 w 8636594"/>
              <a:gd name="connsiteY93" fmla="*/ 4078531 h 6622937"/>
              <a:gd name="connsiteX94" fmla="*/ 5756074 w 8636594"/>
              <a:gd name="connsiteY94" fmla="*/ 3968727 h 6622937"/>
              <a:gd name="connsiteX95" fmla="*/ 5873483 w 8636594"/>
              <a:gd name="connsiteY95" fmla="*/ 3783989 h 6622937"/>
              <a:gd name="connsiteX96" fmla="*/ 6203209 w 8636594"/>
              <a:gd name="connsiteY96" fmla="*/ 3258640 h 6622937"/>
              <a:gd name="connsiteX97" fmla="*/ 6299430 w 8636594"/>
              <a:gd name="connsiteY97" fmla="*/ 3107321 h 6622937"/>
              <a:gd name="connsiteX98" fmla="*/ 6372650 w 8636594"/>
              <a:gd name="connsiteY98" fmla="*/ 2993735 h 6622937"/>
              <a:gd name="connsiteX99" fmla="*/ 6453197 w 8636594"/>
              <a:gd name="connsiteY99" fmla="*/ 2869788 h 6622937"/>
              <a:gd name="connsiteX100" fmla="*/ 6564167 w 8636594"/>
              <a:gd name="connsiteY100" fmla="*/ 2696807 h 6622937"/>
              <a:gd name="connsiteX101" fmla="*/ 6976233 w 8636594"/>
              <a:gd name="connsiteY101" fmla="*/ 2045274 h 6622937"/>
              <a:gd name="connsiteX102" fmla="*/ 7086755 w 8636594"/>
              <a:gd name="connsiteY102" fmla="*/ 1872743 h 6622937"/>
              <a:gd name="connsiteX103" fmla="*/ 7170279 w 8636594"/>
              <a:gd name="connsiteY103" fmla="*/ 1744202 h 6622937"/>
              <a:gd name="connsiteX104" fmla="*/ 7226351 w 8636594"/>
              <a:gd name="connsiteY104" fmla="*/ 1659017 h 6622937"/>
              <a:gd name="connsiteX105" fmla="*/ 7282789 w 8636594"/>
              <a:gd name="connsiteY105" fmla="*/ 1574303 h 6622937"/>
              <a:gd name="connsiteX106" fmla="*/ 7339643 w 8636594"/>
              <a:gd name="connsiteY106" fmla="*/ 1490113 h 6622937"/>
              <a:gd name="connsiteX107" fmla="*/ 7396957 w 8636594"/>
              <a:gd name="connsiteY107" fmla="*/ 1406503 h 6622937"/>
              <a:gd name="connsiteX108" fmla="*/ 7454781 w 8636594"/>
              <a:gd name="connsiteY108" fmla="*/ 1323526 h 6622937"/>
              <a:gd name="connsiteX109" fmla="*/ 7513161 w 8636594"/>
              <a:gd name="connsiteY109" fmla="*/ 1241237 h 6622937"/>
              <a:gd name="connsiteX110" fmla="*/ 7572144 w 8636594"/>
              <a:gd name="connsiteY110" fmla="*/ 1159689 h 6622937"/>
              <a:gd name="connsiteX111" fmla="*/ 7601877 w 8636594"/>
              <a:gd name="connsiteY111" fmla="*/ 1119210 h 6622937"/>
              <a:gd name="connsiteX112" fmla="*/ 7631779 w 8636594"/>
              <a:gd name="connsiteY112" fmla="*/ 1078937 h 6622937"/>
              <a:gd name="connsiteX113" fmla="*/ 7661855 w 8636594"/>
              <a:gd name="connsiteY113" fmla="*/ 1038876 h 6622937"/>
              <a:gd name="connsiteX114" fmla="*/ 7692111 w 8636594"/>
              <a:gd name="connsiteY114" fmla="*/ 999035 h 6622937"/>
              <a:gd name="connsiteX115" fmla="*/ 7722554 w 8636594"/>
              <a:gd name="connsiteY115" fmla="*/ 959419 h 6622937"/>
              <a:gd name="connsiteX116" fmla="*/ 7753190 w 8636594"/>
              <a:gd name="connsiteY116" fmla="*/ 920037 h 6622937"/>
              <a:gd name="connsiteX117" fmla="*/ 7784023 w 8636594"/>
              <a:gd name="connsiteY117" fmla="*/ 880894 h 6622937"/>
              <a:gd name="connsiteX118" fmla="*/ 7815061 w 8636594"/>
              <a:gd name="connsiteY118" fmla="*/ 841997 h 6622937"/>
              <a:gd name="connsiteX119" fmla="*/ 7846308 w 8636594"/>
              <a:gd name="connsiteY119" fmla="*/ 803354 h 6622937"/>
              <a:gd name="connsiteX120" fmla="*/ 7877772 w 8636594"/>
              <a:gd name="connsiteY120" fmla="*/ 764970 h 6622937"/>
              <a:gd name="connsiteX121" fmla="*/ 7909458 w 8636594"/>
              <a:gd name="connsiteY121" fmla="*/ 726853 h 6622937"/>
              <a:gd name="connsiteX122" fmla="*/ 7941371 w 8636594"/>
              <a:gd name="connsiteY122" fmla="*/ 689010 h 6622937"/>
              <a:gd name="connsiteX123" fmla="*/ 7973518 w 8636594"/>
              <a:gd name="connsiteY123" fmla="*/ 651447 h 6622937"/>
              <a:gd name="connsiteX124" fmla="*/ 8005905 w 8636594"/>
              <a:gd name="connsiteY124" fmla="*/ 614171 h 6622937"/>
              <a:gd name="connsiteX125" fmla="*/ 8038538 w 8636594"/>
              <a:gd name="connsiteY125" fmla="*/ 577189 h 6622937"/>
              <a:gd name="connsiteX126" fmla="*/ 8071421 w 8636594"/>
              <a:gd name="connsiteY126" fmla="*/ 540507 h 6622937"/>
              <a:gd name="connsiteX127" fmla="*/ 8104563 w 8636594"/>
              <a:gd name="connsiteY127" fmla="*/ 504132 h 6622937"/>
              <a:gd name="connsiteX128" fmla="*/ 8137967 w 8636594"/>
              <a:gd name="connsiteY128" fmla="*/ 468072 h 6622937"/>
              <a:gd name="connsiteX129" fmla="*/ 8171641 w 8636594"/>
              <a:gd name="connsiteY129" fmla="*/ 432332 h 6622937"/>
              <a:gd name="connsiteX130" fmla="*/ 8205590 w 8636594"/>
              <a:gd name="connsiteY130" fmla="*/ 396920 h 6622937"/>
              <a:gd name="connsiteX131" fmla="*/ 8239820 w 8636594"/>
              <a:gd name="connsiteY131" fmla="*/ 361843 h 6622937"/>
              <a:gd name="connsiteX132" fmla="*/ 8274337 w 8636594"/>
              <a:gd name="connsiteY132" fmla="*/ 327107 h 6622937"/>
              <a:gd name="connsiteX133" fmla="*/ 8309147 w 8636594"/>
              <a:gd name="connsiteY133" fmla="*/ 292718 h 6622937"/>
              <a:gd name="connsiteX134" fmla="*/ 8344256 w 8636594"/>
              <a:gd name="connsiteY134" fmla="*/ 258685 h 6622937"/>
              <a:gd name="connsiteX135" fmla="*/ 8379669 w 8636594"/>
              <a:gd name="connsiteY135" fmla="*/ 225013 h 6622937"/>
              <a:gd name="connsiteX136" fmla="*/ 8415394 w 8636594"/>
              <a:gd name="connsiteY136" fmla="*/ 191709 h 6622937"/>
              <a:gd name="connsiteX137" fmla="*/ 8451434 w 8636594"/>
              <a:gd name="connsiteY137" fmla="*/ 158780 h 6622937"/>
              <a:gd name="connsiteX138" fmla="*/ 8487798 w 8636594"/>
              <a:gd name="connsiteY138" fmla="*/ 126233 h 6622937"/>
              <a:gd name="connsiteX139" fmla="*/ 8524489 w 8636594"/>
              <a:gd name="connsiteY139" fmla="*/ 94075 h 6622937"/>
              <a:gd name="connsiteX140" fmla="*/ 8561515 w 8636594"/>
              <a:gd name="connsiteY140" fmla="*/ 62312 h 6622937"/>
              <a:gd name="connsiteX141" fmla="*/ 8598881 w 8636594"/>
              <a:gd name="connsiteY141" fmla="*/ 30951 h 6622937"/>
              <a:gd name="connsiteX142" fmla="*/ 8636594 w 8636594"/>
              <a:gd name="connsiteY142"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066817 w 8636594"/>
              <a:gd name="connsiteY5" fmla="*/ 6622937 h 6622937"/>
              <a:gd name="connsiteX6" fmla="*/ 2126742 w 8636594"/>
              <a:gd name="connsiteY6" fmla="*/ 6612869 h 6622937"/>
              <a:gd name="connsiteX7" fmla="*/ 2185991 w 8636594"/>
              <a:gd name="connsiteY7" fmla="*/ 6602362 h 6622937"/>
              <a:gd name="connsiteX8" fmla="*/ 2244569 w 8636594"/>
              <a:gd name="connsiteY8" fmla="*/ 6591417 h 6622937"/>
              <a:gd name="connsiteX9" fmla="*/ 2302482 w 8636594"/>
              <a:gd name="connsiteY9" fmla="*/ 6580040 h 6622937"/>
              <a:gd name="connsiteX10" fmla="*/ 2359737 w 8636594"/>
              <a:gd name="connsiteY10" fmla="*/ 6568233 h 6622937"/>
              <a:gd name="connsiteX11" fmla="*/ 2416341 w 8636594"/>
              <a:gd name="connsiteY11" fmla="*/ 6555999 h 6622937"/>
              <a:gd name="connsiteX12" fmla="*/ 2472299 w 8636594"/>
              <a:gd name="connsiteY12" fmla="*/ 6543344 h 6622937"/>
              <a:gd name="connsiteX13" fmla="*/ 2527618 w 8636594"/>
              <a:gd name="connsiteY13" fmla="*/ 6530269 h 6622937"/>
              <a:gd name="connsiteX14" fmla="*/ 2582304 w 8636594"/>
              <a:gd name="connsiteY14" fmla="*/ 6516778 h 6622937"/>
              <a:gd name="connsiteX15" fmla="*/ 2636364 w 8636594"/>
              <a:gd name="connsiteY15" fmla="*/ 6502876 h 6622937"/>
              <a:gd name="connsiteX16" fmla="*/ 2689804 w 8636594"/>
              <a:gd name="connsiteY16" fmla="*/ 6488565 h 6622937"/>
              <a:gd name="connsiteX17" fmla="*/ 2742629 w 8636594"/>
              <a:gd name="connsiteY17" fmla="*/ 6473849 h 6622937"/>
              <a:gd name="connsiteX18" fmla="*/ 2794848 w 8636594"/>
              <a:gd name="connsiteY18" fmla="*/ 6458731 h 6622937"/>
              <a:gd name="connsiteX19" fmla="*/ 2846466 w 8636594"/>
              <a:gd name="connsiteY19" fmla="*/ 6443216 h 6622937"/>
              <a:gd name="connsiteX20" fmla="*/ 2897488 w 8636594"/>
              <a:gd name="connsiteY20" fmla="*/ 6427305 h 6622937"/>
              <a:gd name="connsiteX21" fmla="*/ 2947923 w 8636594"/>
              <a:gd name="connsiteY21" fmla="*/ 6411004 h 6622937"/>
              <a:gd name="connsiteX22" fmla="*/ 2997775 w 8636594"/>
              <a:gd name="connsiteY22" fmla="*/ 6394316 h 6622937"/>
              <a:gd name="connsiteX23" fmla="*/ 3047052 w 8636594"/>
              <a:gd name="connsiteY23" fmla="*/ 6377243 h 6622937"/>
              <a:gd name="connsiteX24" fmla="*/ 3095759 w 8636594"/>
              <a:gd name="connsiteY24" fmla="*/ 6359791 h 6622937"/>
              <a:gd name="connsiteX25" fmla="*/ 3143903 w 8636594"/>
              <a:gd name="connsiteY25" fmla="*/ 6341961 h 6622937"/>
              <a:gd name="connsiteX26" fmla="*/ 3191491 w 8636594"/>
              <a:gd name="connsiteY26" fmla="*/ 6323757 h 6622937"/>
              <a:gd name="connsiteX27" fmla="*/ 3238528 w 8636594"/>
              <a:gd name="connsiteY27" fmla="*/ 6305184 h 6622937"/>
              <a:gd name="connsiteX28" fmla="*/ 3285021 w 8636594"/>
              <a:gd name="connsiteY28" fmla="*/ 6286245 h 6622937"/>
              <a:gd name="connsiteX29" fmla="*/ 3330977 w 8636594"/>
              <a:gd name="connsiteY29" fmla="*/ 6266942 h 6622937"/>
              <a:gd name="connsiteX30" fmla="*/ 3376401 w 8636594"/>
              <a:gd name="connsiteY30" fmla="*/ 6247281 h 6622937"/>
              <a:gd name="connsiteX31" fmla="*/ 3421300 w 8636594"/>
              <a:gd name="connsiteY31" fmla="*/ 6227263 h 6622937"/>
              <a:gd name="connsiteX32" fmla="*/ 3465680 w 8636594"/>
              <a:gd name="connsiteY32" fmla="*/ 6206893 h 6622937"/>
              <a:gd name="connsiteX33" fmla="*/ 3509548 w 8636594"/>
              <a:gd name="connsiteY33" fmla="*/ 6186174 h 6622937"/>
              <a:gd name="connsiteX34" fmla="*/ 3552910 w 8636594"/>
              <a:gd name="connsiteY34" fmla="*/ 6165110 h 6622937"/>
              <a:gd name="connsiteX35" fmla="*/ 3595773 w 8636594"/>
              <a:gd name="connsiteY35" fmla="*/ 6143704 h 6622937"/>
              <a:gd name="connsiteX36" fmla="*/ 3638142 w 8636594"/>
              <a:gd name="connsiteY36" fmla="*/ 6121960 h 6622937"/>
              <a:gd name="connsiteX37" fmla="*/ 3680024 w 8636594"/>
              <a:gd name="connsiteY37" fmla="*/ 6099881 h 6622937"/>
              <a:gd name="connsiteX38" fmla="*/ 3721426 w 8636594"/>
              <a:gd name="connsiteY38" fmla="*/ 6077471 h 6622937"/>
              <a:gd name="connsiteX39" fmla="*/ 3762353 w 8636594"/>
              <a:gd name="connsiteY39" fmla="*/ 6054733 h 6622937"/>
              <a:gd name="connsiteX40" fmla="*/ 3802812 w 8636594"/>
              <a:gd name="connsiteY40" fmla="*/ 6031671 h 6622937"/>
              <a:gd name="connsiteX41" fmla="*/ 3842810 w 8636594"/>
              <a:gd name="connsiteY41" fmla="*/ 6008288 h 6622937"/>
              <a:gd name="connsiteX42" fmla="*/ 3882352 w 8636594"/>
              <a:gd name="connsiteY42" fmla="*/ 5984588 h 6622937"/>
              <a:gd name="connsiteX43" fmla="*/ 3921445 w 8636594"/>
              <a:gd name="connsiteY43" fmla="*/ 5960574 h 6622937"/>
              <a:gd name="connsiteX44" fmla="*/ 3960096 w 8636594"/>
              <a:gd name="connsiteY44" fmla="*/ 5936250 h 6622937"/>
              <a:gd name="connsiteX45" fmla="*/ 3998311 w 8636594"/>
              <a:gd name="connsiteY45" fmla="*/ 5911619 h 6622937"/>
              <a:gd name="connsiteX46" fmla="*/ 4036095 w 8636594"/>
              <a:gd name="connsiteY46" fmla="*/ 5886685 h 6622937"/>
              <a:gd name="connsiteX47" fmla="*/ 4073456 w 8636594"/>
              <a:gd name="connsiteY47" fmla="*/ 5861452 h 6622937"/>
              <a:gd name="connsiteX48" fmla="*/ 4110400 w 8636594"/>
              <a:gd name="connsiteY48" fmla="*/ 5835922 h 6622937"/>
              <a:gd name="connsiteX49" fmla="*/ 4146933 w 8636594"/>
              <a:gd name="connsiteY49" fmla="*/ 5810100 h 6622937"/>
              <a:gd name="connsiteX50" fmla="*/ 4183061 w 8636594"/>
              <a:gd name="connsiteY50" fmla="*/ 5783988 h 6622937"/>
              <a:gd name="connsiteX51" fmla="*/ 4218791 w 8636594"/>
              <a:gd name="connsiteY51" fmla="*/ 5757591 h 6622937"/>
              <a:gd name="connsiteX52" fmla="*/ 4254129 w 8636594"/>
              <a:gd name="connsiteY52" fmla="*/ 5730912 h 6622937"/>
              <a:gd name="connsiteX53" fmla="*/ 4289081 w 8636594"/>
              <a:gd name="connsiteY53" fmla="*/ 5703955 h 6622937"/>
              <a:gd name="connsiteX54" fmla="*/ 4323654 w 8636594"/>
              <a:gd name="connsiteY54" fmla="*/ 5676722 h 6622937"/>
              <a:gd name="connsiteX55" fmla="*/ 4357854 w 8636594"/>
              <a:gd name="connsiteY55" fmla="*/ 5649218 h 6622937"/>
              <a:gd name="connsiteX56" fmla="*/ 4391688 w 8636594"/>
              <a:gd name="connsiteY56" fmla="*/ 5621446 h 6622937"/>
              <a:gd name="connsiteX57" fmla="*/ 4425162 w 8636594"/>
              <a:gd name="connsiteY57" fmla="*/ 5593409 h 6622937"/>
              <a:gd name="connsiteX58" fmla="*/ 4458281 w 8636594"/>
              <a:gd name="connsiteY58" fmla="*/ 5565111 h 6622937"/>
              <a:gd name="connsiteX59" fmla="*/ 4491053 w 8636594"/>
              <a:gd name="connsiteY59" fmla="*/ 5536556 h 6622937"/>
              <a:gd name="connsiteX60" fmla="*/ 4523484 w 8636594"/>
              <a:gd name="connsiteY60" fmla="*/ 5507747 h 6622937"/>
              <a:gd name="connsiteX61" fmla="*/ 4555580 w 8636594"/>
              <a:gd name="connsiteY61" fmla="*/ 5478687 h 6622937"/>
              <a:gd name="connsiteX62" fmla="*/ 4587347 w 8636594"/>
              <a:gd name="connsiteY62" fmla="*/ 5449380 h 6622937"/>
              <a:gd name="connsiteX63" fmla="*/ 4618793 w 8636594"/>
              <a:gd name="connsiteY63" fmla="*/ 5419830 h 6622937"/>
              <a:gd name="connsiteX64" fmla="*/ 4649922 w 8636594"/>
              <a:gd name="connsiteY64" fmla="*/ 5390040 h 6622937"/>
              <a:gd name="connsiteX65" fmla="*/ 4680742 w 8636594"/>
              <a:gd name="connsiteY65" fmla="*/ 5360014 h 6622937"/>
              <a:gd name="connsiteX66" fmla="*/ 4711259 w 8636594"/>
              <a:gd name="connsiteY66" fmla="*/ 5329755 h 6622937"/>
              <a:gd name="connsiteX67" fmla="*/ 4741478 w 8636594"/>
              <a:gd name="connsiteY67" fmla="*/ 5299266 h 6622937"/>
              <a:gd name="connsiteX68" fmla="*/ 4771408 w 8636594"/>
              <a:gd name="connsiteY68" fmla="*/ 5268551 h 6622937"/>
              <a:gd name="connsiteX69" fmla="*/ 4801053 w 8636594"/>
              <a:gd name="connsiteY69" fmla="*/ 5237614 h 6622937"/>
              <a:gd name="connsiteX70" fmla="*/ 4830420 w 8636594"/>
              <a:gd name="connsiteY70" fmla="*/ 5206458 h 6622937"/>
              <a:gd name="connsiteX71" fmla="*/ 4859516 w 8636594"/>
              <a:gd name="connsiteY71" fmla="*/ 5175087 h 6622937"/>
              <a:gd name="connsiteX72" fmla="*/ 4888347 w 8636594"/>
              <a:gd name="connsiteY72" fmla="*/ 5143504 h 6622937"/>
              <a:gd name="connsiteX73" fmla="*/ 4916919 w 8636594"/>
              <a:gd name="connsiteY73" fmla="*/ 5111713 h 6622937"/>
              <a:gd name="connsiteX74" fmla="*/ 4945238 w 8636594"/>
              <a:gd name="connsiteY74" fmla="*/ 5079717 h 6622937"/>
              <a:gd name="connsiteX75" fmla="*/ 4973311 w 8636594"/>
              <a:gd name="connsiteY75" fmla="*/ 5047519 h 6622937"/>
              <a:gd name="connsiteX76" fmla="*/ 5001145 w 8636594"/>
              <a:gd name="connsiteY76" fmla="*/ 5015124 h 6622937"/>
              <a:gd name="connsiteX77" fmla="*/ 5028745 w 8636594"/>
              <a:gd name="connsiteY77" fmla="*/ 4982535 h 6622937"/>
              <a:gd name="connsiteX78" fmla="*/ 5056117 w 8636594"/>
              <a:gd name="connsiteY78" fmla="*/ 4949755 h 6622937"/>
              <a:gd name="connsiteX79" fmla="*/ 5083269 w 8636594"/>
              <a:gd name="connsiteY79" fmla="*/ 4916787 h 6622937"/>
              <a:gd name="connsiteX80" fmla="*/ 5110207 w 8636594"/>
              <a:gd name="connsiteY80" fmla="*/ 4883636 h 6622937"/>
              <a:gd name="connsiteX81" fmla="*/ 5136937 w 8636594"/>
              <a:gd name="connsiteY81" fmla="*/ 4850305 h 6622937"/>
              <a:gd name="connsiteX82" fmla="*/ 5163464 w 8636594"/>
              <a:gd name="connsiteY82" fmla="*/ 4816797 h 6622937"/>
              <a:gd name="connsiteX83" fmla="*/ 5215940 w 8636594"/>
              <a:gd name="connsiteY83" fmla="*/ 4749265 h 6622937"/>
              <a:gd name="connsiteX84" fmla="*/ 5267684 w 8636594"/>
              <a:gd name="connsiteY84" fmla="*/ 4681068 h 6622937"/>
              <a:gd name="connsiteX85" fmla="*/ 5318748 w 8636594"/>
              <a:gd name="connsiteY85" fmla="*/ 4612234 h 6622937"/>
              <a:gd name="connsiteX86" fmla="*/ 5369182 w 8636594"/>
              <a:gd name="connsiteY86" fmla="*/ 4542793 h 6622937"/>
              <a:gd name="connsiteX87" fmla="*/ 5419038 w 8636594"/>
              <a:gd name="connsiteY87" fmla="*/ 4472771 h 6622937"/>
              <a:gd name="connsiteX88" fmla="*/ 5468365 w 8636594"/>
              <a:gd name="connsiteY88" fmla="*/ 4402196 h 6622937"/>
              <a:gd name="connsiteX89" fmla="*/ 5517215 w 8636594"/>
              <a:gd name="connsiteY89" fmla="*/ 4331098 h 6622937"/>
              <a:gd name="connsiteX90" fmla="*/ 5565637 w 8636594"/>
              <a:gd name="connsiteY90" fmla="*/ 4259503 h 6622937"/>
              <a:gd name="connsiteX91" fmla="*/ 5613684 w 8636594"/>
              <a:gd name="connsiteY91" fmla="*/ 4187441 h 6622937"/>
              <a:gd name="connsiteX92" fmla="*/ 5685160 w 8636594"/>
              <a:gd name="connsiteY92" fmla="*/ 4078531 h 6622937"/>
              <a:gd name="connsiteX93" fmla="*/ 5756074 w 8636594"/>
              <a:gd name="connsiteY93" fmla="*/ 3968727 h 6622937"/>
              <a:gd name="connsiteX94" fmla="*/ 5873483 w 8636594"/>
              <a:gd name="connsiteY94" fmla="*/ 3783989 h 6622937"/>
              <a:gd name="connsiteX95" fmla="*/ 6203209 w 8636594"/>
              <a:gd name="connsiteY95" fmla="*/ 3258640 h 6622937"/>
              <a:gd name="connsiteX96" fmla="*/ 6299430 w 8636594"/>
              <a:gd name="connsiteY96" fmla="*/ 3107321 h 6622937"/>
              <a:gd name="connsiteX97" fmla="*/ 6372650 w 8636594"/>
              <a:gd name="connsiteY97" fmla="*/ 2993735 h 6622937"/>
              <a:gd name="connsiteX98" fmla="*/ 6453197 w 8636594"/>
              <a:gd name="connsiteY98" fmla="*/ 2869788 h 6622937"/>
              <a:gd name="connsiteX99" fmla="*/ 6564167 w 8636594"/>
              <a:gd name="connsiteY99" fmla="*/ 2696807 h 6622937"/>
              <a:gd name="connsiteX100" fmla="*/ 6976233 w 8636594"/>
              <a:gd name="connsiteY100" fmla="*/ 2045274 h 6622937"/>
              <a:gd name="connsiteX101" fmla="*/ 7086755 w 8636594"/>
              <a:gd name="connsiteY101" fmla="*/ 1872743 h 6622937"/>
              <a:gd name="connsiteX102" fmla="*/ 7170279 w 8636594"/>
              <a:gd name="connsiteY102" fmla="*/ 1744202 h 6622937"/>
              <a:gd name="connsiteX103" fmla="*/ 7226351 w 8636594"/>
              <a:gd name="connsiteY103" fmla="*/ 1659017 h 6622937"/>
              <a:gd name="connsiteX104" fmla="*/ 7282789 w 8636594"/>
              <a:gd name="connsiteY104" fmla="*/ 1574303 h 6622937"/>
              <a:gd name="connsiteX105" fmla="*/ 7339643 w 8636594"/>
              <a:gd name="connsiteY105" fmla="*/ 1490113 h 6622937"/>
              <a:gd name="connsiteX106" fmla="*/ 7396957 w 8636594"/>
              <a:gd name="connsiteY106" fmla="*/ 1406503 h 6622937"/>
              <a:gd name="connsiteX107" fmla="*/ 7454781 w 8636594"/>
              <a:gd name="connsiteY107" fmla="*/ 1323526 h 6622937"/>
              <a:gd name="connsiteX108" fmla="*/ 7513161 w 8636594"/>
              <a:gd name="connsiteY108" fmla="*/ 1241237 h 6622937"/>
              <a:gd name="connsiteX109" fmla="*/ 7572144 w 8636594"/>
              <a:gd name="connsiteY109" fmla="*/ 1159689 h 6622937"/>
              <a:gd name="connsiteX110" fmla="*/ 7601877 w 8636594"/>
              <a:gd name="connsiteY110" fmla="*/ 1119210 h 6622937"/>
              <a:gd name="connsiteX111" fmla="*/ 7631779 w 8636594"/>
              <a:gd name="connsiteY111" fmla="*/ 1078937 h 6622937"/>
              <a:gd name="connsiteX112" fmla="*/ 7661855 w 8636594"/>
              <a:gd name="connsiteY112" fmla="*/ 1038876 h 6622937"/>
              <a:gd name="connsiteX113" fmla="*/ 7692111 w 8636594"/>
              <a:gd name="connsiteY113" fmla="*/ 999035 h 6622937"/>
              <a:gd name="connsiteX114" fmla="*/ 7722554 w 8636594"/>
              <a:gd name="connsiteY114" fmla="*/ 959419 h 6622937"/>
              <a:gd name="connsiteX115" fmla="*/ 7753190 w 8636594"/>
              <a:gd name="connsiteY115" fmla="*/ 920037 h 6622937"/>
              <a:gd name="connsiteX116" fmla="*/ 7784023 w 8636594"/>
              <a:gd name="connsiteY116" fmla="*/ 880894 h 6622937"/>
              <a:gd name="connsiteX117" fmla="*/ 7815061 w 8636594"/>
              <a:gd name="connsiteY117" fmla="*/ 841997 h 6622937"/>
              <a:gd name="connsiteX118" fmla="*/ 7846308 w 8636594"/>
              <a:gd name="connsiteY118" fmla="*/ 803354 h 6622937"/>
              <a:gd name="connsiteX119" fmla="*/ 7877772 w 8636594"/>
              <a:gd name="connsiteY119" fmla="*/ 764970 h 6622937"/>
              <a:gd name="connsiteX120" fmla="*/ 7909458 w 8636594"/>
              <a:gd name="connsiteY120" fmla="*/ 726853 h 6622937"/>
              <a:gd name="connsiteX121" fmla="*/ 7941371 w 8636594"/>
              <a:gd name="connsiteY121" fmla="*/ 689010 h 6622937"/>
              <a:gd name="connsiteX122" fmla="*/ 7973518 w 8636594"/>
              <a:gd name="connsiteY122" fmla="*/ 651447 h 6622937"/>
              <a:gd name="connsiteX123" fmla="*/ 8005905 w 8636594"/>
              <a:gd name="connsiteY123" fmla="*/ 614171 h 6622937"/>
              <a:gd name="connsiteX124" fmla="*/ 8038538 w 8636594"/>
              <a:gd name="connsiteY124" fmla="*/ 577189 h 6622937"/>
              <a:gd name="connsiteX125" fmla="*/ 8071421 w 8636594"/>
              <a:gd name="connsiteY125" fmla="*/ 540507 h 6622937"/>
              <a:gd name="connsiteX126" fmla="*/ 8104563 w 8636594"/>
              <a:gd name="connsiteY126" fmla="*/ 504132 h 6622937"/>
              <a:gd name="connsiteX127" fmla="*/ 8137967 w 8636594"/>
              <a:gd name="connsiteY127" fmla="*/ 468072 h 6622937"/>
              <a:gd name="connsiteX128" fmla="*/ 8171641 w 8636594"/>
              <a:gd name="connsiteY128" fmla="*/ 432332 h 6622937"/>
              <a:gd name="connsiteX129" fmla="*/ 8205590 w 8636594"/>
              <a:gd name="connsiteY129" fmla="*/ 396920 h 6622937"/>
              <a:gd name="connsiteX130" fmla="*/ 8239820 w 8636594"/>
              <a:gd name="connsiteY130" fmla="*/ 361843 h 6622937"/>
              <a:gd name="connsiteX131" fmla="*/ 8274337 w 8636594"/>
              <a:gd name="connsiteY131" fmla="*/ 327107 h 6622937"/>
              <a:gd name="connsiteX132" fmla="*/ 8309147 w 8636594"/>
              <a:gd name="connsiteY132" fmla="*/ 292718 h 6622937"/>
              <a:gd name="connsiteX133" fmla="*/ 8344256 w 8636594"/>
              <a:gd name="connsiteY133" fmla="*/ 258685 h 6622937"/>
              <a:gd name="connsiteX134" fmla="*/ 8379669 w 8636594"/>
              <a:gd name="connsiteY134" fmla="*/ 225013 h 6622937"/>
              <a:gd name="connsiteX135" fmla="*/ 8415394 w 8636594"/>
              <a:gd name="connsiteY135" fmla="*/ 191709 h 6622937"/>
              <a:gd name="connsiteX136" fmla="*/ 8451434 w 8636594"/>
              <a:gd name="connsiteY136" fmla="*/ 158780 h 6622937"/>
              <a:gd name="connsiteX137" fmla="*/ 8487798 w 8636594"/>
              <a:gd name="connsiteY137" fmla="*/ 126233 h 6622937"/>
              <a:gd name="connsiteX138" fmla="*/ 8524489 w 8636594"/>
              <a:gd name="connsiteY138" fmla="*/ 94075 h 6622937"/>
              <a:gd name="connsiteX139" fmla="*/ 8561515 w 8636594"/>
              <a:gd name="connsiteY139" fmla="*/ 62312 h 6622937"/>
              <a:gd name="connsiteX140" fmla="*/ 8598881 w 8636594"/>
              <a:gd name="connsiteY140" fmla="*/ 30951 h 6622937"/>
              <a:gd name="connsiteX141" fmla="*/ 8636594 w 8636594"/>
              <a:gd name="connsiteY141" fmla="*/ 0 h 6622937"/>
              <a:gd name="connsiteX0" fmla="*/ 8636594 w 8636594"/>
              <a:gd name="connsiteY0" fmla="*/ 0 h 6612869"/>
              <a:gd name="connsiteX1" fmla="*/ 5293 w 8636594"/>
              <a:gd name="connsiteY1" fmla="*/ 0 h 6612869"/>
              <a:gd name="connsiteX2" fmla="*/ 0 w 8636594"/>
              <a:gd name="connsiteY2" fmla="*/ 5587843 h 6612869"/>
              <a:gd name="connsiteX3" fmla="*/ 1594033 w 8636594"/>
              <a:gd name="connsiteY3" fmla="*/ 5600057 h 6612869"/>
              <a:gd name="connsiteX4" fmla="*/ 1686068 w 8636594"/>
              <a:gd name="connsiteY4" fmla="*/ 5599745 h 6612869"/>
              <a:gd name="connsiteX5" fmla="*/ 2126742 w 8636594"/>
              <a:gd name="connsiteY5" fmla="*/ 6612869 h 6612869"/>
              <a:gd name="connsiteX6" fmla="*/ 2185991 w 8636594"/>
              <a:gd name="connsiteY6" fmla="*/ 6602362 h 6612869"/>
              <a:gd name="connsiteX7" fmla="*/ 2244569 w 8636594"/>
              <a:gd name="connsiteY7" fmla="*/ 6591417 h 6612869"/>
              <a:gd name="connsiteX8" fmla="*/ 2302482 w 8636594"/>
              <a:gd name="connsiteY8" fmla="*/ 6580040 h 6612869"/>
              <a:gd name="connsiteX9" fmla="*/ 2359737 w 8636594"/>
              <a:gd name="connsiteY9" fmla="*/ 6568233 h 6612869"/>
              <a:gd name="connsiteX10" fmla="*/ 2416341 w 8636594"/>
              <a:gd name="connsiteY10" fmla="*/ 6555999 h 6612869"/>
              <a:gd name="connsiteX11" fmla="*/ 2472299 w 8636594"/>
              <a:gd name="connsiteY11" fmla="*/ 6543344 h 6612869"/>
              <a:gd name="connsiteX12" fmla="*/ 2527618 w 8636594"/>
              <a:gd name="connsiteY12" fmla="*/ 6530269 h 6612869"/>
              <a:gd name="connsiteX13" fmla="*/ 2582304 w 8636594"/>
              <a:gd name="connsiteY13" fmla="*/ 6516778 h 6612869"/>
              <a:gd name="connsiteX14" fmla="*/ 2636364 w 8636594"/>
              <a:gd name="connsiteY14" fmla="*/ 6502876 h 6612869"/>
              <a:gd name="connsiteX15" fmla="*/ 2689804 w 8636594"/>
              <a:gd name="connsiteY15" fmla="*/ 6488565 h 6612869"/>
              <a:gd name="connsiteX16" fmla="*/ 2742629 w 8636594"/>
              <a:gd name="connsiteY16" fmla="*/ 6473849 h 6612869"/>
              <a:gd name="connsiteX17" fmla="*/ 2794848 w 8636594"/>
              <a:gd name="connsiteY17" fmla="*/ 6458731 h 6612869"/>
              <a:gd name="connsiteX18" fmla="*/ 2846466 w 8636594"/>
              <a:gd name="connsiteY18" fmla="*/ 6443216 h 6612869"/>
              <a:gd name="connsiteX19" fmla="*/ 2897488 w 8636594"/>
              <a:gd name="connsiteY19" fmla="*/ 6427305 h 6612869"/>
              <a:gd name="connsiteX20" fmla="*/ 2947923 w 8636594"/>
              <a:gd name="connsiteY20" fmla="*/ 6411004 h 6612869"/>
              <a:gd name="connsiteX21" fmla="*/ 2997775 w 8636594"/>
              <a:gd name="connsiteY21" fmla="*/ 6394316 h 6612869"/>
              <a:gd name="connsiteX22" fmla="*/ 3047052 w 8636594"/>
              <a:gd name="connsiteY22" fmla="*/ 6377243 h 6612869"/>
              <a:gd name="connsiteX23" fmla="*/ 3095759 w 8636594"/>
              <a:gd name="connsiteY23" fmla="*/ 6359791 h 6612869"/>
              <a:gd name="connsiteX24" fmla="*/ 3143903 w 8636594"/>
              <a:gd name="connsiteY24" fmla="*/ 6341961 h 6612869"/>
              <a:gd name="connsiteX25" fmla="*/ 3191491 w 8636594"/>
              <a:gd name="connsiteY25" fmla="*/ 6323757 h 6612869"/>
              <a:gd name="connsiteX26" fmla="*/ 3238528 w 8636594"/>
              <a:gd name="connsiteY26" fmla="*/ 6305184 h 6612869"/>
              <a:gd name="connsiteX27" fmla="*/ 3285021 w 8636594"/>
              <a:gd name="connsiteY27" fmla="*/ 6286245 h 6612869"/>
              <a:gd name="connsiteX28" fmla="*/ 3330977 w 8636594"/>
              <a:gd name="connsiteY28" fmla="*/ 6266942 h 6612869"/>
              <a:gd name="connsiteX29" fmla="*/ 3376401 w 8636594"/>
              <a:gd name="connsiteY29" fmla="*/ 6247281 h 6612869"/>
              <a:gd name="connsiteX30" fmla="*/ 3421300 w 8636594"/>
              <a:gd name="connsiteY30" fmla="*/ 6227263 h 6612869"/>
              <a:gd name="connsiteX31" fmla="*/ 3465680 w 8636594"/>
              <a:gd name="connsiteY31" fmla="*/ 6206893 h 6612869"/>
              <a:gd name="connsiteX32" fmla="*/ 3509548 w 8636594"/>
              <a:gd name="connsiteY32" fmla="*/ 6186174 h 6612869"/>
              <a:gd name="connsiteX33" fmla="*/ 3552910 w 8636594"/>
              <a:gd name="connsiteY33" fmla="*/ 6165110 h 6612869"/>
              <a:gd name="connsiteX34" fmla="*/ 3595773 w 8636594"/>
              <a:gd name="connsiteY34" fmla="*/ 6143704 h 6612869"/>
              <a:gd name="connsiteX35" fmla="*/ 3638142 w 8636594"/>
              <a:gd name="connsiteY35" fmla="*/ 6121960 h 6612869"/>
              <a:gd name="connsiteX36" fmla="*/ 3680024 w 8636594"/>
              <a:gd name="connsiteY36" fmla="*/ 6099881 h 6612869"/>
              <a:gd name="connsiteX37" fmla="*/ 3721426 w 8636594"/>
              <a:gd name="connsiteY37" fmla="*/ 6077471 h 6612869"/>
              <a:gd name="connsiteX38" fmla="*/ 3762353 w 8636594"/>
              <a:gd name="connsiteY38" fmla="*/ 6054733 h 6612869"/>
              <a:gd name="connsiteX39" fmla="*/ 3802812 w 8636594"/>
              <a:gd name="connsiteY39" fmla="*/ 6031671 h 6612869"/>
              <a:gd name="connsiteX40" fmla="*/ 3842810 w 8636594"/>
              <a:gd name="connsiteY40" fmla="*/ 6008288 h 6612869"/>
              <a:gd name="connsiteX41" fmla="*/ 3882352 w 8636594"/>
              <a:gd name="connsiteY41" fmla="*/ 5984588 h 6612869"/>
              <a:gd name="connsiteX42" fmla="*/ 3921445 w 8636594"/>
              <a:gd name="connsiteY42" fmla="*/ 5960574 h 6612869"/>
              <a:gd name="connsiteX43" fmla="*/ 3960096 w 8636594"/>
              <a:gd name="connsiteY43" fmla="*/ 5936250 h 6612869"/>
              <a:gd name="connsiteX44" fmla="*/ 3998311 w 8636594"/>
              <a:gd name="connsiteY44" fmla="*/ 5911619 h 6612869"/>
              <a:gd name="connsiteX45" fmla="*/ 4036095 w 8636594"/>
              <a:gd name="connsiteY45" fmla="*/ 5886685 h 6612869"/>
              <a:gd name="connsiteX46" fmla="*/ 4073456 w 8636594"/>
              <a:gd name="connsiteY46" fmla="*/ 5861452 h 6612869"/>
              <a:gd name="connsiteX47" fmla="*/ 4110400 w 8636594"/>
              <a:gd name="connsiteY47" fmla="*/ 5835922 h 6612869"/>
              <a:gd name="connsiteX48" fmla="*/ 4146933 w 8636594"/>
              <a:gd name="connsiteY48" fmla="*/ 5810100 h 6612869"/>
              <a:gd name="connsiteX49" fmla="*/ 4183061 w 8636594"/>
              <a:gd name="connsiteY49" fmla="*/ 5783988 h 6612869"/>
              <a:gd name="connsiteX50" fmla="*/ 4218791 w 8636594"/>
              <a:gd name="connsiteY50" fmla="*/ 5757591 h 6612869"/>
              <a:gd name="connsiteX51" fmla="*/ 4254129 w 8636594"/>
              <a:gd name="connsiteY51" fmla="*/ 5730912 h 6612869"/>
              <a:gd name="connsiteX52" fmla="*/ 4289081 w 8636594"/>
              <a:gd name="connsiteY52" fmla="*/ 5703955 h 6612869"/>
              <a:gd name="connsiteX53" fmla="*/ 4323654 w 8636594"/>
              <a:gd name="connsiteY53" fmla="*/ 5676722 h 6612869"/>
              <a:gd name="connsiteX54" fmla="*/ 4357854 w 8636594"/>
              <a:gd name="connsiteY54" fmla="*/ 5649218 h 6612869"/>
              <a:gd name="connsiteX55" fmla="*/ 4391688 w 8636594"/>
              <a:gd name="connsiteY55" fmla="*/ 5621446 h 6612869"/>
              <a:gd name="connsiteX56" fmla="*/ 4425162 w 8636594"/>
              <a:gd name="connsiteY56" fmla="*/ 5593409 h 6612869"/>
              <a:gd name="connsiteX57" fmla="*/ 4458281 w 8636594"/>
              <a:gd name="connsiteY57" fmla="*/ 5565111 h 6612869"/>
              <a:gd name="connsiteX58" fmla="*/ 4491053 w 8636594"/>
              <a:gd name="connsiteY58" fmla="*/ 5536556 h 6612869"/>
              <a:gd name="connsiteX59" fmla="*/ 4523484 w 8636594"/>
              <a:gd name="connsiteY59" fmla="*/ 5507747 h 6612869"/>
              <a:gd name="connsiteX60" fmla="*/ 4555580 w 8636594"/>
              <a:gd name="connsiteY60" fmla="*/ 5478687 h 6612869"/>
              <a:gd name="connsiteX61" fmla="*/ 4587347 w 8636594"/>
              <a:gd name="connsiteY61" fmla="*/ 5449380 h 6612869"/>
              <a:gd name="connsiteX62" fmla="*/ 4618793 w 8636594"/>
              <a:gd name="connsiteY62" fmla="*/ 5419830 h 6612869"/>
              <a:gd name="connsiteX63" fmla="*/ 4649922 w 8636594"/>
              <a:gd name="connsiteY63" fmla="*/ 5390040 h 6612869"/>
              <a:gd name="connsiteX64" fmla="*/ 4680742 w 8636594"/>
              <a:gd name="connsiteY64" fmla="*/ 5360014 h 6612869"/>
              <a:gd name="connsiteX65" fmla="*/ 4711259 w 8636594"/>
              <a:gd name="connsiteY65" fmla="*/ 5329755 h 6612869"/>
              <a:gd name="connsiteX66" fmla="*/ 4741478 w 8636594"/>
              <a:gd name="connsiteY66" fmla="*/ 5299266 h 6612869"/>
              <a:gd name="connsiteX67" fmla="*/ 4771408 w 8636594"/>
              <a:gd name="connsiteY67" fmla="*/ 5268551 h 6612869"/>
              <a:gd name="connsiteX68" fmla="*/ 4801053 w 8636594"/>
              <a:gd name="connsiteY68" fmla="*/ 5237614 h 6612869"/>
              <a:gd name="connsiteX69" fmla="*/ 4830420 w 8636594"/>
              <a:gd name="connsiteY69" fmla="*/ 5206458 h 6612869"/>
              <a:gd name="connsiteX70" fmla="*/ 4859516 w 8636594"/>
              <a:gd name="connsiteY70" fmla="*/ 5175087 h 6612869"/>
              <a:gd name="connsiteX71" fmla="*/ 4888347 w 8636594"/>
              <a:gd name="connsiteY71" fmla="*/ 5143504 h 6612869"/>
              <a:gd name="connsiteX72" fmla="*/ 4916919 w 8636594"/>
              <a:gd name="connsiteY72" fmla="*/ 5111713 h 6612869"/>
              <a:gd name="connsiteX73" fmla="*/ 4945238 w 8636594"/>
              <a:gd name="connsiteY73" fmla="*/ 5079717 h 6612869"/>
              <a:gd name="connsiteX74" fmla="*/ 4973311 w 8636594"/>
              <a:gd name="connsiteY74" fmla="*/ 5047519 h 6612869"/>
              <a:gd name="connsiteX75" fmla="*/ 5001145 w 8636594"/>
              <a:gd name="connsiteY75" fmla="*/ 5015124 h 6612869"/>
              <a:gd name="connsiteX76" fmla="*/ 5028745 w 8636594"/>
              <a:gd name="connsiteY76" fmla="*/ 4982535 h 6612869"/>
              <a:gd name="connsiteX77" fmla="*/ 5056117 w 8636594"/>
              <a:gd name="connsiteY77" fmla="*/ 4949755 h 6612869"/>
              <a:gd name="connsiteX78" fmla="*/ 5083269 w 8636594"/>
              <a:gd name="connsiteY78" fmla="*/ 4916787 h 6612869"/>
              <a:gd name="connsiteX79" fmla="*/ 5110207 w 8636594"/>
              <a:gd name="connsiteY79" fmla="*/ 4883636 h 6612869"/>
              <a:gd name="connsiteX80" fmla="*/ 5136937 w 8636594"/>
              <a:gd name="connsiteY80" fmla="*/ 4850305 h 6612869"/>
              <a:gd name="connsiteX81" fmla="*/ 5163464 w 8636594"/>
              <a:gd name="connsiteY81" fmla="*/ 4816797 h 6612869"/>
              <a:gd name="connsiteX82" fmla="*/ 5215940 w 8636594"/>
              <a:gd name="connsiteY82" fmla="*/ 4749265 h 6612869"/>
              <a:gd name="connsiteX83" fmla="*/ 5267684 w 8636594"/>
              <a:gd name="connsiteY83" fmla="*/ 4681068 h 6612869"/>
              <a:gd name="connsiteX84" fmla="*/ 5318748 w 8636594"/>
              <a:gd name="connsiteY84" fmla="*/ 4612234 h 6612869"/>
              <a:gd name="connsiteX85" fmla="*/ 5369182 w 8636594"/>
              <a:gd name="connsiteY85" fmla="*/ 4542793 h 6612869"/>
              <a:gd name="connsiteX86" fmla="*/ 5419038 w 8636594"/>
              <a:gd name="connsiteY86" fmla="*/ 4472771 h 6612869"/>
              <a:gd name="connsiteX87" fmla="*/ 5468365 w 8636594"/>
              <a:gd name="connsiteY87" fmla="*/ 4402196 h 6612869"/>
              <a:gd name="connsiteX88" fmla="*/ 5517215 w 8636594"/>
              <a:gd name="connsiteY88" fmla="*/ 4331098 h 6612869"/>
              <a:gd name="connsiteX89" fmla="*/ 5565637 w 8636594"/>
              <a:gd name="connsiteY89" fmla="*/ 4259503 h 6612869"/>
              <a:gd name="connsiteX90" fmla="*/ 5613684 w 8636594"/>
              <a:gd name="connsiteY90" fmla="*/ 4187441 h 6612869"/>
              <a:gd name="connsiteX91" fmla="*/ 5685160 w 8636594"/>
              <a:gd name="connsiteY91" fmla="*/ 4078531 h 6612869"/>
              <a:gd name="connsiteX92" fmla="*/ 5756074 w 8636594"/>
              <a:gd name="connsiteY92" fmla="*/ 3968727 h 6612869"/>
              <a:gd name="connsiteX93" fmla="*/ 5873483 w 8636594"/>
              <a:gd name="connsiteY93" fmla="*/ 3783989 h 6612869"/>
              <a:gd name="connsiteX94" fmla="*/ 6203209 w 8636594"/>
              <a:gd name="connsiteY94" fmla="*/ 3258640 h 6612869"/>
              <a:gd name="connsiteX95" fmla="*/ 6299430 w 8636594"/>
              <a:gd name="connsiteY95" fmla="*/ 3107321 h 6612869"/>
              <a:gd name="connsiteX96" fmla="*/ 6372650 w 8636594"/>
              <a:gd name="connsiteY96" fmla="*/ 2993735 h 6612869"/>
              <a:gd name="connsiteX97" fmla="*/ 6453197 w 8636594"/>
              <a:gd name="connsiteY97" fmla="*/ 2869788 h 6612869"/>
              <a:gd name="connsiteX98" fmla="*/ 6564167 w 8636594"/>
              <a:gd name="connsiteY98" fmla="*/ 2696807 h 6612869"/>
              <a:gd name="connsiteX99" fmla="*/ 6976233 w 8636594"/>
              <a:gd name="connsiteY99" fmla="*/ 2045274 h 6612869"/>
              <a:gd name="connsiteX100" fmla="*/ 7086755 w 8636594"/>
              <a:gd name="connsiteY100" fmla="*/ 1872743 h 6612869"/>
              <a:gd name="connsiteX101" fmla="*/ 7170279 w 8636594"/>
              <a:gd name="connsiteY101" fmla="*/ 1744202 h 6612869"/>
              <a:gd name="connsiteX102" fmla="*/ 7226351 w 8636594"/>
              <a:gd name="connsiteY102" fmla="*/ 1659017 h 6612869"/>
              <a:gd name="connsiteX103" fmla="*/ 7282789 w 8636594"/>
              <a:gd name="connsiteY103" fmla="*/ 1574303 h 6612869"/>
              <a:gd name="connsiteX104" fmla="*/ 7339643 w 8636594"/>
              <a:gd name="connsiteY104" fmla="*/ 1490113 h 6612869"/>
              <a:gd name="connsiteX105" fmla="*/ 7396957 w 8636594"/>
              <a:gd name="connsiteY105" fmla="*/ 1406503 h 6612869"/>
              <a:gd name="connsiteX106" fmla="*/ 7454781 w 8636594"/>
              <a:gd name="connsiteY106" fmla="*/ 1323526 h 6612869"/>
              <a:gd name="connsiteX107" fmla="*/ 7513161 w 8636594"/>
              <a:gd name="connsiteY107" fmla="*/ 1241237 h 6612869"/>
              <a:gd name="connsiteX108" fmla="*/ 7572144 w 8636594"/>
              <a:gd name="connsiteY108" fmla="*/ 1159689 h 6612869"/>
              <a:gd name="connsiteX109" fmla="*/ 7601877 w 8636594"/>
              <a:gd name="connsiteY109" fmla="*/ 1119210 h 6612869"/>
              <a:gd name="connsiteX110" fmla="*/ 7631779 w 8636594"/>
              <a:gd name="connsiteY110" fmla="*/ 1078937 h 6612869"/>
              <a:gd name="connsiteX111" fmla="*/ 7661855 w 8636594"/>
              <a:gd name="connsiteY111" fmla="*/ 1038876 h 6612869"/>
              <a:gd name="connsiteX112" fmla="*/ 7692111 w 8636594"/>
              <a:gd name="connsiteY112" fmla="*/ 999035 h 6612869"/>
              <a:gd name="connsiteX113" fmla="*/ 7722554 w 8636594"/>
              <a:gd name="connsiteY113" fmla="*/ 959419 h 6612869"/>
              <a:gd name="connsiteX114" fmla="*/ 7753190 w 8636594"/>
              <a:gd name="connsiteY114" fmla="*/ 920037 h 6612869"/>
              <a:gd name="connsiteX115" fmla="*/ 7784023 w 8636594"/>
              <a:gd name="connsiteY115" fmla="*/ 880894 h 6612869"/>
              <a:gd name="connsiteX116" fmla="*/ 7815061 w 8636594"/>
              <a:gd name="connsiteY116" fmla="*/ 841997 h 6612869"/>
              <a:gd name="connsiteX117" fmla="*/ 7846308 w 8636594"/>
              <a:gd name="connsiteY117" fmla="*/ 803354 h 6612869"/>
              <a:gd name="connsiteX118" fmla="*/ 7877772 w 8636594"/>
              <a:gd name="connsiteY118" fmla="*/ 764970 h 6612869"/>
              <a:gd name="connsiteX119" fmla="*/ 7909458 w 8636594"/>
              <a:gd name="connsiteY119" fmla="*/ 726853 h 6612869"/>
              <a:gd name="connsiteX120" fmla="*/ 7941371 w 8636594"/>
              <a:gd name="connsiteY120" fmla="*/ 689010 h 6612869"/>
              <a:gd name="connsiteX121" fmla="*/ 7973518 w 8636594"/>
              <a:gd name="connsiteY121" fmla="*/ 651447 h 6612869"/>
              <a:gd name="connsiteX122" fmla="*/ 8005905 w 8636594"/>
              <a:gd name="connsiteY122" fmla="*/ 614171 h 6612869"/>
              <a:gd name="connsiteX123" fmla="*/ 8038538 w 8636594"/>
              <a:gd name="connsiteY123" fmla="*/ 577189 h 6612869"/>
              <a:gd name="connsiteX124" fmla="*/ 8071421 w 8636594"/>
              <a:gd name="connsiteY124" fmla="*/ 540507 h 6612869"/>
              <a:gd name="connsiteX125" fmla="*/ 8104563 w 8636594"/>
              <a:gd name="connsiteY125" fmla="*/ 504132 h 6612869"/>
              <a:gd name="connsiteX126" fmla="*/ 8137967 w 8636594"/>
              <a:gd name="connsiteY126" fmla="*/ 468072 h 6612869"/>
              <a:gd name="connsiteX127" fmla="*/ 8171641 w 8636594"/>
              <a:gd name="connsiteY127" fmla="*/ 432332 h 6612869"/>
              <a:gd name="connsiteX128" fmla="*/ 8205590 w 8636594"/>
              <a:gd name="connsiteY128" fmla="*/ 396920 h 6612869"/>
              <a:gd name="connsiteX129" fmla="*/ 8239820 w 8636594"/>
              <a:gd name="connsiteY129" fmla="*/ 361843 h 6612869"/>
              <a:gd name="connsiteX130" fmla="*/ 8274337 w 8636594"/>
              <a:gd name="connsiteY130" fmla="*/ 327107 h 6612869"/>
              <a:gd name="connsiteX131" fmla="*/ 8309147 w 8636594"/>
              <a:gd name="connsiteY131" fmla="*/ 292718 h 6612869"/>
              <a:gd name="connsiteX132" fmla="*/ 8344256 w 8636594"/>
              <a:gd name="connsiteY132" fmla="*/ 258685 h 6612869"/>
              <a:gd name="connsiteX133" fmla="*/ 8379669 w 8636594"/>
              <a:gd name="connsiteY133" fmla="*/ 225013 h 6612869"/>
              <a:gd name="connsiteX134" fmla="*/ 8415394 w 8636594"/>
              <a:gd name="connsiteY134" fmla="*/ 191709 h 6612869"/>
              <a:gd name="connsiteX135" fmla="*/ 8451434 w 8636594"/>
              <a:gd name="connsiteY135" fmla="*/ 158780 h 6612869"/>
              <a:gd name="connsiteX136" fmla="*/ 8487798 w 8636594"/>
              <a:gd name="connsiteY136" fmla="*/ 126233 h 6612869"/>
              <a:gd name="connsiteX137" fmla="*/ 8524489 w 8636594"/>
              <a:gd name="connsiteY137" fmla="*/ 94075 h 6612869"/>
              <a:gd name="connsiteX138" fmla="*/ 8561515 w 8636594"/>
              <a:gd name="connsiteY138" fmla="*/ 62312 h 6612869"/>
              <a:gd name="connsiteX139" fmla="*/ 8598881 w 8636594"/>
              <a:gd name="connsiteY139" fmla="*/ 30951 h 6612869"/>
              <a:gd name="connsiteX140" fmla="*/ 8636594 w 8636594"/>
              <a:gd name="connsiteY140" fmla="*/ 0 h 6612869"/>
              <a:gd name="connsiteX0" fmla="*/ 8636594 w 8636594"/>
              <a:gd name="connsiteY0" fmla="*/ 0 h 6602362"/>
              <a:gd name="connsiteX1" fmla="*/ 5293 w 8636594"/>
              <a:gd name="connsiteY1" fmla="*/ 0 h 6602362"/>
              <a:gd name="connsiteX2" fmla="*/ 0 w 8636594"/>
              <a:gd name="connsiteY2" fmla="*/ 5587843 h 6602362"/>
              <a:gd name="connsiteX3" fmla="*/ 1594033 w 8636594"/>
              <a:gd name="connsiteY3" fmla="*/ 5600057 h 6602362"/>
              <a:gd name="connsiteX4" fmla="*/ 1686068 w 8636594"/>
              <a:gd name="connsiteY4" fmla="*/ 5599745 h 6602362"/>
              <a:gd name="connsiteX5" fmla="*/ 2185991 w 8636594"/>
              <a:gd name="connsiteY5" fmla="*/ 6602362 h 6602362"/>
              <a:gd name="connsiteX6" fmla="*/ 2244569 w 8636594"/>
              <a:gd name="connsiteY6" fmla="*/ 6591417 h 6602362"/>
              <a:gd name="connsiteX7" fmla="*/ 2302482 w 8636594"/>
              <a:gd name="connsiteY7" fmla="*/ 6580040 h 6602362"/>
              <a:gd name="connsiteX8" fmla="*/ 2359737 w 8636594"/>
              <a:gd name="connsiteY8" fmla="*/ 6568233 h 6602362"/>
              <a:gd name="connsiteX9" fmla="*/ 2416341 w 8636594"/>
              <a:gd name="connsiteY9" fmla="*/ 6555999 h 6602362"/>
              <a:gd name="connsiteX10" fmla="*/ 2472299 w 8636594"/>
              <a:gd name="connsiteY10" fmla="*/ 6543344 h 6602362"/>
              <a:gd name="connsiteX11" fmla="*/ 2527618 w 8636594"/>
              <a:gd name="connsiteY11" fmla="*/ 6530269 h 6602362"/>
              <a:gd name="connsiteX12" fmla="*/ 2582304 w 8636594"/>
              <a:gd name="connsiteY12" fmla="*/ 6516778 h 6602362"/>
              <a:gd name="connsiteX13" fmla="*/ 2636364 w 8636594"/>
              <a:gd name="connsiteY13" fmla="*/ 6502876 h 6602362"/>
              <a:gd name="connsiteX14" fmla="*/ 2689804 w 8636594"/>
              <a:gd name="connsiteY14" fmla="*/ 6488565 h 6602362"/>
              <a:gd name="connsiteX15" fmla="*/ 2742629 w 8636594"/>
              <a:gd name="connsiteY15" fmla="*/ 6473849 h 6602362"/>
              <a:gd name="connsiteX16" fmla="*/ 2794848 w 8636594"/>
              <a:gd name="connsiteY16" fmla="*/ 6458731 h 6602362"/>
              <a:gd name="connsiteX17" fmla="*/ 2846466 w 8636594"/>
              <a:gd name="connsiteY17" fmla="*/ 6443216 h 6602362"/>
              <a:gd name="connsiteX18" fmla="*/ 2897488 w 8636594"/>
              <a:gd name="connsiteY18" fmla="*/ 6427305 h 6602362"/>
              <a:gd name="connsiteX19" fmla="*/ 2947923 w 8636594"/>
              <a:gd name="connsiteY19" fmla="*/ 6411004 h 6602362"/>
              <a:gd name="connsiteX20" fmla="*/ 2997775 w 8636594"/>
              <a:gd name="connsiteY20" fmla="*/ 6394316 h 6602362"/>
              <a:gd name="connsiteX21" fmla="*/ 3047052 w 8636594"/>
              <a:gd name="connsiteY21" fmla="*/ 6377243 h 6602362"/>
              <a:gd name="connsiteX22" fmla="*/ 3095759 w 8636594"/>
              <a:gd name="connsiteY22" fmla="*/ 6359791 h 6602362"/>
              <a:gd name="connsiteX23" fmla="*/ 3143903 w 8636594"/>
              <a:gd name="connsiteY23" fmla="*/ 6341961 h 6602362"/>
              <a:gd name="connsiteX24" fmla="*/ 3191491 w 8636594"/>
              <a:gd name="connsiteY24" fmla="*/ 6323757 h 6602362"/>
              <a:gd name="connsiteX25" fmla="*/ 3238528 w 8636594"/>
              <a:gd name="connsiteY25" fmla="*/ 6305184 h 6602362"/>
              <a:gd name="connsiteX26" fmla="*/ 3285021 w 8636594"/>
              <a:gd name="connsiteY26" fmla="*/ 6286245 h 6602362"/>
              <a:gd name="connsiteX27" fmla="*/ 3330977 w 8636594"/>
              <a:gd name="connsiteY27" fmla="*/ 6266942 h 6602362"/>
              <a:gd name="connsiteX28" fmla="*/ 3376401 w 8636594"/>
              <a:gd name="connsiteY28" fmla="*/ 6247281 h 6602362"/>
              <a:gd name="connsiteX29" fmla="*/ 3421300 w 8636594"/>
              <a:gd name="connsiteY29" fmla="*/ 6227263 h 6602362"/>
              <a:gd name="connsiteX30" fmla="*/ 3465680 w 8636594"/>
              <a:gd name="connsiteY30" fmla="*/ 6206893 h 6602362"/>
              <a:gd name="connsiteX31" fmla="*/ 3509548 w 8636594"/>
              <a:gd name="connsiteY31" fmla="*/ 6186174 h 6602362"/>
              <a:gd name="connsiteX32" fmla="*/ 3552910 w 8636594"/>
              <a:gd name="connsiteY32" fmla="*/ 6165110 h 6602362"/>
              <a:gd name="connsiteX33" fmla="*/ 3595773 w 8636594"/>
              <a:gd name="connsiteY33" fmla="*/ 6143704 h 6602362"/>
              <a:gd name="connsiteX34" fmla="*/ 3638142 w 8636594"/>
              <a:gd name="connsiteY34" fmla="*/ 6121960 h 6602362"/>
              <a:gd name="connsiteX35" fmla="*/ 3680024 w 8636594"/>
              <a:gd name="connsiteY35" fmla="*/ 6099881 h 6602362"/>
              <a:gd name="connsiteX36" fmla="*/ 3721426 w 8636594"/>
              <a:gd name="connsiteY36" fmla="*/ 6077471 h 6602362"/>
              <a:gd name="connsiteX37" fmla="*/ 3762353 w 8636594"/>
              <a:gd name="connsiteY37" fmla="*/ 6054733 h 6602362"/>
              <a:gd name="connsiteX38" fmla="*/ 3802812 w 8636594"/>
              <a:gd name="connsiteY38" fmla="*/ 6031671 h 6602362"/>
              <a:gd name="connsiteX39" fmla="*/ 3842810 w 8636594"/>
              <a:gd name="connsiteY39" fmla="*/ 6008288 h 6602362"/>
              <a:gd name="connsiteX40" fmla="*/ 3882352 w 8636594"/>
              <a:gd name="connsiteY40" fmla="*/ 5984588 h 6602362"/>
              <a:gd name="connsiteX41" fmla="*/ 3921445 w 8636594"/>
              <a:gd name="connsiteY41" fmla="*/ 5960574 h 6602362"/>
              <a:gd name="connsiteX42" fmla="*/ 3960096 w 8636594"/>
              <a:gd name="connsiteY42" fmla="*/ 5936250 h 6602362"/>
              <a:gd name="connsiteX43" fmla="*/ 3998311 w 8636594"/>
              <a:gd name="connsiteY43" fmla="*/ 5911619 h 6602362"/>
              <a:gd name="connsiteX44" fmla="*/ 4036095 w 8636594"/>
              <a:gd name="connsiteY44" fmla="*/ 5886685 h 6602362"/>
              <a:gd name="connsiteX45" fmla="*/ 4073456 w 8636594"/>
              <a:gd name="connsiteY45" fmla="*/ 5861452 h 6602362"/>
              <a:gd name="connsiteX46" fmla="*/ 4110400 w 8636594"/>
              <a:gd name="connsiteY46" fmla="*/ 5835922 h 6602362"/>
              <a:gd name="connsiteX47" fmla="*/ 4146933 w 8636594"/>
              <a:gd name="connsiteY47" fmla="*/ 5810100 h 6602362"/>
              <a:gd name="connsiteX48" fmla="*/ 4183061 w 8636594"/>
              <a:gd name="connsiteY48" fmla="*/ 5783988 h 6602362"/>
              <a:gd name="connsiteX49" fmla="*/ 4218791 w 8636594"/>
              <a:gd name="connsiteY49" fmla="*/ 5757591 h 6602362"/>
              <a:gd name="connsiteX50" fmla="*/ 4254129 w 8636594"/>
              <a:gd name="connsiteY50" fmla="*/ 5730912 h 6602362"/>
              <a:gd name="connsiteX51" fmla="*/ 4289081 w 8636594"/>
              <a:gd name="connsiteY51" fmla="*/ 5703955 h 6602362"/>
              <a:gd name="connsiteX52" fmla="*/ 4323654 w 8636594"/>
              <a:gd name="connsiteY52" fmla="*/ 5676722 h 6602362"/>
              <a:gd name="connsiteX53" fmla="*/ 4357854 w 8636594"/>
              <a:gd name="connsiteY53" fmla="*/ 5649218 h 6602362"/>
              <a:gd name="connsiteX54" fmla="*/ 4391688 w 8636594"/>
              <a:gd name="connsiteY54" fmla="*/ 5621446 h 6602362"/>
              <a:gd name="connsiteX55" fmla="*/ 4425162 w 8636594"/>
              <a:gd name="connsiteY55" fmla="*/ 5593409 h 6602362"/>
              <a:gd name="connsiteX56" fmla="*/ 4458281 w 8636594"/>
              <a:gd name="connsiteY56" fmla="*/ 5565111 h 6602362"/>
              <a:gd name="connsiteX57" fmla="*/ 4491053 w 8636594"/>
              <a:gd name="connsiteY57" fmla="*/ 5536556 h 6602362"/>
              <a:gd name="connsiteX58" fmla="*/ 4523484 w 8636594"/>
              <a:gd name="connsiteY58" fmla="*/ 5507747 h 6602362"/>
              <a:gd name="connsiteX59" fmla="*/ 4555580 w 8636594"/>
              <a:gd name="connsiteY59" fmla="*/ 5478687 h 6602362"/>
              <a:gd name="connsiteX60" fmla="*/ 4587347 w 8636594"/>
              <a:gd name="connsiteY60" fmla="*/ 5449380 h 6602362"/>
              <a:gd name="connsiteX61" fmla="*/ 4618793 w 8636594"/>
              <a:gd name="connsiteY61" fmla="*/ 5419830 h 6602362"/>
              <a:gd name="connsiteX62" fmla="*/ 4649922 w 8636594"/>
              <a:gd name="connsiteY62" fmla="*/ 5390040 h 6602362"/>
              <a:gd name="connsiteX63" fmla="*/ 4680742 w 8636594"/>
              <a:gd name="connsiteY63" fmla="*/ 5360014 h 6602362"/>
              <a:gd name="connsiteX64" fmla="*/ 4711259 w 8636594"/>
              <a:gd name="connsiteY64" fmla="*/ 5329755 h 6602362"/>
              <a:gd name="connsiteX65" fmla="*/ 4741478 w 8636594"/>
              <a:gd name="connsiteY65" fmla="*/ 5299266 h 6602362"/>
              <a:gd name="connsiteX66" fmla="*/ 4771408 w 8636594"/>
              <a:gd name="connsiteY66" fmla="*/ 5268551 h 6602362"/>
              <a:gd name="connsiteX67" fmla="*/ 4801053 w 8636594"/>
              <a:gd name="connsiteY67" fmla="*/ 5237614 h 6602362"/>
              <a:gd name="connsiteX68" fmla="*/ 4830420 w 8636594"/>
              <a:gd name="connsiteY68" fmla="*/ 5206458 h 6602362"/>
              <a:gd name="connsiteX69" fmla="*/ 4859516 w 8636594"/>
              <a:gd name="connsiteY69" fmla="*/ 5175087 h 6602362"/>
              <a:gd name="connsiteX70" fmla="*/ 4888347 w 8636594"/>
              <a:gd name="connsiteY70" fmla="*/ 5143504 h 6602362"/>
              <a:gd name="connsiteX71" fmla="*/ 4916919 w 8636594"/>
              <a:gd name="connsiteY71" fmla="*/ 5111713 h 6602362"/>
              <a:gd name="connsiteX72" fmla="*/ 4945238 w 8636594"/>
              <a:gd name="connsiteY72" fmla="*/ 5079717 h 6602362"/>
              <a:gd name="connsiteX73" fmla="*/ 4973311 w 8636594"/>
              <a:gd name="connsiteY73" fmla="*/ 5047519 h 6602362"/>
              <a:gd name="connsiteX74" fmla="*/ 5001145 w 8636594"/>
              <a:gd name="connsiteY74" fmla="*/ 5015124 h 6602362"/>
              <a:gd name="connsiteX75" fmla="*/ 5028745 w 8636594"/>
              <a:gd name="connsiteY75" fmla="*/ 4982535 h 6602362"/>
              <a:gd name="connsiteX76" fmla="*/ 5056117 w 8636594"/>
              <a:gd name="connsiteY76" fmla="*/ 4949755 h 6602362"/>
              <a:gd name="connsiteX77" fmla="*/ 5083269 w 8636594"/>
              <a:gd name="connsiteY77" fmla="*/ 4916787 h 6602362"/>
              <a:gd name="connsiteX78" fmla="*/ 5110207 w 8636594"/>
              <a:gd name="connsiteY78" fmla="*/ 4883636 h 6602362"/>
              <a:gd name="connsiteX79" fmla="*/ 5136937 w 8636594"/>
              <a:gd name="connsiteY79" fmla="*/ 4850305 h 6602362"/>
              <a:gd name="connsiteX80" fmla="*/ 5163464 w 8636594"/>
              <a:gd name="connsiteY80" fmla="*/ 4816797 h 6602362"/>
              <a:gd name="connsiteX81" fmla="*/ 5215940 w 8636594"/>
              <a:gd name="connsiteY81" fmla="*/ 4749265 h 6602362"/>
              <a:gd name="connsiteX82" fmla="*/ 5267684 w 8636594"/>
              <a:gd name="connsiteY82" fmla="*/ 4681068 h 6602362"/>
              <a:gd name="connsiteX83" fmla="*/ 5318748 w 8636594"/>
              <a:gd name="connsiteY83" fmla="*/ 4612234 h 6602362"/>
              <a:gd name="connsiteX84" fmla="*/ 5369182 w 8636594"/>
              <a:gd name="connsiteY84" fmla="*/ 4542793 h 6602362"/>
              <a:gd name="connsiteX85" fmla="*/ 5419038 w 8636594"/>
              <a:gd name="connsiteY85" fmla="*/ 4472771 h 6602362"/>
              <a:gd name="connsiteX86" fmla="*/ 5468365 w 8636594"/>
              <a:gd name="connsiteY86" fmla="*/ 4402196 h 6602362"/>
              <a:gd name="connsiteX87" fmla="*/ 5517215 w 8636594"/>
              <a:gd name="connsiteY87" fmla="*/ 4331098 h 6602362"/>
              <a:gd name="connsiteX88" fmla="*/ 5565637 w 8636594"/>
              <a:gd name="connsiteY88" fmla="*/ 4259503 h 6602362"/>
              <a:gd name="connsiteX89" fmla="*/ 5613684 w 8636594"/>
              <a:gd name="connsiteY89" fmla="*/ 4187441 h 6602362"/>
              <a:gd name="connsiteX90" fmla="*/ 5685160 w 8636594"/>
              <a:gd name="connsiteY90" fmla="*/ 4078531 h 6602362"/>
              <a:gd name="connsiteX91" fmla="*/ 5756074 w 8636594"/>
              <a:gd name="connsiteY91" fmla="*/ 3968727 h 6602362"/>
              <a:gd name="connsiteX92" fmla="*/ 5873483 w 8636594"/>
              <a:gd name="connsiteY92" fmla="*/ 3783989 h 6602362"/>
              <a:gd name="connsiteX93" fmla="*/ 6203209 w 8636594"/>
              <a:gd name="connsiteY93" fmla="*/ 3258640 h 6602362"/>
              <a:gd name="connsiteX94" fmla="*/ 6299430 w 8636594"/>
              <a:gd name="connsiteY94" fmla="*/ 3107321 h 6602362"/>
              <a:gd name="connsiteX95" fmla="*/ 6372650 w 8636594"/>
              <a:gd name="connsiteY95" fmla="*/ 2993735 h 6602362"/>
              <a:gd name="connsiteX96" fmla="*/ 6453197 w 8636594"/>
              <a:gd name="connsiteY96" fmla="*/ 2869788 h 6602362"/>
              <a:gd name="connsiteX97" fmla="*/ 6564167 w 8636594"/>
              <a:gd name="connsiteY97" fmla="*/ 2696807 h 6602362"/>
              <a:gd name="connsiteX98" fmla="*/ 6976233 w 8636594"/>
              <a:gd name="connsiteY98" fmla="*/ 2045274 h 6602362"/>
              <a:gd name="connsiteX99" fmla="*/ 7086755 w 8636594"/>
              <a:gd name="connsiteY99" fmla="*/ 1872743 h 6602362"/>
              <a:gd name="connsiteX100" fmla="*/ 7170279 w 8636594"/>
              <a:gd name="connsiteY100" fmla="*/ 1744202 h 6602362"/>
              <a:gd name="connsiteX101" fmla="*/ 7226351 w 8636594"/>
              <a:gd name="connsiteY101" fmla="*/ 1659017 h 6602362"/>
              <a:gd name="connsiteX102" fmla="*/ 7282789 w 8636594"/>
              <a:gd name="connsiteY102" fmla="*/ 1574303 h 6602362"/>
              <a:gd name="connsiteX103" fmla="*/ 7339643 w 8636594"/>
              <a:gd name="connsiteY103" fmla="*/ 1490113 h 6602362"/>
              <a:gd name="connsiteX104" fmla="*/ 7396957 w 8636594"/>
              <a:gd name="connsiteY104" fmla="*/ 1406503 h 6602362"/>
              <a:gd name="connsiteX105" fmla="*/ 7454781 w 8636594"/>
              <a:gd name="connsiteY105" fmla="*/ 1323526 h 6602362"/>
              <a:gd name="connsiteX106" fmla="*/ 7513161 w 8636594"/>
              <a:gd name="connsiteY106" fmla="*/ 1241237 h 6602362"/>
              <a:gd name="connsiteX107" fmla="*/ 7572144 w 8636594"/>
              <a:gd name="connsiteY107" fmla="*/ 1159689 h 6602362"/>
              <a:gd name="connsiteX108" fmla="*/ 7601877 w 8636594"/>
              <a:gd name="connsiteY108" fmla="*/ 1119210 h 6602362"/>
              <a:gd name="connsiteX109" fmla="*/ 7631779 w 8636594"/>
              <a:gd name="connsiteY109" fmla="*/ 1078937 h 6602362"/>
              <a:gd name="connsiteX110" fmla="*/ 7661855 w 8636594"/>
              <a:gd name="connsiteY110" fmla="*/ 1038876 h 6602362"/>
              <a:gd name="connsiteX111" fmla="*/ 7692111 w 8636594"/>
              <a:gd name="connsiteY111" fmla="*/ 999035 h 6602362"/>
              <a:gd name="connsiteX112" fmla="*/ 7722554 w 8636594"/>
              <a:gd name="connsiteY112" fmla="*/ 959419 h 6602362"/>
              <a:gd name="connsiteX113" fmla="*/ 7753190 w 8636594"/>
              <a:gd name="connsiteY113" fmla="*/ 920037 h 6602362"/>
              <a:gd name="connsiteX114" fmla="*/ 7784023 w 8636594"/>
              <a:gd name="connsiteY114" fmla="*/ 880894 h 6602362"/>
              <a:gd name="connsiteX115" fmla="*/ 7815061 w 8636594"/>
              <a:gd name="connsiteY115" fmla="*/ 841997 h 6602362"/>
              <a:gd name="connsiteX116" fmla="*/ 7846308 w 8636594"/>
              <a:gd name="connsiteY116" fmla="*/ 803354 h 6602362"/>
              <a:gd name="connsiteX117" fmla="*/ 7877772 w 8636594"/>
              <a:gd name="connsiteY117" fmla="*/ 764970 h 6602362"/>
              <a:gd name="connsiteX118" fmla="*/ 7909458 w 8636594"/>
              <a:gd name="connsiteY118" fmla="*/ 726853 h 6602362"/>
              <a:gd name="connsiteX119" fmla="*/ 7941371 w 8636594"/>
              <a:gd name="connsiteY119" fmla="*/ 689010 h 6602362"/>
              <a:gd name="connsiteX120" fmla="*/ 7973518 w 8636594"/>
              <a:gd name="connsiteY120" fmla="*/ 651447 h 6602362"/>
              <a:gd name="connsiteX121" fmla="*/ 8005905 w 8636594"/>
              <a:gd name="connsiteY121" fmla="*/ 614171 h 6602362"/>
              <a:gd name="connsiteX122" fmla="*/ 8038538 w 8636594"/>
              <a:gd name="connsiteY122" fmla="*/ 577189 h 6602362"/>
              <a:gd name="connsiteX123" fmla="*/ 8071421 w 8636594"/>
              <a:gd name="connsiteY123" fmla="*/ 540507 h 6602362"/>
              <a:gd name="connsiteX124" fmla="*/ 8104563 w 8636594"/>
              <a:gd name="connsiteY124" fmla="*/ 504132 h 6602362"/>
              <a:gd name="connsiteX125" fmla="*/ 8137967 w 8636594"/>
              <a:gd name="connsiteY125" fmla="*/ 468072 h 6602362"/>
              <a:gd name="connsiteX126" fmla="*/ 8171641 w 8636594"/>
              <a:gd name="connsiteY126" fmla="*/ 432332 h 6602362"/>
              <a:gd name="connsiteX127" fmla="*/ 8205590 w 8636594"/>
              <a:gd name="connsiteY127" fmla="*/ 396920 h 6602362"/>
              <a:gd name="connsiteX128" fmla="*/ 8239820 w 8636594"/>
              <a:gd name="connsiteY128" fmla="*/ 361843 h 6602362"/>
              <a:gd name="connsiteX129" fmla="*/ 8274337 w 8636594"/>
              <a:gd name="connsiteY129" fmla="*/ 327107 h 6602362"/>
              <a:gd name="connsiteX130" fmla="*/ 8309147 w 8636594"/>
              <a:gd name="connsiteY130" fmla="*/ 292718 h 6602362"/>
              <a:gd name="connsiteX131" fmla="*/ 8344256 w 8636594"/>
              <a:gd name="connsiteY131" fmla="*/ 258685 h 6602362"/>
              <a:gd name="connsiteX132" fmla="*/ 8379669 w 8636594"/>
              <a:gd name="connsiteY132" fmla="*/ 225013 h 6602362"/>
              <a:gd name="connsiteX133" fmla="*/ 8415394 w 8636594"/>
              <a:gd name="connsiteY133" fmla="*/ 191709 h 6602362"/>
              <a:gd name="connsiteX134" fmla="*/ 8451434 w 8636594"/>
              <a:gd name="connsiteY134" fmla="*/ 158780 h 6602362"/>
              <a:gd name="connsiteX135" fmla="*/ 8487798 w 8636594"/>
              <a:gd name="connsiteY135" fmla="*/ 126233 h 6602362"/>
              <a:gd name="connsiteX136" fmla="*/ 8524489 w 8636594"/>
              <a:gd name="connsiteY136" fmla="*/ 94075 h 6602362"/>
              <a:gd name="connsiteX137" fmla="*/ 8561515 w 8636594"/>
              <a:gd name="connsiteY137" fmla="*/ 62312 h 6602362"/>
              <a:gd name="connsiteX138" fmla="*/ 8598881 w 8636594"/>
              <a:gd name="connsiteY138" fmla="*/ 30951 h 6602362"/>
              <a:gd name="connsiteX139" fmla="*/ 8636594 w 8636594"/>
              <a:gd name="connsiteY139" fmla="*/ 0 h 6602362"/>
              <a:gd name="connsiteX0" fmla="*/ 8636594 w 8636594"/>
              <a:gd name="connsiteY0" fmla="*/ 0 h 6591417"/>
              <a:gd name="connsiteX1" fmla="*/ 5293 w 8636594"/>
              <a:gd name="connsiteY1" fmla="*/ 0 h 6591417"/>
              <a:gd name="connsiteX2" fmla="*/ 0 w 8636594"/>
              <a:gd name="connsiteY2" fmla="*/ 5587843 h 6591417"/>
              <a:gd name="connsiteX3" fmla="*/ 1594033 w 8636594"/>
              <a:gd name="connsiteY3" fmla="*/ 5600057 h 6591417"/>
              <a:gd name="connsiteX4" fmla="*/ 1686068 w 8636594"/>
              <a:gd name="connsiteY4" fmla="*/ 5599745 h 6591417"/>
              <a:gd name="connsiteX5" fmla="*/ 2244569 w 8636594"/>
              <a:gd name="connsiteY5" fmla="*/ 6591417 h 6591417"/>
              <a:gd name="connsiteX6" fmla="*/ 2302482 w 8636594"/>
              <a:gd name="connsiteY6" fmla="*/ 6580040 h 6591417"/>
              <a:gd name="connsiteX7" fmla="*/ 2359737 w 8636594"/>
              <a:gd name="connsiteY7" fmla="*/ 6568233 h 6591417"/>
              <a:gd name="connsiteX8" fmla="*/ 2416341 w 8636594"/>
              <a:gd name="connsiteY8" fmla="*/ 6555999 h 6591417"/>
              <a:gd name="connsiteX9" fmla="*/ 2472299 w 8636594"/>
              <a:gd name="connsiteY9" fmla="*/ 6543344 h 6591417"/>
              <a:gd name="connsiteX10" fmla="*/ 2527618 w 8636594"/>
              <a:gd name="connsiteY10" fmla="*/ 6530269 h 6591417"/>
              <a:gd name="connsiteX11" fmla="*/ 2582304 w 8636594"/>
              <a:gd name="connsiteY11" fmla="*/ 6516778 h 6591417"/>
              <a:gd name="connsiteX12" fmla="*/ 2636364 w 8636594"/>
              <a:gd name="connsiteY12" fmla="*/ 6502876 h 6591417"/>
              <a:gd name="connsiteX13" fmla="*/ 2689804 w 8636594"/>
              <a:gd name="connsiteY13" fmla="*/ 6488565 h 6591417"/>
              <a:gd name="connsiteX14" fmla="*/ 2742629 w 8636594"/>
              <a:gd name="connsiteY14" fmla="*/ 6473849 h 6591417"/>
              <a:gd name="connsiteX15" fmla="*/ 2794848 w 8636594"/>
              <a:gd name="connsiteY15" fmla="*/ 6458731 h 6591417"/>
              <a:gd name="connsiteX16" fmla="*/ 2846466 w 8636594"/>
              <a:gd name="connsiteY16" fmla="*/ 6443216 h 6591417"/>
              <a:gd name="connsiteX17" fmla="*/ 2897488 w 8636594"/>
              <a:gd name="connsiteY17" fmla="*/ 6427305 h 6591417"/>
              <a:gd name="connsiteX18" fmla="*/ 2947923 w 8636594"/>
              <a:gd name="connsiteY18" fmla="*/ 6411004 h 6591417"/>
              <a:gd name="connsiteX19" fmla="*/ 2997775 w 8636594"/>
              <a:gd name="connsiteY19" fmla="*/ 6394316 h 6591417"/>
              <a:gd name="connsiteX20" fmla="*/ 3047052 w 8636594"/>
              <a:gd name="connsiteY20" fmla="*/ 6377243 h 6591417"/>
              <a:gd name="connsiteX21" fmla="*/ 3095759 w 8636594"/>
              <a:gd name="connsiteY21" fmla="*/ 6359791 h 6591417"/>
              <a:gd name="connsiteX22" fmla="*/ 3143903 w 8636594"/>
              <a:gd name="connsiteY22" fmla="*/ 6341961 h 6591417"/>
              <a:gd name="connsiteX23" fmla="*/ 3191491 w 8636594"/>
              <a:gd name="connsiteY23" fmla="*/ 6323757 h 6591417"/>
              <a:gd name="connsiteX24" fmla="*/ 3238528 w 8636594"/>
              <a:gd name="connsiteY24" fmla="*/ 6305184 h 6591417"/>
              <a:gd name="connsiteX25" fmla="*/ 3285021 w 8636594"/>
              <a:gd name="connsiteY25" fmla="*/ 6286245 h 6591417"/>
              <a:gd name="connsiteX26" fmla="*/ 3330977 w 8636594"/>
              <a:gd name="connsiteY26" fmla="*/ 6266942 h 6591417"/>
              <a:gd name="connsiteX27" fmla="*/ 3376401 w 8636594"/>
              <a:gd name="connsiteY27" fmla="*/ 6247281 h 6591417"/>
              <a:gd name="connsiteX28" fmla="*/ 3421300 w 8636594"/>
              <a:gd name="connsiteY28" fmla="*/ 6227263 h 6591417"/>
              <a:gd name="connsiteX29" fmla="*/ 3465680 w 8636594"/>
              <a:gd name="connsiteY29" fmla="*/ 6206893 h 6591417"/>
              <a:gd name="connsiteX30" fmla="*/ 3509548 w 8636594"/>
              <a:gd name="connsiteY30" fmla="*/ 6186174 h 6591417"/>
              <a:gd name="connsiteX31" fmla="*/ 3552910 w 8636594"/>
              <a:gd name="connsiteY31" fmla="*/ 6165110 h 6591417"/>
              <a:gd name="connsiteX32" fmla="*/ 3595773 w 8636594"/>
              <a:gd name="connsiteY32" fmla="*/ 6143704 h 6591417"/>
              <a:gd name="connsiteX33" fmla="*/ 3638142 w 8636594"/>
              <a:gd name="connsiteY33" fmla="*/ 6121960 h 6591417"/>
              <a:gd name="connsiteX34" fmla="*/ 3680024 w 8636594"/>
              <a:gd name="connsiteY34" fmla="*/ 6099881 h 6591417"/>
              <a:gd name="connsiteX35" fmla="*/ 3721426 w 8636594"/>
              <a:gd name="connsiteY35" fmla="*/ 6077471 h 6591417"/>
              <a:gd name="connsiteX36" fmla="*/ 3762353 w 8636594"/>
              <a:gd name="connsiteY36" fmla="*/ 6054733 h 6591417"/>
              <a:gd name="connsiteX37" fmla="*/ 3802812 w 8636594"/>
              <a:gd name="connsiteY37" fmla="*/ 6031671 h 6591417"/>
              <a:gd name="connsiteX38" fmla="*/ 3842810 w 8636594"/>
              <a:gd name="connsiteY38" fmla="*/ 6008288 h 6591417"/>
              <a:gd name="connsiteX39" fmla="*/ 3882352 w 8636594"/>
              <a:gd name="connsiteY39" fmla="*/ 5984588 h 6591417"/>
              <a:gd name="connsiteX40" fmla="*/ 3921445 w 8636594"/>
              <a:gd name="connsiteY40" fmla="*/ 5960574 h 6591417"/>
              <a:gd name="connsiteX41" fmla="*/ 3960096 w 8636594"/>
              <a:gd name="connsiteY41" fmla="*/ 5936250 h 6591417"/>
              <a:gd name="connsiteX42" fmla="*/ 3998311 w 8636594"/>
              <a:gd name="connsiteY42" fmla="*/ 5911619 h 6591417"/>
              <a:gd name="connsiteX43" fmla="*/ 4036095 w 8636594"/>
              <a:gd name="connsiteY43" fmla="*/ 5886685 h 6591417"/>
              <a:gd name="connsiteX44" fmla="*/ 4073456 w 8636594"/>
              <a:gd name="connsiteY44" fmla="*/ 5861452 h 6591417"/>
              <a:gd name="connsiteX45" fmla="*/ 4110400 w 8636594"/>
              <a:gd name="connsiteY45" fmla="*/ 5835922 h 6591417"/>
              <a:gd name="connsiteX46" fmla="*/ 4146933 w 8636594"/>
              <a:gd name="connsiteY46" fmla="*/ 5810100 h 6591417"/>
              <a:gd name="connsiteX47" fmla="*/ 4183061 w 8636594"/>
              <a:gd name="connsiteY47" fmla="*/ 5783988 h 6591417"/>
              <a:gd name="connsiteX48" fmla="*/ 4218791 w 8636594"/>
              <a:gd name="connsiteY48" fmla="*/ 5757591 h 6591417"/>
              <a:gd name="connsiteX49" fmla="*/ 4254129 w 8636594"/>
              <a:gd name="connsiteY49" fmla="*/ 5730912 h 6591417"/>
              <a:gd name="connsiteX50" fmla="*/ 4289081 w 8636594"/>
              <a:gd name="connsiteY50" fmla="*/ 5703955 h 6591417"/>
              <a:gd name="connsiteX51" fmla="*/ 4323654 w 8636594"/>
              <a:gd name="connsiteY51" fmla="*/ 5676722 h 6591417"/>
              <a:gd name="connsiteX52" fmla="*/ 4357854 w 8636594"/>
              <a:gd name="connsiteY52" fmla="*/ 5649218 h 6591417"/>
              <a:gd name="connsiteX53" fmla="*/ 4391688 w 8636594"/>
              <a:gd name="connsiteY53" fmla="*/ 5621446 h 6591417"/>
              <a:gd name="connsiteX54" fmla="*/ 4425162 w 8636594"/>
              <a:gd name="connsiteY54" fmla="*/ 5593409 h 6591417"/>
              <a:gd name="connsiteX55" fmla="*/ 4458281 w 8636594"/>
              <a:gd name="connsiteY55" fmla="*/ 5565111 h 6591417"/>
              <a:gd name="connsiteX56" fmla="*/ 4491053 w 8636594"/>
              <a:gd name="connsiteY56" fmla="*/ 5536556 h 6591417"/>
              <a:gd name="connsiteX57" fmla="*/ 4523484 w 8636594"/>
              <a:gd name="connsiteY57" fmla="*/ 5507747 h 6591417"/>
              <a:gd name="connsiteX58" fmla="*/ 4555580 w 8636594"/>
              <a:gd name="connsiteY58" fmla="*/ 5478687 h 6591417"/>
              <a:gd name="connsiteX59" fmla="*/ 4587347 w 8636594"/>
              <a:gd name="connsiteY59" fmla="*/ 5449380 h 6591417"/>
              <a:gd name="connsiteX60" fmla="*/ 4618793 w 8636594"/>
              <a:gd name="connsiteY60" fmla="*/ 5419830 h 6591417"/>
              <a:gd name="connsiteX61" fmla="*/ 4649922 w 8636594"/>
              <a:gd name="connsiteY61" fmla="*/ 5390040 h 6591417"/>
              <a:gd name="connsiteX62" fmla="*/ 4680742 w 8636594"/>
              <a:gd name="connsiteY62" fmla="*/ 5360014 h 6591417"/>
              <a:gd name="connsiteX63" fmla="*/ 4711259 w 8636594"/>
              <a:gd name="connsiteY63" fmla="*/ 5329755 h 6591417"/>
              <a:gd name="connsiteX64" fmla="*/ 4741478 w 8636594"/>
              <a:gd name="connsiteY64" fmla="*/ 5299266 h 6591417"/>
              <a:gd name="connsiteX65" fmla="*/ 4771408 w 8636594"/>
              <a:gd name="connsiteY65" fmla="*/ 5268551 h 6591417"/>
              <a:gd name="connsiteX66" fmla="*/ 4801053 w 8636594"/>
              <a:gd name="connsiteY66" fmla="*/ 5237614 h 6591417"/>
              <a:gd name="connsiteX67" fmla="*/ 4830420 w 8636594"/>
              <a:gd name="connsiteY67" fmla="*/ 5206458 h 6591417"/>
              <a:gd name="connsiteX68" fmla="*/ 4859516 w 8636594"/>
              <a:gd name="connsiteY68" fmla="*/ 5175087 h 6591417"/>
              <a:gd name="connsiteX69" fmla="*/ 4888347 w 8636594"/>
              <a:gd name="connsiteY69" fmla="*/ 5143504 h 6591417"/>
              <a:gd name="connsiteX70" fmla="*/ 4916919 w 8636594"/>
              <a:gd name="connsiteY70" fmla="*/ 5111713 h 6591417"/>
              <a:gd name="connsiteX71" fmla="*/ 4945238 w 8636594"/>
              <a:gd name="connsiteY71" fmla="*/ 5079717 h 6591417"/>
              <a:gd name="connsiteX72" fmla="*/ 4973311 w 8636594"/>
              <a:gd name="connsiteY72" fmla="*/ 5047519 h 6591417"/>
              <a:gd name="connsiteX73" fmla="*/ 5001145 w 8636594"/>
              <a:gd name="connsiteY73" fmla="*/ 5015124 h 6591417"/>
              <a:gd name="connsiteX74" fmla="*/ 5028745 w 8636594"/>
              <a:gd name="connsiteY74" fmla="*/ 4982535 h 6591417"/>
              <a:gd name="connsiteX75" fmla="*/ 5056117 w 8636594"/>
              <a:gd name="connsiteY75" fmla="*/ 4949755 h 6591417"/>
              <a:gd name="connsiteX76" fmla="*/ 5083269 w 8636594"/>
              <a:gd name="connsiteY76" fmla="*/ 4916787 h 6591417"/>
              <a:gd name="connsiteX77" fmla="*/ 5110207 w 8636594"/>
              <a:gd name="connsiteY77" fmla="*/ 4883636 h 6591417"/>
              <a:gd name="connsiteX78" fmla="*/ 5136937 w 8636594"/>
              <a:gd name="connsiteY78" fmla="*/ 4850305 h 6591417"/>
              <a:gd name="connsiteX79" fmla="*/ 5163464 w 8636594"/>
              <a:gd name="connsiteY79" fmla="*/ 4816797 h 6591417"/>
              <a:gd name="connsiteX80" fmla="*/ 5215940 w 8636594"/>
              <a:gd name="connsiteY80" fmla="*/ 4749265 h 6591417"/>
              <a:gd name="connsiteX81" fmla="*/ 5267684 w 8636594"/>
              <a:gd name="connsiteY81" fmla="*/ 4681068 h 6591417"/>
              <a:gd name="connsiteX82" fmla="*/ 5318748 w 8636594"/>
              <a:gd name="connsiteY82" fmla="*/ 4612234 h 6591417"/>
              <a:gd name="connsiteX83" fmla="*/ 5369182 w 8636594"/>
              <a:gd name="connsiteY83" fmla="*/ 4542793 h 6591417"/>
              <a:gd name="connsiteX84" fmla="*/ 5419038 w 8636594"/>
              <a:gd name="connsiteY84" fmla="*/ 4472771 h 6591417"/>
              <a:gd name="connsiteX85" fmla="*/ 5468365 w 8636594"/>
              <a:gd name="connsiteY85" fmla="*/ 4402196 h 6591417"/>
              <a:gd name="connsiteX86" fmla="*/ 5517215 w 8636594"/>
              <a:gd name="connsiteY86" fmla="*/ 4331098 h 6591417"/>
              <a:gd name="connsiteX87" fmla="*/ 5565637 w 8636594"/>
              <a:gd name="connsiteY87" fmla="*/ 4259503 h 6591417"/>
              <a:gd name="connsiteX88" fmla="*/ 5613684 w 8636594"/>
              <a:gd name="connsiteY88" fmla="*/ 4187441 h 6591417"/>
              <a:gd name="connsiteX89" fmla="*/ 5685160 w 8636594"/>
              <a:gd name="connsiteY89" fmla="*/ 4078531 h 6591417"/>
              <a:gd name="connsiteX90" fmla="*/ 5756074 w 8636594"/>
              <a:gd name="connsiteY90" fmla="*/ 3968727 h 6591417"/>
              <a:gd name="connsiteX91" fmla="*/ 5873483 w 8636594"/>
              <a:gd name="connsiteY91" fmla="*/ 3783989 h 6591417"/>
              <a:gd name="connsiteX92" fmla="*/ 6203209 w 8636594"/>
              <a:gd name="connsiteY92" fmla="*/ 3258640 h 6591417"/>
              <a:gd name="connsiteX93" fmla="*/ 6299430 w 8636594"/>
              <a:gd name="connsiteY93" fmla="*/ 3107321 h 6591417"/>
              <a:gd name="connsiteX94" fmla="*/ 6372650 w 8636594"/>
              <a:gd name="connsiteY94" fmla="*/ 2993735 h 6591417"/>
              <a:gd name="connsiteX95" fmla="*/ 6453197 w 8636594"/>
              <a:gd name="connsiteY95" fmla="*/ 2869788 h 6591417"/>
              <a:gd name="connsiteX96" fmla="*/ 6564167 w 8636594"/>
              <a:gd name="connsiteY96" fmla="*/ 2696807 h 6591417"/>
              <a:gd name="connsiteX97" fmla="*/ 6976233 w 8636594"/>
              <a:gd name="connsiteY97" fmla="*/ 2045274 h 6591417"/>
              <a:gd name="connsiteX98" fmla="*/ 7086755 w 8636594"/>
              <a:gd name="connsiteY98" fmla="*/ 1872743 h 6591417"/>
              <a:gd name="connsiteX99" fmla="*/ 7170279 w 8636594"/>
              <a:gd name="connsiteY99" fmla="*/ 1744202 h 6591417"/>
              <a:gd name="connsiteX100" fmla="*/ 7226351 w 8636594"/>
              <a:gd name="connsiteY100" fmla="*/ 1659017 h 6591417"/>
              <a:gd name="connsiteX101" fmla="*/ 7282789 w 8636594"/>
              <a:gd name="connsiteY101" fmla="*/ 1574303 h 6591417"/>
              <a:gd name="connsiteX102" fmla="*/ 7339643 w 8636594"/>
              <a:gd name="connsiteY102" fmla="*/ 1490113 h 6591417"/>
              <a:gd name="connsiteX103" fmla="*/ 7396957 w 8636594"/>
              <a:gd name="connsiteY103" fmla="*/ 1406503 h 6591417"/>
              <a:gd name="connsiteX104" fmla="*/ 7454781 w 8636594"/>
              <a:gd name="connsiteY104" fmla="*/ 1323526 h 6591417"/>
              <a:gd name="connsiteX105" fmla="*/ 7513161 w 8636594"/>
              <a:gd name="connsiteY105" fmla="*/ 1241237 h 6591417"/>
              <a:gd name="connsiteX106" fmla="*/ 7572144 w 8636594"/>
              <a:gd name="connsiteY106" fmla="*/ 1159689 h 6591417"/>
              <a:gd name="connsiteX107" fmla="*/ 7601877 w 8636594"/>
              <a:gd name="connsiteY107" fmla="*/ 1119210 h 6591417"/>
              <a:gd name="connsiteX108" fmla="*/ 7631779 w 8636594"/>
              <a:gd name="connsiteY108" fmla="*/ 1078937 h 6591417"/>
              <a:gd name="connsiteX109" fmla="*/ 7661855 w 8636594"/>
              <a:gd name="connsiteY109" fmla="*/ 1038876 h 6591417"/>
              <a:gd name="connsiteX110" fmla="*/ 7692111 w 8636594"/>
              <a:gd name="connsiteY110" fmla="*/ 999035 h 6591417"/>
              <a:gd name="connsiteX111" fmla="*/ 7722554 w 8636594"/>
              <a:gd name="connsiteY111" fmla="*/ 959419 h 6591417"/>
              <a:gd name="connsiteX112" fmla="*/ 7753190 w 8636594"/>
              <a:gd name="connsiteY112" fmla="*/ 920037 h 6591417"/>
              <a:gd name="connsiteX113" fmla="*/ 7784023 w 8636594"/>
              <a:gd name="connsiteY113" fmla="*/ 880894 h 6591417"/>
              <a:gd name="connsiteX114" fmla="*/ 7815061 w 8636594"/>
              <a:gd name="connsiteY114" fmla="*/ 841997 h 6591417"/>
              <a:gd name="connsiteX115" fmla="*/ 7846308 w 8636594"/>
              <a:gd name="connsiteY115" fmla="*/ 803354 h 6591417"/>
              <a:gd name="connsiteX116" fmla="*/ 7877772 w 8636594"/>
              <a:gd name="connsiteY116" fmla="*/ 764970 h 6591417"/>
              <a:gd name="connsiteX117" fmla="*/ 7909458 w 8636594"/>
              <a:gd name="connsiteY117" fmla="*/ 726853 h 6591417"/>
              <a:gd name="connsiteX118" fmla="*/ 7941371 w 8636594"/>
              <a:gd name="connsiteY118" fmla="*/ 689010 h 6591417"/>
              <a:gd name="connsiteX119" fmla="*/ 7973518 w 8636594"/>
              <a:gd name="connsiteY119" fmla="*/ 651447 h 6591417"/>
              <a:gd name="connsiteX120" fmla="*/ 8005905 w 8636594"/>
              <a:gd name="connsiteY120" fmla="*/ 614171 h 6591417"/>
              <a:gd name="connsiteX121" fmla="*/ 8038538 w 8636594"/>
              <a:gd name="connsiteY121" fmla="*/ 577189 h 6591417"/>
              <a:gd name="connsiteX122" fmla="*/ 8071421 w 8636594"/>
              <a:gd name="connsiteY122" fmla="*/ 540507 h 6591417"/>
              <a:gd name="connsiteX123" fmla="*/ 8104563 w 8636594"/>
              <a:gd name="connsiteY123" fmla="*/ 504132 h 6591417"/>
              <a:gd name="connsiteX124" fmla="*/ 8137967 w 8636594"/>
              <a:gd name="connsiteY124" fmla="*/ 468072 h 6591417"/>
              <a:gd name="connsiteX125" fmla="*/ 8171641 w 8636594"/>
              <a:gd name="connsiteY125" fmla="*/ 432332 h 6591417"/>
              <a:gd name="connsiteX126" fmla="*/ 8205590 w 8636594"/>
              <a:gd name="connsiteY126" fmla="*/ 396920 h 6591417"/>
              <a:gd name="connsiteX127" fmla="*/ 8239820 w 8636594"/>
              <a:gd name="connsiteY127" fmla="*/ 361843 h 6591417"/>
              <a:gd name="connsiteX128" fmla="*/ 8274337 w 8636594"/>
              <a:gd name="connsiteY128" fmla="*/ 327107 h 6591417"/>
              <a:gd name="connsiteX129" fmla="*/ 8309147 w 8636594"/>
              <a:gd name="connsiteY129" fmla="*/ 292718 h 6591417"/>
              <a:gd name="connsiteX130" fmla="*/ 8344256 w 8636594"/>
              <a:gd name="connsiteY130" fmla="*/ 258685 h 6591417"/>
              <a:gd name="connsiteX131" fmla="*/ 8379669 w 8636594"/>
              <a:gd name="connsiteY131" fmla="*/ 225013 h 6591417"/>
              <a:gd name="connsiteX132" fmla="*/ 8415394 w 8636594"/>
              <a:gd name="connsiteY132" fmla="*/ 191709 h 6591417"/>
              <a:gd name="connsiteX133" fmla="*/ 8451434 w 8636594"/>
              <a:gd name="connsiteY133" fmla="*/ 158780 h 6591417"/>
              <a:gd name="connsiteX134" fmla="*/ 8487798 w 8636594"/>
              <a:gd name="connsiteY134" fmla="*/ 126233 h 6591417"/>
              <a:gd name="connsiteX135" fmla="*/ 8524489 w 8636594"/>
              <a:gd name="connsiteY135" fmla="*/ 94075 h 6591417"/>
              <a:gd name="connsiteX136" fmla="*/ 8561515 w 8636594"/>
              <a:gd name="connsiteY136" fmla="*/ 62312 h 6591417"/>
              <a:gd name="connsiteX137" fmla="*/ 8598881 w 8636594"/>
              <a:gd name="connsiteY137" fmla="*/ 30951 h 6591417"/>
              <a:gd name="connsiteX138" fmla="*/ 8636594 w 8636594"/>
              <a:gd name="connsiteY138" fmla="*/ 0 h 6591417"/>
              <a:gd name="connsiteX0" fmla="*/ 8636594 w 8636594"/>
              <a:gd name="connsiteY0" fmla="*/ 0 h 6580040"/>
              <a:gd name="connsiteX1" fmla="*/ 5293 w 8636594"/>
              <a:gd name="connsiteY1" fmla="*/ 0 h 6580040"/>
              <a:gd name="connsiteX2" fmla="*/ 0 w 8636594"/>
              <a:gd name="connsiteY2" fmla="*/ 5587843 h 6580040"/>
              <a:gd name="connsiteX3" fmla="*/ 1594033 w 8636594"/>
              <a:gd name="connsiteY3" fmla="*/ 5600057 h 6580040"/>
              <a:gd name="connsiteX4" fmla="*/ 1686068 w 8636594"/>
              <a:gd name="connsiteY4" fmla="*/ 5599745 h 6580040"/>
              <a:gd name="connsiteX5" fmla="*/ 2302482 w 8636594"/>
              <a:gd name="connsiteY5" fmla="*/ 6580040 h 6580040"/>
              <a:gd name="connsiteX6" fmla="*/ 2359737 w 8636594"/>
              <a:gd name="connsiteY6" fmla="*/ 6568233 h 6580040"/>
              <a:gd name="connsiteX7" fmla="*/ 2416341 w 8636594"/>
              <a:gd name="connsiteY7" fmla="*/ 6555999 h 6580040"/>
              <a:gd name="connsiteX8" fmla="*/ 2472299 w 8636594"/>
              <a:gd name="connsiteY8" fmla="*/ 6543344 h 6580040"/>
              <a:gd name="connsiteX9" fmla="*/ 2527618 w 8636594"/>
              <a:gd name="connsiteY9" fmla="*/ 6530269 h 6580040"/>
              <a:gd name="connsiteX10" fmla="*/ 2582304 w 8636594"/>
              <a:gd name="connsiteY10" fmla="*/ 6516778 h 6580040"/>
              <a:gd name="connsiteX11" fmla="*/ 2636364 w 8636594"/>
              <a:gd name="connsiteY11" fmla="*/ 6502876 h 6580040"/>
              <a:gd name="connsiteX12" fmla="*/ 2689804 w 8636594"/>
              <a:gd name="connsiteY12" fmla="*/ 6488565 h 6580040"/>
              <a:gd name="connsiteX13" fmla="*/ 2742629 w 8636594"/>
              <a:gd name="connsiteY13" fmla="*/ 6473849 h 6580040"/>
              <a:gd name="connsiteX14" fmla="*/ 2794848 w 8636594"/>
              <a:gd name="connsiteY14" fmla="*/ 6458731 h 6580040"/>
              <a:gd name="connsiteX15" fmla="*/ 2846466 w 8636594"/>
              <a:gd name="connsiteY15" fmla="*/ 6443216 h 6580040"/>
              <a:gd name="connsiteX16" fmla="*/ 2897488 w 8636594"/>
              <a:gd name="connsiteY16" fmla="*/ 6427305 h 6580040"/>
              <a:gd name="connsiteX17" fmla="*/ 2947923 w 8636594"/>
              <a:gd name="connsiteY17" fmla="*/ 6411004 h 6580040"/>
              <a:gd name="connsiteX18" fmla="*/ 2997775 w 8636594"/>
              <a:gd name="connsiteY18" fmla="*/ 6394316 h 6580040"/>
              <a:gd name="connsiteX19" fmla="*/ 3047052 w 8636594"/>
              <a:gd name="connsiteY19" fmla="*/ 6377243 h 6580040"/>
              <a:gd name="connsiteX20" fmla="*/ 3095759 w 8636594"/>
              <a:gd name="connsiteY20" fmla="*/ 6359791 h 6580040"/>
              <a:gd name="connsiteX21" fmla="*/ 3143903 w 8636594"/>
              <a:gd name="connsiteY21" fmla="*/ 6341961 h 6580040"/>
              <a:gd name="connsiteX22" fmla="*/ 3191491 w 8636594"/>
              <a:gd name="connsiteY22" fmla="*/ 6323757 h 6580040"/>
              <a:gd name="connsiteX23" fmla="*/ 3238528 w 8636594"/>
              <a:gd name="connsiteY23" fmla="*/ 6305184 h 6580040"/>
              <a:gd name="connsiteX24" fmla="*/ 3285021 w 8636594"/>
              <a:gd name="connsiteY24" fmla="*/ 6286245 h 6580040"/>
              <a:gd name="connsiteX25" fmla="*/ 3330977 w 8636594"/>
              <a:gd name="connsiteY25" fmla="*/ 6266942 h 6580040"/>
              <a:gd name="connsiteX26" fmla="*/ 3376401 w 8636594"/>
              <a:gd name="connsiteY26" fmla="*/ 6247281 h 6580040"/>
              <a:gd name="connsiteX27" fmla="*/ 3421300 w 8636594"/>
              <a:gd name="connsiteY27" fmla="*/ 6227263 h 6580040"/>
              <a:gd name="connsiteX28" fmla="*/ 3465680 w 8636594"/>
              <a:gd name="connsiteY28" fmla="*/ 6206893 h 6580040"/>
              <a:gd name="connsiteX29" fmla="*/ 3509548 w 8636594"/>
              <a:gd name="connsiteY29" fmla="*/ 6186174 h 6580040"/>
              <a:gd name="connsiteX30" fmla="*/ 3552910 w 8636594"/>
              <a:gd name="connsiteY30" fmla="*/ 6165110 h 6580040"/>
              <a:gd name="connsiteX31" fmla="*/ 3595773 w 8636594"/>
              <a:gd name="connsiteY31" fmla="*/ 6143704 h 6580040"/>
              <a:gd name="connsiteX32" fmla="*/ 3638142 w 8636594"/>
              <a:gd name="connsiteY32" fmla="*/ 6121960 h 6580040"/>
              <a:gd name="connsiteX33" fmla="*/ 3680024 w 8636594"/>
              <a:gd name="connsiteY33" fmla="*/ 6099881 h 6580040"/>
              <a:gd name="connsiteX34" fmla="*/ 3721426 w 8636594"/>
              <a:gd name="connsiteY34" fmla="*/ 6077471 h 6580040"/>
              <a:gd name="connsiteX35" fmla="*/ 3762353 w 8636594"/>
              <a:gd name="connsiteY35" fmla="*/ 6054733 h 6580040"/>
              <a:gd name="connsiteX36" fmla="*/ 3802812 w 8636594"/>
              <a:gd name="connsiteY36" fmla="*/ 6031671 h 6580040"/>
              <a:gd name="connsiteX37" fmla="*/ 3842810 w 8636594"/>
              <a:gd name="connsiteY37" fmla="*/ 6008288 h 6580040"/>
              <a:gd name="connsiteX38" fmla="*/ 3882352 w 8636594"/>
              <a:gd name="connsiteY38" fmla="*/ 5984588 h 6580040"/>
              <a:gd name="connsiteX39" fmla="*/ 3921445 w 8636594"/>
              <a:gd name="connsiteY39" fmla="*/ 5960574 h 6580040"/>
              <a:gd name="connsiteX40" fmla="*/ 3960096 w 8636594"/>
              <a:gd name="connsiteY40" fmla="*/ 5936250 h 6580040"/>
              <a:gd name="connsiteX41" fmla="*/ 3998311 w 8636594"/>
              <a:gd name="connsiteY41" fmla="*/ 5911619 h 6580040"/>
              <a:gd name="connsiteX42" fmla="*/ 4036095 w 8636594"/>
              <a:gd name="connsiteY42" fmla="*/ 5886685 h 6580040"/>
              <a:gd name="connsiteX43" fmla="*/ 4073456 w 8636594"/>
              <a:gd name="connsiteY43" fmla="*/ 5861452 h 6580040"/>
              <a:gd name="connsiteX44" fmla="*/ 4110400 w 8636594"/>
              <a:gd name="connsiteY44" fmla="*/ 5835922 h 6580040"/>
              <a:gd name="connsiteX45" fmla="*/ 4146933 w 8636594"/>
              <a:gd name="connsiteY45" fmla="*/ 5810100 h 6580040"/>
              <a:gd name="connsiteX46" fmla="*/ 4183061 w 8636594"/>
              <a:gd name="connsiteY46" fmla="*/ 5783988 h 6580040"/>
              <a:gd name="connsiteX47" fmla="*/ 4218791 w 8636594"/>
              <a:gd name="connsiteY47" fmla="*/ 5757591 h 6580040"/>
              <a:gd name="connsiteX48" fmla="*/ 4254129 w 8636594"/>
              <a:gd name="connsiteY48" fmla="*/ 5730912 h 6580040"/>
              <a:gd name="connsiteX49" fmla="*/ 4289081 w 8636594"/>
              <a:gd name="connsiteY49" fmla="*/ 5703955 h 6580040"/>
              <a:gd name="connsiteX50" fmla="*/ 4323654 w 8636594"/>
              <a:gd name="connsiteY50" fmla="*/ 5676722 h 6580040"/>
              <a:gd name="connsiteX51" fmla="*/ 4357854 w 8636594"/>
              <a:gd name="connsiteY51" fmla="*/ 5649218 h 6580040"/>
              <a:gd name="connsiteX52" fmla="*/ 4391688 w 8636594"/>
              <a:gd name="connsiteY52" fmla="*/ 5621446 h 6580040"/>
              <a:gd name="connsiteX53" fmla="*/ 4425162 w 8636594"/>
              <a:gd name="connsiteY53" fmla="*/ 5593409 h 6580040"/>
              <a:gd name="connsiteX54" fmla="*/ 4458281 w 8636594"/>
              <a:gd name="connsiteY54" fmla="*/ 5565111 h 6580040"/>
              <a:gd name="connsiteX55" fmla="*/ 4491053 w 8636594"/>
              <a:gd name="connsiteY55" fmla="*/ 5536556 h 6580040"/>
              <a:gd name="connsiteX56" fmla="*/ 4523484 w 8636594"/>
              <a:gd name="connsiteY56" fmla="*/ 5507747 h 6580040"/>
              <a:gd name="connsiteX57" fmla="*/ 4555580 w 8636594"/>
              <a:gd name="connsiteY57" fmla="*/ 5478687 h 6580040"/>
              <a:gd name="connsiteX58" fmla="*/ 4587347 w 8636594"/>
              <a:gd name="connsiteY58" fmla="*/ 5449380 h 6580040"/>
              <a:gd name="connsiteX59" fmla="*/ 4618793 w 8636594"/>
              <a:gd name="connsiteY59" fmla="*/ 5419830 h 6580040"/>
              <a:gd name="connsiteX60" fmla="*/ 4649922 w 8636594"/>
              <a:gd name="connsiteY60" fmla="*/ 5390040 h 6580040"/>
              <a:gd name="connsiteX61" fmla="*/ 4680742 w 8636594"/>
              <a:gd name="connsiteY61" fmla="*/ 5360014 h 6580040"/>
              <a:gd name="connsiteX62" fmla="*/ 4711259 w 8636594"/>
              <a:gd name="connsiteY62" fmla="*/ 5329755 h 6580040"/>
              <a:gd name="connsiteX63" fmla="*/ 4741478 w 8636594"/>
              <a:gd name="connsiteY63" fmla="*/ 5299266 h 6580040"/>
              <a:gd name="connsiteX64" fmla="*/ 4771408 w 8636594"/>
              <a:gd name="connsiteY64" fmla="*/ 5268551 h 6580040"/>
              <a:gd name="connsiteX65" fmla="*/ 4801053 w 8636594"/>
              <a:gd name="connsiteY65" fmla="*/ 5237614 h 6580040"/>
              <a:gd name="connsiteX66" fmla="*/ 4830420 w 8636594"/>
              <a:gd name="connsiteY66" fmla="*/ 5206458 h 6580040"/>
              <a:gd name="connsiteX67" fmla="*/ 4859516 w 8636594"/>
              <a:gd name="connsiteY67" fmla="*/ 5175087 h 6580040"/>
              <a:gd name="connsiteX68" fmla="*/ 4888347 w 8636594"/>
              <a:gd name="connsiteY68" fmla="*/ 5143504 h 6580040"/>
              <a:gd name="connsiteX69" fmla="*/ 4916919 w 8636594"/>
              <a:gd name="connsiteY69" fmla="*/ 5111713 h 6580040"/>
              <a:gd name="connsiteX70" fmla="*/ 4945238 w 8636594"/>
              <a:gd name="connsiteY70" fmla="*/ 5079717 h 6580040"/>
              <a:gd name="connsiteX71" fmla="*/ 4973311 w 8636594"/>
              <a:gd name="connsiteY71" fmla="*/ 5047519 h 6580040"/>
              <a:gd name="connsiteX72" fmla="*/ 5001145 w 8636594"/>
              <a:gd name="connsiteY72" fmla="*/ 5015124 h 6580040"/>
              <a:gd name="connsiteX73" fmla="*/ 5028745 w 8636594"/>
              <a:gd name="connsiteY73" fmla="*/ 4982535 h 6580040"/>
              <a:gd name="connsiteX74" fmla="*/ 5056117 w 8636594"/>
              <a:gd name="connsiteY74" fmla="*/ 4949755 h 6580040"/>
              <a:gd name="connsiteX75" fmla="*/ 5083269 w 8636594"/>
              <a:gd name="connsiteY75" fmla="*/ 4916787 h 6580040"/>
              <a:gd name="connsiteX76" fmla="*/ 5110207 w 8636594"/>
              <a:gd name="connsiteY76" fmla="*/ 4883636 h 6580040"/>
              <a:gd name="connsiteX77" fmla="*/ 5136937 w 8636594"/>
              <a:gd name="connsiteY77" fmla="*/ 4850305 h 6580040"/>
              <a:gd name="connsiteX78" fmla="*/ 5163464 w 8636594"/>
              <a:gd name="connsiteY78" fmla="*/ 4816797 h 6580040"/>
              <a:gd name="connsiteX79" fmla="*/ 5215940 w 8636594"/>
              <a:gd name="connsiteY79" fmla="*/ 4749265 h 6580040"/>
              <a:gd name="connsiteX80" fmla="*/ 5267684 w 8636594"/>
              <a:gd name="connsiteY80" fmla="*/ 4681068 h 6580040"/>
              <a:gd name="connsiteX81" fmla="*/ 5318748 w 8636594"/>
              <a:gd name="connsiteY81" fmla="*/ 4612234 h 6580040"/>
              <a:gd name="connsiteX82" fmla="*/ 5369182 w 8636594"/>
              <a:gd name="connsiteY82" fmla="*/ 4542793 h 6580040"/>
              <a:gd name="connsiteX83" fmla="*/ 5419038 w 8636594"/>
              <a:gd name="connsiteY83" fmla="*/ 4472771 h 6580040"/>
              <a:gd name="connsiteX84" fmla="*/ 5468365 w 8636594"/>
              <a:gd name="connsiteY84" fmla="*/ 4402196 h 6580040"/>
              <a:gd name="connsiteX85" fmla="*/ 5517215 w 8636594"/>
              <a:gd name="connsiteY85" fmla="*/ 4331098 h 6580040"/>
              <a:gd name="connsiteX86" fmla="*/ 5565637 w 8636594"/>
              <a:gd name="connsiteY86" fmla="*/ 4259503 h 6580040"/>
              <a:gd name="connsiteX87" fmla="*/ 5613684 w 8636594"/>
              <a:gd name="connsiteY87" fmla="*/ 4187441 h 6580040"/>
              <a:gd name="connsiteX88" fmla="*/ 5685160 w 8636594"/>
              <a:gd name="connsiteY88" fmla="*/ 4078531 h 6580040"/>
              <a:gd name="connsiteX89" fmla="*/ 5756074 w 8636594"/>
              <a:gd name="connsiteY89" fmla="*/ 3968727 h 6580040"/>
              <a:gd name="connsiteX90" fmla="*/ 5873483 w 8636594"/>
              <a:gd name="connsiteY90" fmla="*/ 3783989 h 6580040"/>
              <a:gd name="connsiteX91" fmla="*/ 6203209 w 8636594"/>
              <a:gd name="connsiteY91" fmla="*/ 3258640 h 6580040"/>
              <a:gd name="connsiteX92" fmla="*/ 6299430 w 8636594"/>
              <a:gd name="connsiteY92" fmla="*/ 3107321 h 6580040"/>
              <a:gd name="connsiteX93" fmla="*/ 6372650 w 8636594"/>
              <a:gd name="connsiteY93" fmla="*/ 2993735 h 6580040"/>
              <a:gd name="connsiteX94" fmla="*/ 6453197 w 8636594"/>
              <a:gd name="connsiteY94" fmla="*/ 2869788 h 6580040"/>
              <a:gd name="connsiteX95" fmla="*/ 6564167 w 8636594"/>
              <a:gd name="connsiteY95" fmla="*/ 2696807 h 6580040"/>
              <a:gd name="connsiteX96" fmla="*/ 6976233 w 8636594"/>
              <a:gd name="connsiteY96" fmla="*/ 2045274 h 6580040"/>
              <a:gd name="connsiteX97" fmla="*/ 7086755 w 8636594"/>
              <a:gd name="connsiteY97" fmla="*/ 1872743 h 6580040"/>
              <a:gd name="connsiteX98" fmla="*/ 7170279 w 8636594"/>
              <a:gd name="connsiteY98" fmla="*/ 1744202 h 6580040"/>
              <a:gd name="connsiteX99" fmla="*/ 7226351 w 8636594"/>
              <a:gd name="connsiteY99" fmla="*/ 1659017 h 6580040"/>
              <a:gd name="connsiteX100" fmla="*/ 7282789 w 8636594"/>
              <a:gd name="connsiteY100" fmla="*/ 1574303 h 6580040"/>
              <a:gd name="connsiteX101" fmla="*/ 7339643 w 8636594"/>
              <a:gd name="connsiteY101" fmla="*/ 1490113 h 6580040"/>
              <a:gd name="connsiteX102" fmla="*/ 7396957 w 8636594"/>
              <a:gd name="connsiteY102" fmla="*/ 1406503 h 6580040"/>
              <a:gd name="connsiteX103" fmla="*/ 7454781 w 8636594"/>
              <a:gd name="connsiteY103" fmla="*/ 1323526 h 6580040"/>
              <a:gd name="connsiteX104" fmla="*/ 7513161 w 8636594"/>
              <a:gd name="connsiteY104" fmla="*/ 1241237 h 6580040"/>
              <a:gd name="connsiteX105" fmla="*/ 7572144 w 8636594"/>
              <a:gd name="connsiteY105" fmla="*/ 1159689 h 6580040"/>
              <a:gd name="connsiteX106" fmla="*/ 7601877 w 8636594"/>
              <a:gd name="connsiteY106" fmla="*/ 1119210 h 6580040"/>
              <a:gd name="connsiteX107" fmla="*/ 7631779 w 8636594"/>
              <a:gd name="connsiteY107" fmla="*/ 1078937 h 6580040"/>
              <a:gd name="connsiteX108" fmla="*/ 7661855 w 8636594"/>
              <a:gd name="connsiteY108" fmla="*/ 1038876 h 6580040"/>
              <a:gd name="connsiteX109" fmla="*/ 7692111 w 8636594"/>
              <a:gd name="connsiteY109" fmla="*/ 999035 h 6580040"/>
              <a:gd name="connsiteX110" fmla="*/ 7722554 w 8636594"/>
              <a:gd name="connsiteY110" fmla="*/ 959419 h 6580040"/>
              <a:gd name="connsiteX111" fmla="*/ 7753190 w 8636594"/>
              <a:gd name="connsiteY111" fmla="*/ 920037 h 6580040"/>
              <a:gd name="connsiteX112" fmla="*/ 7784023 w 8636594"/>
              <a:gd name="connsiteY112" fmla="*/ 880894 h 6580040"/>
              <a:gd name="connsiteX113" fmla="*/ 7815061 w 8636594"/>
              <a:gd name="connsiteY113" fmla="*/ 841997 h 6580040"/>
              <a:gd name="connsiteX114" fmla="*/ 7846308 w 8636594"/>
              <a:gd name="connsiteY114" fmla="*/ 803354 h 6580040"/>
              <a:gd name="connsiteX115" fmla="*/ 7877772 w 8636594"/>
              <a:gd name="connsiteY115" fmla="*/ 764970 h 6580040"/>
              <a:gd name="connsiteX116" fmla="*/ 7909458 w 8636594"/>
              <a:gd name="connsiteY116" fmla="*/ 726853 h 6580040"/>
              <a:gd name="connsiteX117" fmla="*/ 7941371 w 8636594"/>
              <a:gd name="connsiteY117" fmla="*/ 689010 h 6580040"/>
              <a:gd name="connsiteX118" fmla="*/ 7973518 w 8636594"/>
              <a:gd name="connsiteY118" fmla="*/ 651447 h 6580040"/>
              <a:gd name="connsiteX119" fmla="*/ 8005905 w 8636594"/>
              <a:gd name="connsiteY119" fmla="*/ 614171 h 6580040"/>
              <a:gd name="connsiteX120" fmla="*/ 8038538 w 8636594"/>
              <a:gd name="connsiteY120" fmla="*/ 577189 h 6580040"/>
              <a:gd name="connsiteX121" fmla="*/ 8071421 w 8636594"/>
              <a:gd name="connsiteY121" fmla="*/ 540507 h 6580040"/>
              <a:gd name="connsiteX122" fmla="*/ 8104563 w 8636594"/>
              <a:gd name="connsiteY122" fmla="*/ 504132 h 6580040"/>
              <a:gd name="connsiteX123" fmla="*/ 8137967 w 8636594"/>
              <a:gd name="connsiteY123" fmla="*/ 468072 h 6580040"/>
              <a:gd name="connsiteX124" fmla="*/ 8171641 w 8636594"/>
              <a:gd name="connsiteY124" fmla="*/ 432332 h 6580040"/>
              <a:gd name="connsiteX125" fmla="*/ 8205590 w 8636594"/>
              <a:gd name="connsiteY125" fmla="*/ 396920 h 6580040"/>
              <a:gd name="connsiteX126" fmla="*/ 8239820 w 8636594"/>
              <a:gd name="connsiteY126" fmla="*/ 361843 h 6580040"/>
              <a:gd name="connsiteX127" fmla="*/ 8274337 w 8636594"/>
              <a:gd name="connsiteY127" fmla="*/ 327107 h 6580040"/>
              <a:gd name="connsiteX128" fmla="*/ 8309147 w 8636594"/>
              <a:gd name="connsiteY128" fmla="*/ 292718 h 6580040"/>
              <a:gd name="connsiteX129" fmla="*/ 8344256 w 8636594"/>
              <a:gd name="connsiteY129" fmla="*/ 258685 h 6580040"/>
              <a:gd name="connsiteX130" fmla="*/ 8379669 w 8636594"/>
              <a:gd name="connsiteY130" fmla="*/ 225013 h 6580040"/>
              <a:gd name="connsiteX131" fmla="*/ 8415394 w 8636594"/>
              <a:gd name="connsiteY131" fmla="*/ 191709 h 6580040"/>
              <a:gd name="connsiteX132" fmla="*/ 8451434 w 8636594"/>
              <a:gd name="connsiteY132" fmla="*/ 158780 h 6580040"/>
              <a:gd name="connsiteX133" fmla="*/ 8487798 w 8636594"/>
              <a:gd name="connsiteY133" fmla="*/ 126233 h 6580040"/>
              <a:gd name="connsiteX134" fmla="*/ 8524489 w 8636594"/>
              <a:gd name="connsiteY134" fmla="*/ 94075 h 6580040"/>
              <a:gd name="connsiteX135" fmla="*/ 8561515 w 8636594"/>
              <a:gd name="connsiteY135" fmla="*/ 62312 h 6580040"/>
              <a:gd name="connsiteX136" fmla="*/ 8598881 w 8636594"/>
              <a:gd name="connsiteY136" fmla="*/ 30951 h 6580040"/>
              <a:gd name="connsiteX137" fmla="*/ 8636594 w 8636594"/>
              <a:gd name="connsiteY137" fmla="*/ 0 h 6580040"/>
              <a:gd name="connsiteX0" fmla="*/ 8636594 w 8636594"/>
              <a:gd name="connsiteY0" fmla="*/ 0 h 6568233"/>
              <a:gd name="connsiteX1" fmla="*/ 5293 w 8636594"/>
              <a:gd name="connsiteY1" fmla="*/ 0 h 6568233"/>
              <a:gd name="connsiteX2" fmla="*/ 0 w 8636594"/>
              <a:gd name="connsiteY2" fmla="*/ 5587843 h 6568233"/>
              <a:gd name="connsiteX3" fmla="*/ 1594033 w 8636594"/>
              <a:gd name="connsiteY3" fmla="*/ 5600057 h 6568233"/>
              <a:gd name="connsiteX4" fmla="*/ 1686068 w 8636594"/>
              <a:gd name="connsiteY4" fmla="*/ 5599745 h 6568233"/>
              <a:gd name="connsiteX5" fmla="*/ 2359737 w 8636594"/>
              <a:gd name="connsiteY5" fmla="*/ 6568233 h 6568233"/>
              <a:gd name="connsiteX6" fmla="*/ 2416341 w 8636594"/>
              <a:gd name="connsiteY6" fmla="*/ 6555999 h 6568233"/>
              <a:gd name="connsiteX7" fmla="*/ 2472299 w 8636594"/>
              <a:gd name="connsiteY7" fmla="*/ 6543344 h 6568233"/>
              <a:gd name="connsiteX8" fmla="*/ 2527618 w 8636594"/>
              <a:gd name="connsiteY8" fmla="*/ 6530269 h 6568233"/>
              <a:gd name="connsiteX9" fmla="*/ 2582304 w 8636594"/>
              <a:gd name="connsiteY9" fmla="*/ 6516778 h 6568233"/>
              <a:gd name="connsiteX10" fmla="*/ 2636364 w 8636594"/>
              <a:gd name="connsiteY10" fmla="*/ 6502876 h 6568233"/>
              <a:gd name="connsiteX11" fmla="*/ 2689804 w 8636594"/>
              <a:gd name="connsiteY11" fmla="*/ 6488565 h 6568233"/>
              <a:gd name="connsiteX12" fmla="*/ 2742629 w 8636594"/>
              <a:gd name="connsiteY12" fmla="*/ 6473849 h 6568233"/>
              <a:gd name="connsiteX13" fmla="*/ 2794848 w 8636594"/>
              <a:gd name="connsiteY13" fmla="*/ 6458731 h 6568233"/>
              <a:gd name="connsiteX14" fmla="*/ 2846466 w 8636594"/>
              <a:gd name="connsiteY14" fmla="*/ 6443216 h 6568233"/>
              <a:gd name="connsiteX15" fmla="*/ 2897488 w 8636594"/>
              <a:gd name="connsiteY15" fmla="*/ 6427305 h 6568233"/>
              <a:gd name="connsiteX16" fmla="*/ 2947923 w 8636594"/>
              <a:gd name="connsiteY16" fmla="*/ 6411004 h 6568233"/>
              <a:gd name="connsiteX17" fmla="*/ 2997775 w 8636594"/>
              <a:gd name="connsiteY17" fmla="*/ 6394316 h 6568233"/>
              <a:gd name="connsiteX18" fmla="*/ 3047052 w 8636594"/>
              <a:gd name="connsiteY18" fmla="*/ 6377243 h 6568233"/>
              <a:gd name="connsiteX19" fmla="*/ 3095759 w 8636594"/>
              <a:gd name="connsiteY19" fmla="*/ 6359791 h 6568233"/>
              <a:gd name="connsiteX20" fmla="*/ 3143903 w 8636594"/>
              <a:gd name="connsiteY20" fmla="*/ 6341961 h 6568233"/>
              <a:gd name="connsiteX21" fmla="*/ 3191491 w 8636594"/>
              <a:gd name="connsiteY21" fmla="*/ 6323757 h 6568233"/>
              <a:gd name="connsiteX22" fmla="*/ 3238528 w 8636594"/>
              <a:gd name="connsiteY22" fmla="*/ 6305184 h 6568233"/>
              <a:gd name="connsiteX23" fmla="*/ 3285021 w 8636594"/>
              <a:gd name="connsiteY23" fmla="*/ 6286245 h 6568233"/>
              <a:gd name="connsiteX24" fmla="*/ 3330977 w 8636594"/>
              <a:gd name="connsiteY24" fmla="*/ 6266942 h 6568233"/>
              <a:gd name="connsiteX25" fmla="*/ 3376401 w 8636594"/>
              <a:gd name="connsiteY25" fmla="*/ 6247281 h 6568233"/>
              <a:gd name="connsiteX26" fmla="*/ 3421300 w 8636594"/>
              <a:gd name="connsiteY26" fmla="*/ 6227263 h 6568233"/>
              <a:gd name="connsiteX27" fmla="*/ 3465680 w 8636594"/>
              <a:gd name="connsiteY27" fmla="*/ 6206893 h 6568233"/>
              <a:gd name="connsiteX28" fmla="*/ 3509548 w 8636594"/>
              <a:gd name="connsiteY28" fmla="*/ 6186174 h 6568233"/>
              <a:gd name="connsiteX29" fmla="*/ 3552910 w 8636594"/>
              <a:gd name="connsiteY29" fmla="*/ 6165110 h 6568233"/>
              <a:gd name="connsiteX30" fmla="*/ 3595773 w 8636594"/>
              <a:gd name="connsiteY30" fmla="*/ 6143704 h 6568233"/>
              <a:gd name="connsiteX31" fmla="*/ 3638142 w 8636594"/>
              <a:gd name="connsiteY31" fmla="*/ 6121960 h 6568233"/>
              <a:gd name="connsiteX32" fmla="*/ 3680024 w 8636594"/>
              <a:gd name="connsiteY32" fmla="*/ 6099881 h 6568233"/>
              <a:gd name="connsiteX33" fmla="*/ 3721426 w 8636594"/>
              <a:gd name="connsiteY33" fmla="*/ 6077471 h 6568233"/>
              <a:gd name="connsiteX34" fmla="*/ 3762353 w 8636594"/>
              <a:gd name="connsiteY34" fmla="*/ 6054733 h 6568233"/>
              <a:gd name="connsiteX35" fmla="*/ 3802812 w 8636594"/>
              <a:gd name="connsiteY35" fmla="*/ 6031671 h 6568233"/>
              <a:gd name="connsiteX36" fmla="*/ 3842810 w 8636594"/>
              <a:gd name="connsiteY36" fmla="*/ 6008288 h 6568233"/>
              <a:gd name="connsiteX37" fmla="*/ 3882352 w 8636594"/>
              <a:gd name="connsiteY37" fmla="*/ 5984588 h 6568233"/>
              <a:gd name="connsiteX38" fmla="*/ 3921445 w 8636594"/>
              <a:gd name="connsiteY38" fmla="*/ 5960574 h 6568233"/>
              <a:gd name="connsiteX39" fmla="*/ 3960096 w 8636594"/>
              <a:gd name="connsiteY39" fmla="*/ 5936250 h 6568233"/>
              <a:gd name="connsiteX40" fmla="*/ 3998311 w 8636594"/>
              <a:gd name="connsiteY40" fmla="*/ 5911619 h 6568233"/>
              <a:gd name="connsiteX41" fmla="*/ 4036095 w 8636594"/>
              <a:gd name="connsiteY41" fmla="*/ 5886685 h 6568233"/>
              <a:gd name="connsiteX42" fmla="*/ 4073456 w 8636594"/>
              <a:gd name="connsiteY42" fmla="*/ 5861452 h 6568233"/>
              <a:gd name="connsiteX43" fmla="*/ 4110400 w 8636594"/>
              <a:gd name="connsiteY43" fmla="*/ 5835922 h 6568233"/>
              <a:gd name="connsiteX44" fmla="*/ 4146933 w 8636594"/>
              <a:gd name="connsiteY44" fmla="*/ 5810100 h 6568233"/>
              <a:gd name="connsiteX45" fmla="*/ 4183061 w 8636594"/>
              <a:gd name="connsiteY45" fmla="*/ 5783988 h 6568233"/>
              <a:gd name="connsiteX46" fmla="*/ 4218791 w 8636594"/>
              <a:gd name="connsiteY46" fmla="*/ 5757591 h 6568233"/>
              <a:gd name="connsiteX47" fmla="*/ 4254129 w 8636594"/>
              <a:gd name="connsiteY47" fmla="*/ 5730912 h 6568233"/>
              <a:gd name="connsiteX48" fmla="*/ 4289081 w 8636594"/>
              <a:gd name="connsiteY48" fmla="*/ 5703955 h 6568233"/>
              <a:gd name="connsiteX49" fmla="*/ 4323654 w 8636594"/>
              <a:gd name="connsiteY49" fmla="*/ 5676722 h 6568233"/>
              <a:gd name="connsiteX50" fmla="*/ 4357854 w 8636594"/>
              <a:gd name="connsiteY50" fmla="*/ 5649218 h 6568233"/>
              <a:gd name="connsiteX51" fmla="*/ 4391688 w 8636594"/>
              <a:gd name="connsiteY51" fmla="*/ 5621446 h 6568233"/>
              <a:gd name="connsiteX52" fmla="*/ 4425162 w 8636594"/>
              <a:gd name="connsiteY52" fmla="*/ 5593409 h 6568233"/>
              <a:gd name="connsiteX53" fmla="*/ 4458281 w 8636594"/>
              <a:gd name="connsiteY53" fmla="*/ 5565111 h 6568233"/>
              <a:gd name="connsiteX54" fmla="*/ 4491053 w 8636594"/>
              <a:gd name="connsiteY54" fmla="*/ 5536556 h 6568233"/>
              <a:gd name="connsiteX55" fmla="*/ 4523484 w 8636594"/>
              <a:gd name="connsiteY55" fmla="*/ 5507747 h 6568233"/>
              <a:gd name="connsiteX56" fmla="*/ 4555580 w 8636594"/>
              <a:gd name="connsiteY56" fmla="*/ 5478687 h 6568233"/>
              <a:gd name="connsiteX57" fmla="*/ 4587347 w 8636594"/>
              <a:gd name="connsiteY57" fmla="*/ 5449380 h 6568233"/>
              <a:gd name="connsiteX58" fmla="*/ 4618793 w 8636594"/>
              <a:gd name="connsiteY58" fmla="*/ 5419830 h 6568233"/>
              <a:gd name="connsiteX59" fmla="*/ 4649922 w 8636594"/>
              <a:gd name="connsiteY59" fmla="*/ 5390040 h 6568233"/>
              <a:gd name="connsiteX60" fmla="*/ 4680742 w 8636594"/>
              <a:gd name="connsiteY60" fmla="*/ 5360014 h 6568233"/>
              <a:gd name="connsiteX61" fmla="*/ 4711259 w 8636594"/>
              <a:gd name="connsiteY61" fmla="*/ 5329755 h 6568233"/>
              <a:gd name="connsiteX62" fmla="*/ 4741478 w 8636594"/>
              <a:gd name="connsiteY62" fmla="*/ 5299266 h 6568233"/>
              <a:gd name="connsiteX63" fmla="*/ 4771408 w 8636594"/>
              <a:gd name="connsiteY63" fmla="*/ 5268551 h 6568233"/>
              <a:gd name="connsiteX64" fmla="*/ 4801053 w 8636594"/>
              <a:gd name="connsiteY64" fmla="*/ 5237614 h 6568233"/>
              <a:gd name="connsiteX65" fmla="*/ 4830420 w 8636594"/>
              <a:gd name="connsiteY65" fmla="*/ 5206458 h 6568233"/>
              <a:gd name="connsiteX66" fmla="*/ 4859516 w 8636594"/>
              <a:gd name="connsiteY66" fmla="*/ 5175087 h 6568233"/>
              <a:gd name="connsiteX67" fmla="*/ 4888347 w 8636594"/>
              <a:gd name="connsiteY67" fmla="*/ 5143504 h 6568233"/>
              <a:gd name="connsiteX68" fmla="*/ 4916919 w 8636594"/>
              <a:gd name="connsiteY68" fmla="*/ 5111713 h 6568233"/>
              <a:gd name="connsiteX69" fmla="*/ 4945238 w 8636594"/>
              <a:gd name="connsiteY69" fmla="*/ 5079717 h 6568233"/>
              <a:gd name="connsiteX70" fmla="*/ 4973311 w 8636594"/>
              <a:gd name="connsiteY70" fmla="*/ 5047519 h 6568233"/>
              <a:gd name="connsiteX71" fmla="*/ 5001145 w 8636594"/>
              <a:gd name="connsiteY71" fmla="*/ 5015124 h 6568233"/>
              <a:gd name="connsiteX72" fmla="*/ 5028745 w 8636594"/>
              <a:gd name="connsiteY72" fmla="*/ 4982535 h 6568233"/>
              <a:gd name="connsiteX73" fmla="*/ 5056117 w 8636594"/>
              <a:gd name="connsiteY73" fmla="*/ 4949755 h 6568233"/>
              <a:gd name="connsiteX74" fmla="*/ 5083269 w 8636594"/>
              <a:gd name="connsiteY74" fmla="*/ 4916787 h 6568233"/>
              <a:gd name="connsiteX75" fmla="*/ 5110207 w 8636594"/>
              <a:gd name="connsiteY75" fmla="*/ 4883636 h 6568233"/>
              <a:gd name="connsiteX76" fmla="*/ 5136937 w 8636594"/>
              <a:gd name="connsiteY76" fmla="*/ 4850305 h 6568233"/>
              <a:gd name="connsiteX77" fmla="*/ 5163464 w 8636594"/>
              <a:gd name="connsiteY77" fmla="*/ 4816797 h 6568233"/>
              <a:gd name="connsiteX78" fmla="*/ 5215940 w 8636594"/>
              <a:gd name="connsiteY78" fmla="*/ 4749265 h 6568233"/>
              <a:gd name="connsiteX79" fmla="*/ 5267684 w 8636594"/>
              <a:gd name="connsiteY79" fmla="*/ 4681068 h 6568233"/>
              <a:gd name="connsiteX80" fmla="*/ 5318748 w 8636594"/>
              <a:gd name="connsiteY80" fmla="*/ 4612234 h 6568233"/>
              <a:gd name="connsiteX81" fmla="*/ 5369182 w 8636594"/>
              <a:gd name="connsiteY81" fmla="*/ 4542793 h 6568233"/>
              <a:gd name="connsiteX82" fmla="*/ 5419038 w 8636594"/>
              <a:gd name="connsiteY82" fmla="*/ 4472771 h 6568233"/>
              <a:gd name="connsiteX83" fmla="*/ 5468365 w 8636594"/>
              <a:gd name="connsiteY83" fmla="*/ 4402196 h 6568233"/>
              <a:gd name="connsiteX84" fmla="*/ 5517215 w 8636594"/>
              <a:gd name="connsiteY84" fmla="*/ 4331098 h 6568233"/>
              <a:gd name="connsiteX85" fmla="*/ 5565637 w 8636594"/>
              <a:gd name="connsiteY85" fmla="*/ 4259503 h 6568233"/>
              <a:gd name="connsiteX86" fmla="*/ 5613684 w 8636594"/>
              <a:gd name="connsiteY86" fmla="*/ 4187441 h 6568233"/>
              <a:gd name="connsiteX87" fmla="*/ 5685160 w 8636594"/>
              <a:gd name="connsiteY87" fmla="*/ 4078531 h 6568233"/>
              <a:gd name="connsiteX88" fmla="*/ 5756074 w 8636594"/>
              <a:gd name="connsiteY88" fmla="*/ 3968727 h 6568233"/>
              <a:gd name="connsiteX89" fmla="*/ 5873483 w 8636594"/>
              <a:gd name="connsiteY89" fmla="*/ 3783989 h 6568233"/>
              <a:gd name="connsiteX90" fmla="*/ 6203209 w 8636594"/>
              <a:gd name="connsiteY90" fmla="*/ 3258640 h 6568233"/>
              <a:gd name="connsiteX91" fmla="*/ 6299430 w 8636594"/>
              <a:gd name="connsiteY91" fmla="*/ 3107321 h 6568233"/>
              <a:gd name="connsiteX92" fmla="*/ 6372650 w 8636594"/>
              <a:gd name="connsiteY92" fmla="*/ 2993735 h 6568233"/>
              <a:gd name="connsiteX93" fmla="*/ 6453197 w 8636594"/>
              <a:gd name="connsiteY93" fmla="*/ 2869788 h 6568233"/>
              <a:gd name="connsiteX94" fmla="*/ 6564167 w 8636594"/>
              <a:gd name="connsiteY94" fmla="*/ 2696807 h 6568233"/>
              <a:gd name="connsiteX95" fmla="*/ 6976233 w 8636594"/>
              <a:gd name="connsiteY95" fmla="*/ 2045274 h 6568233"/>
              <a:gd name="connsiteX96" fmla="*/ 7086755 w 8636594"/>
              <a:gd name="connsiteY96" fmla="*/ 1872743 h 6568233"/>
              <a:gd name="connsiteX97" fmla="*/ 7170279 w 8636594"/>
              <a:gd name="connsiteY97" fmla="*/ 1744202 h 6568233"/>
              <a:gd name="connsiteX98" fmla="*/ 7226351 w 8636594"/>
              <a:gd name="connsiteY98" fmla="*/ 1659017 h 6568233"/>
              <a:gd name="connsiteX99" fmla="*/ 7282789 w 8636594"/>
              <a:gd name="connsiteY99" fmla="*/ 1574303 h 6568233"/>
              <a:gd name="connsiteX100" fmla="*/ 7339643 w 8636594"/>
              <a:gd name="connsiteY100" fmla="*/ 1490113 h 6568233"/>
              <a:gd name="connsiteX101" fmla="*/ 7396957 w 8636594"/>
              <a:gd name="connsiteY101" fmla="*/ 1406503 h 6568233"/>
              <a:gd name="connsiteX102" fmla="*/ 7454781 w 8636594"/>
              <a:gd name="connsiteY102" fmla="*/ 1323526 h 6568233"/>
              <a:gd name="connsiteX103" fmla="*/ 7513161 w 8636594"/>
              <a:gd name="connsiteY103" fmla="*/ 1241237 h 6568233"/>
              <a:gd name="connsiteX104" fmla="*/ 7572144 w 8636594"/>
              <a:gd name="connsiteY104" fmla="*/ 1159689 h 6568233"/>
              <a:gd name="connsiteX105" fmla="*/ 7601877 w 8636594"/>
              <a:gd name="connsiteY105" fmla="*/ 1119210 h 6568233"/>
              <a:gd name="connsiteX106" fmla="*/ 7631779 w 8636594"/>
              <a:gd name="connsiteY106" fmla="*/ 1078937 h 6568233"/>
              <a:gd name="connsiteX107" fmla="*/ 7661855 w 8636594"/>
              <a:gd name="connsiteY107" fmla="*/ 1038876 h 6568233"/>
              <a:gd name="connsiteX108" fmla="*/ 7692111 w 8636594"/>
              <a:gd name="connsiteY108" fmla="*/ 999035 h 6568233"/>
              <a:gd name="connsiteX109" fmla="*/ 7722554 w 8636594"/>
              <a:gd name="connsiteY109" fmla="*/ 959419 h 6568233"/>
              <a:gd name="connsiteX110" fmla="*/ 7753190 w 8636594"/>
              <a:gd name="connsiteY110" fmla="*/ 920037 h 6568233"/>
              <a:gd name="connsiteX111" fmla="*/ 7784023 w 8636594"/>
              <a:gd name="connsiteY111" fmla="*/ 880894 h 6568233"/>
              <a:gd name="connsiteX112" fmla="*/ 7815061 w 8636594"/>
              <a:gd name="connsiteY112" fmla="*/ 841997 h 6568233"/>
              <a:gd name="connsiteX113" fmla="*/ 7846308 w 8636594"/>
              <a:gd name="connsiteY113" fmla="*/ 803354 h 6568233"/>
              <a:gd name="connsiteX114" fmla="*/ 7877772 w 8636594"/>
              <a:gd name="connsiteY114" fmla="*/ 764970 h 6568233"/>
              <a:gd name="connsiteX115" fmla="*/ 7909458 w 8636594"/>
              <a:gd name="connsiteY115" fmla="*/ 726853 h 6568233"/>
              <a:gd name="connsiteX116" fmla="*/ 7941371 w 8636594"/>
              <a:gd name="connsiteY116" fmla="*/ 689010 h 6568233"/>
              <a:gd name="connsiteX117" fmla="*/ 7973518 w 8636594"/>
              <a:gd name="connsiteY117" fmla="*/ 651447 h 6568233"/>
              <a:gd name="connsiteX118" fmla="*/ 8005905 w 8636594"/>
              <a:gd name="connsiteY118" fmla="*/ 614171 h 6568233"/>
              <a:gd name="connsiteX119" fmla="*/ 8038538 w 8636594"/>
              <a:gd name="connsiteY119" fmla="*/ 577189 h 6568233"/>
              <a:gd name="connsiteX120" fmla="*/ 8071421 w 8636594"/>
              <a:gd name="connsiteY120" fmla="*/ 540507 h 6568233"/>
              <a:gd name="connsiteX121" fmla="*/ 8104563 w 8636594"/>
              <a:gd name="connsiteY121" fmla="*/ 504132 h 6568233"/>
              <a:gd name="connsiteX122" fmla="*/ 8137967 w 8636594"/>
              <a:gd name="connsiteY122" fmla="*/ 468072 h 6568233"/>
              <a:gd name="connsiteX123" fmla="*/ 8171641 w 8636594"/>
              <a:gd name="connsiteY123" fmla="*/ 432332 h 6568233"/>
              <a:gd name="connsiteX124" fmla="*/ 8205590 w 8636594"/>
              <a:gd name="connsiteY124" fmla="*/ 396920 h 6568233"/>
              <a:gd name="connsiteX125" fmla="*/ 8239820 w 8636594"/>
              <a:gd name="connsiteY125" fmla="*/ 361843 h 6568233"/>
              <a:gd name="connsiteX126" fmla="*/ 8274337 w 8636594"/>
              <a:gd name="connsiteY126" fmla="*/ 327107 h 6568233"/>
              <a:gd name="connsiteX127" fmla="*/ 8309147 w 8636594"/>
              <a:gd name="connsiteY127" fmla="*/ 292718 h 6568233"/>
              <a:gd name="connsiteX128" fmla="*/ 8344256 w 8636594"/>
              <a:gd name="connsiteY128" fmla="*/ 258685 h 6568233"/>
              <a:gd name="connsiteX129" fmla="*/ 8379669 w 8636594"/>
              <a:gd name="connsiteY129" fmla="*/ 225013 h 6568233"/>
              <a:gd name="connsiteX130" fmla="*/ 8415394 w 8636594"/>
              <a:gd name="connsiteY130" fmla="*/ 191709 h 6568233"/>
              <a:gd name="connsiteX131" fmla="*/ 8451434 w 8636594"/>
              <a:gd name="connsiteY131" fmla="*/ 158780 h 6568233"/>
              <a:gd name="connsiteX132" fmla="*/ 8487798 w 8636594"/>
              <a:gd name="connsiteY132" fmla="*/ 126233 h 6568233"/>
              <a:gd name="connsiteX133" fmla="*/ 8524489 w 8636594"/>
              <a:gd name="connsiteY133" fmla="*/ 94075 h 6568233"/>
              <a:gd name="connsiteX134" fmla="*/ 8561515 w 8636594"/>
              <a:gd name="connsiteY134" fmla="*/ 62312 h 6568233"/>
              <a:gd name="connsiteX135" fmla="*/ 8598881 w 8636594"/>
              <a:gd name="connsiteY135" fmla="*/ 30951 h 6568233"/>
              <a:gd name="connsiteX136" fmla="*/ 8636594 w 8636594"/>
              <a:gd name="connsiteY136" fmla="*/ 0 h 6568233"/>
              <a:gd name="connsiteX0" fmla="*/ 8636594 w 8636594"/>
              <a:gd name="connsiteY0" fmla="*/ 0 h 6555999"/>
              <a:gd name="connsiteX1" fmla="*/ 5293 w 8636594"/>
              <a:gd name="connsiteY1" fmla="*/ 0 h 6555999"/>
              <a:gd name="connsiteX2" fmla="*/ 0 w 8636594"/>
              <a:gd name="connsiteY2" fmla="*/ 5587843 h 6555999"/>
              <a:gd name="connsiteX3" fmla="*/ 1594033 w 8636594"/>
              <a:gd name="connsiteY3" fmla="*/ 5600057 h 6555999"/>
              <a:gd name="connsiteX4" fmla="*/ 1686068 w 8636594"/>
              <a:gd name="connsiteY4" fmla="*/ 5599745 h 6555999"/>
              <a:gd name="connsiteX5" fmla="*/ 2416341 w 8636594"/>
              <a:gd name="connsiteY5" fmla="*/ 6555999 h 6555999"/>
              <a:gd name="connsiteX6" fmla="*/ 2472299 w 8636594"/>
              <a:gd name="connsiteY6" fmla="*/ 6543344 h 6555999"/>
              <a:gd name="connsiteX7" fmla="*/ 2527618 w 8636594"/>
              <a:gd name="connsiteY7" fmla="*/ 6530269 h 6555999"/>
              <a:gd name="connsiteX8" fmla="*/ 2582304 w 8636594"/>
              <a:gd name="connsiteY8" fmla="*/ 6516778 h 6555999"/>
              <a:gd name="connsiteX9" fmla="*/ 2636364 w 8636594"/>
              <a:gd name="connsiteY9" fmla="*/ 6502876 h 6555999"/>
              <a:gd name="connsiteX10" fmla="*/ 2689804 w 8636594"/>
              <a:gd name="connsiteY10" fmla="*/ 6488565 h 6555999"/>
              <a:gd name="connsiteX11" fmla="*/ 2742629 w 8636594"/>
              <a:gd name="connsiteY11" fmla="*/ 6473849 h 6555999"/>
              <a:gd name="connsiteX12" fmla="*/ 2794848 w 8636594"/>
              <a:gd name="connsiteY12" fmla="*/ 6458731 h 6555999"/>
              <a:gd name="connsiteX13" fmla="*/ 2846466 w 8636594"/>
              <a:gd name="connsiteY13" fmla="*/ 6443216 h 6555999"/>
              <a:gd name="connsiteX14" fmla="*/ 2897488 w 8636594"/>
              <a:gd name="connsiteY14" fmla="*/ 6427305 h 6555999"/>
              <a:gd name="connsiteX15" fmla="*/ 2947923 w 8636594"/>
              <a:gd name="connsiteY15" fmla="*/ 6411004 h 6555999"/>
              <a:gd name="connsiteX16" fmla="*/ 2997775 w 8636594"/>
              <a:gd name="connsiteY16" fmla="*/ 6394316 h 6555999"/>
              <a:gd name="connsiteX17" fmla="*/ 3047052 w 8636594"/>
              <a:gd name="connsiteY17" fmla="*/ 6377243 h 6555999"/>
              <a:gd name="connsiteX18" fmla="*/ 3095759 w 8636594"/>
              <a:gd name="connsiteY18" fmla="*/ 6359791 h 6555999"/>
              <a:gd name="connsiteX19" fmla="*/ 3143903 w 8636594"/>
              <a:gd name="connsiteY19" fmla="*/ 6341961 h 6555999"/>
              <a:gd name="connsiteX20" fmla="*/ 3191491 w 8636594"/>
              <a:gd name="connsiteY20" fmla="*/ 6323757 h 6555999"/>
              <a:gd name="connsiteX21" fmla="*/ 3238528 w 8636594"/>
              <a:gd name="connsiteY21" fmla="*/ 6305184 h 6555999"/>
              <a:gd name="connsiteX22" fmla="*/ 3285021 w 8636594"/>
              <a:gd name="connsiteY22" fmla="*/ 6286245 h 6555999"/>
              <a:gd name="connsiteX23" fmla="*/ 3330977 w 8636594"/>
              <a:gd name="connsiteY23" fmla="*/ 6266942 h 6555999"/>
              <a:gd name="connsiteX24" fmla="*/ 3376401 w 8636594"/>
              <a:gd name="connsiteY24" fmla="*/ 6247281 h 6555999"/>
              <a:gd name="connsiteX25" fmla="*/ 3421300 w 8636594"/>
              <a:gd name="connsiteY25" fmla="*/ 6227263 h 6555999"/>
              <a:gd name="connsiteX26" fmla="*/ 3465680 w 8636594"/>
              <a:gd name="connsiteY26" fmla="*/ 6206893 h 6555999"/>
              <a:gd name="connsiteX27" fmla="*/ 3509548 w 8636594"/>
              <a:gd name="connsiteY27" fmla="*/ 6186174 h 6555999"/>
              <a:gd name="connsiteX28" fmla="*/ 3552910 w 8636594"/>
              <a:gd name="connsiteY28" fmla="*/ 6165110 h 6555999"/>
              <a:gd name="connsiteX29" fmla="*/ 3595773 w 8636594"/>
              <a:gd name="connsiteY29" fmla="*/ 6143704 h 6555999"/>
              <a:gd name="connsiteX30" fmla="*/ 3638142 w 8636594"/>
              <a:gd name="connsiteY30" fmla="*/ 6121960 h 6555999"/>
              <a:gd name="connsiteX31" fmla="*/ 3680024 w 8636594"/>
              <a:gd name="connsiteY31" fmla="*/ 6099881 h 6555999"/>
              <a:gd name="connsiteX32" fmla="*/ 3721426 w 8636594"/>
              <a:gd name="connsiteY32" fmla="*/ 6077471 h 6555999"/>
              <a:gd name="connsiteX33" fmla="*/ 3762353 w 8636594"/>
              <a:gd name="connsiteY33" fmla="*/ 6054733 h 6555999"/>
              <a:gd name="connsiteX34" fmla="*/ 3802812 w 8636594"/>
              <a:gd name="connsiteY34" fmla="*/ 6031671 h 6555999"/>
              <a:gd name="connsiteX35" fmla="*/ 3842810 w 8636594"/>
              <a:gd name="connsiteY35" fmla="*/ 6008288 h 6555999"/>
              <a:gd name="connsiteX36" fmla="*/ 3882352 w 8636594"/>
              <a:gd name="connsiteY36" fmla="*/ 5984588 h 6555999"/>
              <a:gd name="connsiteX37" fmla="*/ 3921445 w 8636594"/>
              <a:gd name="connsiteY37" fmla="*/ 5960574 h 6555999"/>
              <a:gd name="connsiteX38" fmla="*/ 3960096 w 8636594"/>
              <a:gd name="connsiteY38" fmla="*/ 5936250 h 6555999"/>
              <a:gd name="connsiteX39" fmla="*/ 3998311 w 8636594"/>
              <a:gd name="connsiteY39" fmla="*/ 5911619 h 6555999"/>
              <a:gd name="connsiteX40" fmla="*/ 4036095 w 8636594"/>
              <a:gd name="connsiteY40" fmla="*/ 5886685 h 6555999"/>
              <a:gd name="connsiteX41" fmla="*/ 4073456 w 8636594"/>
              <a:gd name="connsiteY41" fmla="*/ 5861452 h 6555999"/>
              <a:gd name="connsiteX42" fmla="*/ 4110400 w 8636594"/>
              <a:gd name="connsiteY42" fmla="*/ 5835922 h 6555999"/>
              <a:gd name="connsiteX43" fmla="*/ 4146933 w 8636594"/>
              <a:gd name="connsiteY43" fmla="*/ 5810100 h 6555999"/>
              <a:gd name="connsiteX44" fmla="*/ 4183061 w 8636594"/>
              <a:gd name="connsiteY44" fmla="*/ 5783988 h 6555999"/>
              <a:gd name="connsiteX45" fmla="*/ 4218791 w 8636594"/>
              <a:gd name="connsiteY45" fmla="*/ 5757591 h 6555999"/>
              <a:gd name="connsiteX46" fmla="*/ 4254129 w 8636594"/>
              <a:gd name="connsiteY46" fmla="*/ 5730912 h 6555999"/>
              <a:gd name="connsiteX47" fmla="*/ 4289081 w 8636594"/>
              <a:gd name="connsiteY47" fmla="*/ 5703955 h 6555999"/>
              <a:gd name="connsiteX48" fmla="*/ 4323654 w 8636594"/>
              <a:gd name="connsiteY48" fmla="*/ 5676722 h 6555999"/>
              <a:gd name="connsiteX49" fmla="*/ 4357854 w 8636594"/>
              <a:gd name="connsiteY49" fmla="*/ 5649218 h 6555999"/>
              <a:gd name="connsiteX50" fmla="*/ 4391688 w 8636594"/>
              <a:gd name="connsiteY50" fmla="*/ 5621446 h 6555999"/>
              <a:gd name="connsiteX51" fmla="*/ 4425162 w 8636594"/>
              <a:gd name="connsiteY51" fmla="*/ 5593409 h 6555999"/>
              <a:gd name="connsiteX52" fmla="*/ 4458281 w 8636594"/>
              <a:gd name="connsiteY52" fmla="*/ 5565111 h 6555999"/>
              <a:gd name="connsiteX53" fmla="*/ 4491053 w 8636594"/>
              <a:gd name="connsiteY53" fmla="*/ 5536556 h 6555999"/>
              <a:gd name="connsiteX54" fmla="*/ 4523484 w 8636594"/>
              <a:gd name="connsiteY54" fmla="*/ 5507747 h 6555999"/>
              <a:gd name="connsiteX55" fmla="*/ 4555580 w 8636594"/>
              <a:gd name="connsiteY55" fmla="*/ 5478687 h 6555999"/>
              <a:gd name="connsiteX56" fmla="*/ 4587347 w 8636594"/>
              <a:gd name="connsiteY56" fmla="*/ 5449380 h 6555999"/>
              <a:gd name="connsiteX57" fmla="*/ 4618793 w 8636594"/>
              <a:gd name="connsiteY57" fmla="*/ 5419830 h 6555999"/>
              <a:gd name="connsiteX58" fmla="*/ 4649922 w 8636594"/>
              <a:gd name="connsiteY58" fmla="*/ 5390040 h 6555999"/>
              <a:gd name="connsiteX59" fmla="*/ 4680742 w 8636594"/>
              <a:gd name="connsiteY59" fmla="*/ 5360014 h 6555999"/>
              <a:gd name="connsiteX60" fmla="*/ 4711259 w 8636594"/>
              <a:gd name="connsiteY60" fmla="*/ 5329755 h 6555999"/>
              <a:gd name="connsiteX61" fmla="*/ 4741478 w 8636594"/>
              <a:gd name="connsiteY61" fmla="*/ 5299266 h 6555999"/>
              <a:gd name="connsiteX62" fmla="*/ 4771408 w 8636594"/>
              <a:gd name="connsiteY62" fmla="*/ 5268551 h 6555999"/>
              <a:gd name="connsiteX63" fmla="*/ 4801053 w 8636594"/>
              <a:gd name="connsiteY63" fmla="*/ 5237614 h 6555999"/>
              <a:gd name="connsiteX64" fmla="*/ 4830420 w 8636594"/>
              <a:gd name="connsiteY64" fmla="*/ 5206458 h 6555999"/>
              <a:gd name="connsiteX65" fmla="*/ 4859516 w 8636594"/>
              <a:gd name="connsiteY65" fmla="*/ 5175087 h 6555999"/>
              <a:gd name="connsiteX66" fmla="*/ 4888347 w 8636594"/>
              <a:gd name="connsiteY66" fmla="*/ 5143504 h 6555999"/>
              <a:gd name="connsiteX67" fmla="*/ 4916919 w 8636594"/>
              <a:gd name="connsiteY67" fmla="*/ 5111713 h 6555999"/>
              <a:gd name="connsiteX68" fmla="*/ 4945238 w 8636594"/>
              <a:gd name="connsiteY68" fmla="*/ 5079717 h 6555999"/>
              <a:gd name="connsiteX69" fmla="*/ 4973311 w 8636594"/>
              <a:gd name="connsiteY69" fmla="*/ 5047519 h 6555999"/>
              <a:gd name="connsiteX70" fmla="*/ 5001145 w 8636594"/>
              <a:gd name="connsiteY70" fmla="*/ 5015124 h 6555999"/>
              <a:gd name="connsiteX71" fmla="*/ 5028745 w 8636594"/>
              <a:gd name="connsiteY71" fmla="*/ 4982535 h 6555999"/>
              <a:gd name="connsiteX72" fmla="*/ 5056117 w 8636594"/>
              <a:gd name="connsiteY72" fmla="*/ 4949755 h 6555999"/>
              <a:gd name="connsiteX73" fmla="*/ 5083269 w 8636594"/>
              <a:gd name="connsiteY73" fmla="*/ 4916787 h 6555999"/>
              <a:gd name="connsiteX74" fmla="*/ 5110207 w 8636594"/>
              <a:gd name="connsiteY74" fmla="*/ 4883636 h 6555999"/>
              <a:gd name="connsiteX75" fmla="*/ 5136937 w 8636594"/>
              <a:gd name="connsiteY75" fmla="*/ 4850305 h 6555999"/>
              <a:gd name="connsiteX76" fmla="*/ 5163464 w 8636594"/>
              <a:gd name="connsiteY76" fmla="*/ 4816797 h 6555999"/>
              <a:gd name="connsiteX77" fmla="*/ 5215940 w 8636594"/>
              <a:gd name="connsiteY77" fmla="*/ 4749265 h 6555999"/>
              <a:gd name="connsiteX78" fmla="*/ 5267684 w 8636594"/>
              <a:gd name="connsiteY78" fmla="*/ 4681068 h 6555999"/>
              <a:gd name="connsiteX79" fmla="*/ 5318748 w 8636594"/>
              <a:gd name="connsiteY79" fmla="*/ 4612234 h 6555999"/>
              <a:gd name="connsiteX80" fmla="*/ 5369182 w 8636594"/>
              <a:gd name="connsiteY80" fmla="*/ 4542793 h 6555999"/>
              <a:gd name="connsiteX81" fmla="*/ 5419038 w 8636594"/>
              <a:gd name="connsiteY81" fmla="*/ 4472771 h 6555999"/>
              <a:gd name="connsiteX82" fmla="*/ 5468365 w 8636594"/>
              <a:gd name="connsiteY82" fmla="*/ 4402196 h 6555999"/>
              <a:gd name="connsiteX83" fmla="*/ 5517215 w 8636594"/>
              <a:gd name="connsiteY83" fmla="*/ 4331098 h 6555999"/>
              <a:gd name="connsiteX84" fmla="*/ 5565637 w 8636594"/>
              <a:gd name="connsiteY84" fmla="*/ 4259503 h 6555999"/>
              <a:gd name="connsiteX85" fmla="*/ 5613684 w 8636594"/>
              <a:gd name="connsiteY85" fmla="*/ 4187441 h 6555999"/>
              <a:gd name="connsiteX86" fmla="*/ 5685160 w 8636594"/>
              <a:gd name="connsiteY86" fmla="*/ 4078531 h 6555999"/>
              <a:gd name="connsiteX87" fmla="*/ 5756074 w 8636594"/>
              <a:gd name="connsiteY87" fmla="*/ 3968727 h 6555999"/>
              <a:gd name="connsiteX88" fmla="*/ 5873483 w 8636594"/>
              <a:gd name="connsiteY88" fmla="*/ 3783989 h 6555999"/>
              <a:gd name="connsiteX89" fmla="*/ 6203209 w 8636594"/>
              <a:gd name="connsiteY89" fmla="*/ 3258640 h 6555999"/>
              <a:gd name="connsiteX90" fmla="*/ 6299430 w 8636594"/>
              <a:gd name="connsiteY90" fmla="*/ 3107321 h 6555999"/>
              <a:gd name="connsiteX91" fmla="*/ 6372650 w 8636594"/>
              <a:gd name="connsiteY91" fmla="*/ 2993735 h 6555999"/>
              <a:gd name="connsiteX92" fmla="*/ 6453197 w 8636594"/>
              <a:gd name="connsiteY92" fmla="*/ 2869788 h 6555999"/>
              <a:gd name="connsiteX93" fmla="*/ 6564167 w 8636594"/>
              <a:gd name="connsiteY93" fmla="*/ 2696807 h 6555999"/>
              <a:gd name="connsiteX94" fmla="*/ 6976233 w 8636594"/>
              <a:gd name="connsiteY94" fmla="*/ 2045274 h 6555999"/>
              <a:gd name="connsiteX95" fmla="*/ 7086755 w 8636594"/>
              <a:gd name="connsiteY95" fmla="*/ 1872743 h 6555999"/>
              <a:gd name="connsiteX96" fmla="*/ 7170279 w 8636594"/>
              <a:gd name="connsiteY96" fmla="*/ 1744202 h 6555999"/>
              <a:gd name="connsiteX97" fmla="*/ 7226351 w 8636594"/>
              <a:gd name="connsiteY97" fmla="*/ 1659017 h 6555999"/>
              <a:gd name="connsiteX98" fmla="*/ 7282789 w 8636594"/>
              <a:gd name="connsiteY98" fmla="*/ 1574303 h 6555999"/>
              <a:gd name="connsiteX99" fmla="*/ 7339643 w 8636594"/>
              <a:gd name="connsiteY99" fmla="*/ 1490113 h 6555999"/>
              <a:gd name="connsiteX100" fmla="*/ 7396957 w 8636594"/>
              <a:gd name="connsiteY100" fmla="*/ 1406503 h 6555999"/>
              <a:gd name="connsiteX101" fmla="*/ 7454781 w 8636594"/>
              <a:gd name="connsiteY101" fmla="*/ 1323526 h 6555999"/>
              <a:gd name="connsiteX102" fmla="*/ 7513161 w 8636594"/>
              <a:gd name="connsiteY102" fmla="*/ 1241237 h 6555999"/>
              <a:gd name="connsiteX103" fmla="*/ 7572144 w 8636594"/>
              <a:gd name="connsiteY103" fmla="*/ 1159689 h 6555999"/>
              <a:gd name="connsiteX104" fmla="*/ 7601877 w 8636594"/>
              <a:gd name="connsiteY104" fmla="*/ 1119210 h 6555999"/>
              <a:gd name="connsiteX105" fmla="*/ 7631779 w 8636594"/>
              <a:gd name="connsiteY105" fmla="*/ 1078937 h 6555999"/>
              <a:gd name="connsiteX106" fmla="*/ 7661855 w 8636594"/>
              <a:gd name="connsiteY106" fmla="*/ 1038876 h 6555999"/>
              <a:gd name="connsiteX107" fmla="*/ 7692111 w 8636594"/>
              <a:gd name="connsiteY107" fmla="*/ 999035 h 6555999"/>
              <a:gd name="connsiteX108" fmla="*/ 7722554 w 8636594"/>
              <a:gd name="connsiteY108" fmla="*/ 959419 h 6555999"/>
              <a:gd name="connsiteX109" fmla="*/ 7753190 w 8636594"/>
              <a:gd name="connsiteY109" fmla="*/ 920037 h 6555999"/>
              <a:gd name="connsiteX110" fmla="*/ 7784023 w 8636594"/>
              <a:gd name="connsiteY110" fmla="*/ 880894 h 6555999"/>
              <a:gd name="connsiteX111" fmla="*/ 7815061 w 8636594"/>
              <a:gd name="connsiteY111" fmla="*/ 841997 h 6555999"/>
              <a:gd name="connsiteX112" fmla="*/ 7846308 w 8636594"/>
              <a:gd name="connsiteY112" fmla="*/ 803354 h 6555999"/>
              <a:gd name="connsiteX113" fmla="*/ 7877772 w 8636594"/>
              <a:gd name="connsiteY113" fmla="*/ 764970 h 6555999"/>
              <a:gd name="connsiteX114" fmla="*/ 7909458 w 8636594"/>
              <a:gd name="connsiteY114" fmla="*/ 726853 h 6555999"/>
              <a:gd name="connsiteX115" fmla="*/ 7941371 w 8636594"/>
              <a:gd name="connsiteY115" fmla="*/ 689010 h 6555999"/>
              <a:gd name="connsiteX116" fmla="*/ 7973518 w 8636594"/>
              <a:gd name="connsiteY116" fmla="*/ 651447 h 6555999"/>
              <a:gd name="connsiteX117" fmla="*/ 8005905 w 8636594"/>
              <a:gd name="connsiteY117" fmla="*/ 614171 h 6555999"/>
              <a:gd name="connsiteX118" fmla="*/ 8038538 w 8636594"/>
              <a:gd name="connsiteY118" fmla="*/ 577189 h 6555999"/>
              <a:gd name="connsiteX119" fmla="*/ 8071421 w 8636594"/>
              <a:gd name="connsiteY119" fmla="*/ 540507 h 6555999"/>
              <a:gd name="connsiteX120" fmla="*/ 8104563 w 8636594"/>
              <a:gd name="connsiteY120" fmla="*/ 504132 h 6555999"/>
              <a:gd name="connsiteX121" fmla="*/ 8137967 w 8636594"/>
              <a:gd name="connsiteY121" fmla="*/ 468072 h 6555999"/>
              <a:gd name="connsiteX122" fmla="*/ 8171641 w 8636594"/>
              <a:gd name="connsiteY122" fmla="*/ 432332 h 6555999"/>
              <a:gd name="connsiteX123" fmla="*/ 8205590 w 8636594"/>
              <a:gd name="connsiteY123" fmla="*/ 396920 h 6555999"/>
              <a:gd name="connsiteX124" fmla="*/ 8239820 w 8636594"/>
              <a:gd name="connsiteY124" fmla="*/ 361843 h 6555999"/>
              <a:gd name="connsiteX125" fmla="*/ 8274337 w 8636594"/>
              <a:gd name="connsiteY125" fmla="*/ 327107 h 6555999"/>
              <a:gd name="connsiteX126" fmla="*/ 8309147 w 8636594"/>
              <a:gd name="connsiteY126" fmla="*/ 292718 h 6555999"/>
              <a:gd name="connsiteX127" fmla="*/ 8344256 w 8636594"/>
              <a:gd name="connsiteY127" fmla="*/ 258685 h 6555999"/>
              <a:gd name="connsiteX128" fmla="*/ 8379669 w 8636594"/>
              <a:gd name="connsiteY128" fmla="*/ 225013 h 6555999"/>
              <a:gd name="connsiteX129" fmla="*/ 8415394 w 8636594"/>
              <a:gd name="connsiteY129" fmla="*/ 191709 h 6555999"/>
              <a:gd name="connsiteX130" fmla="*/ 8451434 w 8636594"/>
              <a:gd name="connsiteY130" fmla="*/ 158780 h 6555999"/>
              <a:gd name="connsiteX131" fmla="*/ 8487798 w 8636594"/>
              <a:gd name="connsiteY131" fmla="*/ 126233 h 6555999"/>
              <a:gd name="connsiteX132" fmla="*/ 8524489 w 8636594"/>
              <a:gd name="connsiteY132" fmla="*/ 94075 h 6555999"/>
              <a:gd name="connsiteX133" fmla="*/ 8561515 w 8636594"/>
              <a:gd name="connsiteY133" fmla="*/ 62312 h 6555999"/>
              <a:gd name="connsiteX134" fmla="*/ 8598881 w 8636594"/>
              <a:gd name="connsiteY134" fmla="*/ 30951 h 6555999"/>
              <a:gd name="connsiteX135" fmla="*/ 8636594 w 8636594"/>
              <a:gd name="connsiteY135" fmla="*/ 0 h 6555999"/>
              <a:gd name="connsiteX0" fmla="*/ 8636594 w 8636594"/>
              <a:gd name="connsiteY0" fmla="*/ 0 h 6543344"/>
              <a:gd name="connsiteX1" fmla="*/ 5293 w 8636594"/>
              <a:gd name="connsiteY1" fmla="*/ 0 h 6543344"/>
              <a:gd name="connsiteX2" fmla="*/ 0 w 8636594"/>
              <a:gd name="connsiteY2" fmla="*/ 5587843 h 6543344"/>
              <a:gd name="connsiteX3" fmla="*/ 1594033 w 8636594"/>
              <a:gd name="connsiteY3" fmla="*/ 5600057 h 6543344"/>
              <a:gd name="connsiteX4" fmla="*/ 1686068 w 8636594"/>
              <a:gd name="connsiteY4" fmla="*/ 5599745 h 6543344"/>
              <a:gd name="connsiteX5" fmla="*/ 2472299 w 8636594"/>
              <a:gd name="connsiteY5" fmla="*/ 6543344 h 6543344"/>
              <a:gd name="connsiteX6" fmla="*/ 2527618 w 8636594"/>
              <a:gd name="connsiteY6" fmla="*/ 6530269 h 6543344"/>
              <a:gd name="connsiteX7" fmla="*/ 2582304 w 8636594"/>
              <a:gd name="connsiteY7" fmla="*/ 6516778 h 6543344"/>
              <a:gd name="connsiteX8" fmla="*/ 2636364 w 8636594"/>
              <a:gd name="connsiteY8" fmla="*/ 6502876 h 6543344"/>
              <a:gd name="connsiteX9" fmla="*/ 2689804 w 8636594"/>
              <a:gd name="connsiteY9" fmla="*/ 6488565 h 6543344"/>
              <a:gd name="connsiteX10" fmla="*/ 2742629 w 8636594"/>
              <a:gd name="connsiteY10" fmla="*/ 6473849 h 6543344"/>
              <a:gd name="connsiteX11" fmla="*/ 2794848 w 8636594"/>
              <a:gd name="connsiteY11" fmla="*/ 6458731 h 6543344"/>
              <a:gd name="connsiteX12" fmla="*/ 2846466 w 8636594"/>
              <a:gd name="connsiteY12" fmla="*/ 6443216 h 6543344"/>
              <a:gd name="connsiteX13" fmla="*/ 2897488 w 8636594"/>
              <a:gd name="connsiteY13" fmla="*/ 6427305 h 6543344"/>
              <a:gd name="connsiteX14" fmla="*/ 2947923 w 8636594"/>
              <a:gd name="connsiteY14" fmla="*/ 6411004 h 6543344"/>
              <a:gd name="connsiteX15" fmla="*/ 2997775 w 8636594"/>
              <a:gd name="connsiteY15" fmla="*/ 6394316 h 6543344"/>
              <a:gd name="connsiteX16" fmla="*/ 3047052 w 8636594"/>
              <a:gd name="connsiteY16" fmla="*/ 6377243 h 6543344"/>
              <a:gd name="connsiteX17" fmla="*/ 3095759 w 8636594"/>
              <a:gd name="connsiteY17" fmla="*/ 6359791 h 6543344"/>
              <a:gd name="connsiteX18" fmla="*/ 3143903 w 8636594"/>
              <a:gd name="connsiteY18" fmla="*/ 6341961 h 6543344"/>
              <a:gd name="connsiteX19" fmla="*/ 3191491 w 8636594"/>
              <a:gd name="connsiteY19" fmla="*/ 6323757 h 6543344"/>
              <a:gd name="connsiteX20" fmla="*/ 3238528 w 8636594"/>
              <a:gd name="connsiteY20" fmla="*/ 6305184 h 6543344"/>
              <a:gd name="connsiteX21" fmla="*/ 3285021 w 8636594"/>
              <a:gd name="connsiteY21" fmla="*/ 6286245 h 6543344"/>
              <a:gd name="connsiteX22" fmla="*/ 3330977 w 8636594"/>
              <a:gd name="connsiteY22" fmla="*/ 6266942 h 6543344"/>
              <a:gd name="connsiteX23" fmla="*/ 3376401 w 8636594"/>
              <a:gd name="connsiteY23" fmla="*/ 6247281 h 6543344"/>
              <a:gd name="connsiteX24" fmla="*/ 3421300 w 8636594"/>
              <a:gd name="connsiteY24" fmla="*/ 6227263 h 6543344"/>
              <a:gd name="connsiteX25" fmla="*/ 3465680 w 8636594"/>
              <a:gd name="connsiteY25" fmla="*/ 6206893 h 6543344"/>
              <a:gd name="connsiteX26" fmla="*/ 3509548 w 8636594"/>
              <a:gd name="connsiteY26" fmla="*/ 6186174 h 6543344"/>
              <a:gd name="connsiteX27" fmla="*/ 3552910 w 8636594"/>
              <a:gd name="connsiteY27" fmla="*/ 6165110 h 6543344"/>
              <a:gd name="connsiteX28" fmla="*/ 3595773 w 8636594"/>
              <a:gd name="connsiteY28" fmla="*/ 6143704 h 6543344"/>
              <a:gd name="connsiteX29" fmla="*/ 3638142 w 8636594"/>
              <a:gd name="connsiteY29" fmla="*/ 6121960 h 6543344"/>
              <a:gd name="connsiteX30" fmla="*/ 3680024 w 8636594"/>
              <a:gd name="connsiteY30" fmla="*/ 6099881 h 6543344"/>
              <a:gd name="connsiteX31" fmla="*/ 3721426 w 8636594"/>
              <a:gd name="connsiteY31" fmla="*/ 6077471 h 6543344"/>
              <a:gd name="connsiteX32" fmla="*/ 3762353 w 8636594"/>
              <a:gd name="connsiteY32" fmla="*/ 6054733 h 6543344"/>
              <a:gd name="connsiteX33" fmla="*/ 3802812 w 8636594"/>
              <a:gd name="connsiteY33" fmla="*/ 6031671 h 6543344"/>
              <a:gd name="connsiteX34" fmla="*/ 3842810 w 8636594"/>
              <a:gd name="connsiteY34" fmla="*/ 6008288 h 6543344"/>
              <a:gd name="connsiteX35" fmla="*/ 3882352 w 8636594"/>
              <a:gd name="connsiteY35" fmla="*/ 5984588 h 6543344"/>
              <a:gd name="connsiteX36" fmla="*/ 3921445 w 8636594"/>
              <a:gd name="connsiteY36" fmla="*/ 5960574 h 6543344"/>
              <a:gd name="connsiteX37" fmla="*/ 3960096 w 8636594"/>
              <a:gd name="connsiteY37" fmla="*/ 5936250 h 6543344"/>
              <a:gd name="connsiteX38" fmla="*/ 3998311 w 8636594"/>
              <a:gd name="connsiteY38" fmla="*/ 5911619 h 6543344"/>
              <a:gd name="connsiteX39" fmla="*/ 4036095 w 8636594"/>
              <a:gd name="connsiteY39" fmla="*/ 5886685 h 6543344"/>
              <a:gd name="connsiteX40" fmla="*/ 4073456 w 8636594"/>
              <a:gd name="connsiteY40" fmla="*/ 5861452 h 6543344"/>
              <a:gd name="connsiteX41" fmla="*/ 4110400 w 8636594"/>
              <a:gd name="connsiteY41" fmla="*/ 5835922 h 6543344"/>
              <a:gd name="connsiteX42" fmla="*/ 4146933 w 8636594"/>
              <a:gd name="connsiteY42" fmla="*/ 5810100 h 6543344"/>
              <a:gd name="connsiteX43" fmla="*/ 4183061 w 8636594"/>
              <a:gd name="connsiteY43" fmla="*/ 5783988 h 6543344"/>
              <a:gd name="connsiteX44" fmla="*/ 4218791 w 8636594"/>
              <a:gd name="connsiteY44" fmla="*/ 5757591 h 6543344"/>
              <a:gd name="connsiteX45" fmla="*/ 4254129 w 8636594"/>
              <a:gd name="connsiteY45" fmla="*/ 5730912 h 6543344"/>
              <a:gd name="connsiteX46" fmla="*/ 4289081 w 8636594"/>
              <a:gd name="connsiteY46" fmla="*/ 5703955 h 6543344"/>
              <a:gd name="connsiteX47" fmla="*/ 4323654 w 8636594"/>
              <a:gd name="connsiteY47" fmla="*/ 5676722 h 6543344"/>
              <a:gd name="connsiteX48" fmla="*/ 4357854 w 8636594"/>
              <a:gd name="connsiteY48" fmla="*/ 5649218 h 6543344"/>
              <a:gd name="connsiteX49" fmla="*/ 4391688 w 8636594"/>
              <a:gd name="connsiteY49" fmla="*/ 5621446 h 6543344"/>
              <a:gd name="connsiteX50" fmla="*/ 4425162 w 8636594"/>
              <a:gd name="connsiteY50" fmla="*/ 5593409 h 6543344"/>
              <a:gd name="connsiteX51" fmla="*/ 4458281 w 8636594"/>
              <a:gd name="connsiteY51" fmla="*/ 5565111 h 6543344"/>
              <a:gd name="connsiteX52" fmla="*/ 4491053 w 8636594"/>
              <a:gd name="connsiteY52" fmla="*/ 5536556 h 6543344"/>
              <a:gd name="connsiteX53" fmla="*/ 4523484 w 8636594"/>
              <a:gd name="connsiteY53" fmla="*/ 5507747 h 6543344"/>
              <a:gd name="connsiteX54" fmla="*/ 4555580 w 8636594"/>
              <a:gd name="connsiteY54" fmla="*/ 5478687 h 6543344"/>
              <a:gd name="connsiteX55" fmla="*/ 4587347 w 8636594"/>
              <a:gd name="connsiteY55" fmla="*/ 5449380 h 6543344"/>
              <a:gd name="connsiteX56" fmla="*/ 4618793 w 8636594"/>
              <a:gd name="connsiteY56" fmla="*/ 5419830 h 6543344"/>
              <a:gd name="connsiteX57" fmla="*/ 4649922 w 8636594"/>
              <a:gd name="connsiteY57" fmla="*/ 5390040 h 6543344"/>
              <a:gd name="connsiteX58" fmla="*/ 4680742 w 8636594"/>
              <a:gd name="connsiteY58" fmla="*/ 5360014 h 6543344"/>
              <a:gd name="connsiteX59" fmla="*/ 4711259 w 8636594"/>
              <a:gd name="connsiteY59" fmla="*/ 5329755 h 6543344"/>
              <a:gd name="connsiteX60" fmla="*/ 4741478 w 8636594"/>
              <a:gd name="connsiteY60" fmla="*/ 5299266 h 6543344"/>
              <a:gd name="connsiteX61" fmla="*/ 4771408 w 8636594"/>
              <a:gd name="connsiteY61" fmla="*/ 5268551 h 6543344"/>
              <a:gd name="connsiteX62" fmla="*/ 4801053 w 8636594"/>
              <a:gd name="connsiteY62" fmla="*/ 5237614 h 6543344"/>
              <a:gd name="connsiteX63" fmla="*/ 4830420 w 8636594"/>
              <a:gd name="connsiteY63" fmla="*/ 5206458 h 6543344"/>
              <a:gd name="connsiteX64" fmla="*/ 4859516 w 8636594"/>
              <a:gd name="connsiteY64" fmla="*/ 5175087 h 6543344"/>
              <a:gd name="connsiteX65" fmla="*/ 4888347 w 8636594"/>
              <a:gd name="connsiteY65" fmla="*/ 5143504 h 6543344"/>
              <a:gd name="connsiteX66" fmla="*/ 4916919 w 8636594"/>
              <a:gd name="connsiteY66" fmla="*/ 5111713 h 6543344"/>
              <a:gd name="connsiteX67" fmla="*/ 4945238 w 8636594"/>
              <a:gd name="connsiteY67" fmla="*/ 5079717 h 6543344"/>
              <a:gd name="connsiteX68" fmla="*/ 4973311 w 8636594"/>
              <a:gd name="connsiteY68" fmla="*/ 5047519 h 6543344"/>
              <a:gd name="connsiteX69" fmla="*/ 5001145 w 8636594"/>
              <a:gd name="connsiteY69" fmla="*/ 5015124 h 6543344"/>
              <a:gd name="connsiteX70" fmla="*/ 5028745 w 8636594"/>
              <a:gd name="connsiteY70" fmla="*/ 4982535 h 6543344"/>
              <a:gd name="connsiteX71" fmla="*/ 5056117 w 8636594"/>
              <a:gd name="connsiteY71" fmla="*/ 4949755 h 6543344"/>
              <a:gd name="connsiteX72" fmla="*/ 5083269 w 8636594"/>
              <a:gd name="connsiteY72" fmla="*/ 4916787 h 6543344"/>
              <a:gd name="connsiteX73" fmla="*/ 5110207 w 8636594"/>
              <a:gd name="connsiteY73" fmla="*/ 4883636 h 6543344"/>
              <a:gd name="connsiteX74" fmla="*/ 5136937 w 8636594"/>
              <a:gd name="connsiteY74" fmla="*/ 4850305 h 6543344"/>
              <a:gd name="connsiteX75" fmla="*/ 5163464 w 8636594"/>
              <a:gd name="connsiteY75" fmla="*/ 4816797 h 6543344"/>
              <a:gd name="connsiteX76" fmla="*/ 5215940 w 8636594"/>
              <a:gd name="connsiteY76" fmla="*/ 4749265 h 6543344"/>
              <a:gd name="connsiteX77" fmla="*/ 5267684 w 8636594"/>
              <a:gd name="connsiteY77" fmla="*/ 4681068 h 6543344"/>
              <a:gd name="connsiteX78" fmla="*/ 5318748 w 8636594"/>
              <a:gd name="connsiteY78" fmla="*/ 4612234 h 6543344"/>
              <a:gd name="connsiteX79" fmla="*/ 5369182 w 8636594"/>
              <a:gd name="connsiteY79" fmla="*/ 4542793 h 6543344"/>
              <a:gd name="connsiteX80" fmla="*/ 5419038 w 8636594"/>
              <a:gd name="connsiteY80" fmla="*/ 4472771 h 6543344"/>
              <a:gd name="connsiteX81" fmla="*/ 5468365 w 8636594"/>
              <a:gd name="connsiteY81" fmla="*/ 4402196 h 6543344"/>
              <a:gd name="connsiteX82" fmla="*/ 5517215 w 8636594"/>
              <a:gd name="connsiteY82" fmla="*/ 4331098 h 6543344"/>
              <a:gd name="connsiteX83" fmla="*/ 5565637 w 8636594"/>
              <a:gd name="connsiteY83" fmla="*/ 4259503 h 6543344"/>
              <a:gd name="connsiteX84" fmla="*/ 5613684 w 8636594"/>
              <a:gd name="connsiteY84" fmla="*/ 4187441 h 6543344"/>
              <a:gd name="connsiteX85" fmla="*/ 5685160 w 8636594"/>
              <a:gd name="connsiteY85" fmla="*/ 4078531 h 6543344"/>
              <a:gd name="connsiteX86" fmla="*/ 5756074 w 8636594"/>
              <a:gd name="connsiteY86" fmla="*/ 3968727 h 6543344"/>
              <a:gd name="connsiteX87" fmla="*/ 5873483 w 8636594"/>
              <a:gd name="connsiteY87" fmla="*/ 3783989 h 6543344"/>
              <a:gd name="connsiteX88" fmla="*/ 6203209 w 8636594"/>
              <a:gd name="connsiteY88" fmla="*/ 3258640 h 6543344"/>
              <a:gd name="connsiteX89" fmla="*/ 6299430 w 8636594"/>
              <a:gd name="connsiteY89" fmla="*/ 3107321 h 6543344"/>
              <a:gd name="connsiteX90" fmla="*/ 6372650 w 8636594"/>
              <a:gd name="connsiteY90" fmla="*/ 2993735 h 6543344"/>
              <a:gd name="connsiteX91" fmla="*/ 6453197 w 8636594"/>
              <a:gd name="connsiteY91" fmla="*/ 2869788 h 6543344"/>
              <a:gd name="connsiteX92" fmla="*/ 6564167 w 8636594"/>
              <a:gd name="connsiteY92" fmla="*/ 2696807 h 6543344"/>
              <a:gd name="connsiteX93" fmla="*/ 6976233 w 8636594"/>
              <a:gd name="connsiteY93" fmla="*/ 2045274 h 6543344"/>
              <a:gd name="connsiteX94" fmla="*/ 7086755 w 8636594"/>
              <a:gd name="connsiteY94" fmla="*/ 1872743 h 6543344"/>
              <a:gd name="connsiteX95" fmla="*/ 7170279 w 8636594"/>
              <a:gd name="connsiteY95" fmla="*/ 1744202 h 6543344"/>
              <a:gd name="connsiteX96" fmla="*/ 7226351 w 8636594"/>
              <a:gd name="connsiteY96" fmla="*/ 1659017 h 6543344"/>
              <a:gd name="connsiteX97" fmla="*/ 7282789 w 8636594"/>
              <a:gd name="connsiteY97" fmla="*/ 1574303 h 6543344"/>
              <a:gd name="connsiteX98" fmla="*/ 7339643 w 8636594"/>
              <a:gd name="connsiteY98" fmla="*/ 1490113 h 6543344"/>
              <a:gd name="connsiteX99" fmla="*/ 7396957 w 8636594"/>
              <a:gd name="connsiteY99" fmla="*/ 1406503 h 6543344"/>
              <a:gd name="connsiteX100" fmla="*/ 7454781 w 8636594"/>
              <a:gd name="connsiteY100" fmla="*/ 1323526 h 6543344"/>
              <a:gd name="connsiteX101" fmla="*/ 7513161 w 8636594"/>
              <a:gd name="connsiteY101" fmla="*/ 1241237 h 6543344"/>
              <a:gd name="connsiteX102" fmla="*/ 7572144 w 8636594"/>
              <a:gd name="connsiteY102" fmla="*/ 1159689 h 6543344"/>
              <a:gd name="connsiteX103" fmla="*/ 7601877 w 8636594"/>
              <a:gd name="connsiteY103" fmla="*/ 1119210 h 6543344"/>
              <a:gd name="connsiteX104" fmla="*/ 7631779 w 8636594"/>
              <a:gd name="connsiteY104" fmla="*/ 1078937 h 6543344"/>
              <a:gd name="connsiteX105" fmla="*/ 7661855 w 8636594"/>
              <a:gd name="connsiteY105" fmla="*/ 1038876 h 6543344"/>
              <a:gd name="connsiteX106" fmla="*/ 7692111 w 8636594"/>
              <a:gd name="connsiteY106" fmla="*/ 999035 h 6543344"/>
              <a:gd name="connsiteX107" fmla="*/ 7722554 w 8636594"/>
              <a:gd name="connsiteY107" fmla="*/ 959419 h 6543344"/>
              <a:gd name="connsiteX108" fmla="*/ 7753190 w 8636594"/>
              <a:gd name="connsiteY108" fmla="*/ 920037 h 6543344"/>
              <a:gd name="connsiteX109" fmla="*/ 7784023 w 8636594"/>
              <a:gd name="connsiteY109" fmla="*/ 880894 h 6543344"/>
              <a:gd name="connsiteX110" fmla="*/ 7815061 w 8636594"/>
              <a:gd name="connsiteY110" fmla="*/ 841997 h 6543344"/>
              <a:gd name="connsiteX111" fmla="*/ 7846308 w 8636594"/>
              <a:gd name="connsiteY111" fmla="*/ 803354 h 6543344"/>
              <a:gd name="connsiteX112" fmla="*/ 7877772 w 8636594"/>
              <a:gd name="connsiteY112" fmla="*/ 764970 h 6543344"/>
              <a:gd name="connsiteX113" fmla="*/ 7909458 w 8636594"/>
              <a:gd name="connsiteY113" fmla="*/ 726853 h 6543344"/>
              <a:gd name="connsiteX114" fmla="*/ 7941371 w 8636594"/>
              <a:gd name="connsiteY114" fmla="*/ 689010 h 6543344"/>
              <a:gd name="connsiteX115" fmla="*/ 7973518 w 8636594"/>
              <a:gd name="connsiteY115" fmla="*/ 651447 h 6543344"/>
              <a:gd name="connsiteX116" fmla="*/ 8005905 w 8636594"/>
              <a:gd name="connsiteY116" fmla="*/ 614171 h 6543344"/>
              <a:gd name="connsiteX117" fmla="*/ 8038538 w 8636594"/>
              <a:gd name="connsiteY117" fmla="*/ 577189 h 6543344"/>
              <a:gd name="connsiteX118" fmla="*/ 8071421 w 8636594"/>
              <a:gd name="connsiteY118" fmla="*/ 540507 h 6543344"/>
              <a:gd name="connsiteX119" fmla="*/ 8104563 w 8636594"/>
              <a:gd name="connsiteY119" fmla="*/ 504132 h 6543344"/>
              <a:gd name="connsiteX120" fmla="*/ 8137967 w 8636594"/>
              <a:gd name="connsiteY120" fmla="*/ 468072 h 6543344"/>
              <a:gd name="connsiteX121" fmla="*/ 8171641 w 8636594"/>
              <a:gd name="connsiteY121" fmla="*/ 432332 h 6543344"/>
              <a:gd name="connsiteX122" fmla="*/ 8205590 w 8636594"/>
              <a:gd name="connsiteY122" fmla="*/ 396920 h 6543344"/>
              <a:gd name="connsiteX123" fmla="*/ 8239820 w 8636594"/>
              <a:gd name="connsiteY123" fmla="*/ 361843 h 6543344"/>
              <a:gd name="connsiteX124" fmla="*/ 8274337 w 8636594"/>
              <a:gd name="connsiteY124" fmla="*/ 327107 h 6543344"/>
              <a:gd name="connsiteX125" fmla="*/ 8309147 w 8636594"/>
              <a:gd name="connsiteY125" fmla="*/ 292718 h 6543344"/>
              <a:gd name="connsiteX126" fmla="*/ 8344256 w 8636594"/>
              <a:gd name="connsiteY126" fmla="*/ 258685 h 6543344"/>
              <a:gd name="connsiteX127" fmla="*/ 8379669 w 8636594"/>
              <a:gd name="connsiteY127" fmla="*/ 225013 h 6543344"/>
              <a:gd name="connsiteX128" fmla="*/ 8415394 w 8636594"/>
              <a:gd name="connsiteY128" fmla="*/ 191709 h 6543344"/>
              <a:gd name="connsiteX129" fmla="*/ 8451434 w 8636594"/>
              <a:gd name="connsiteY129" fmla="*/ 158780 h 6543344"/>
              <a:gd name="connsiteX130" fmla="*/ 8487798 w 8636594"/>
              <a:gd name="connsiteY130" fmla="*/ 126233 h 6543344"/>
              <a:gd name="connsiteX131" fmla="*/ 8524489 w 8636594"/>
              <a:gd name="connsiteY131" fmla="*/ 94075 h 6543344"/>
              <a:gd name="connsiteX132" fmla="*/ 8561515 w 8636594"/>
              <a:gd name="connsiteY132" fmla="*/ 62312 h 6543344"/>
              <a:gd name="connsiteX133" fmla="*/ 8598881 w 8636594"/>
              <a:gd name="connsiteY133" fmla="*/ 30951 h 6543344"/>
              <a:gd name="connsiteX134" fmla="*/ 8636594 w 8636594"/>
              <a:gd name="connsiteY134" fmla="*/ 0 h 6543344"/>
              <a:gd name="connsiteX0" fmla="*/ 8636594 w 8636594"/>
              <a:gd name="connsiteY0" fmla="*/ 0 h 6530269"/>
              <a:gd name="connsiteX1" fmla="*/ 5293 w 8636594"/>
              <a:gd name="connsiteY1" fmla="*/ 0 h 6530269"/>
              <a:gd name="connsiteX2" fmla="*/ 0 w 8636594"/>
              <a:gd name="connsiteY2" fmla="*/ 5587843 h 6530269"/>
              <a:gd name="connsiteX3" fmla="*/ 1594033 w 8636594"/>
              <a:gd name="connsiteY3" fmla="*/ 5600057 h 6530269"/>
              <a:gd name="connsiteX4" fmla="*/ 1686068 w 8636594"/>
              <a:gd name="connsiteY4" fmla="*/ 5599745 h 6530269"/>
              <a:gd name="connsiteX5" fmla="*/ 2527618 w 8636594"/>
              <a:gd name="connsiteY5" fmla="*/ 6530269 h 6530269"/>
              <a:gd name="connsiteX6" fmla="*/ 2582304 w 8636594"/>
              <a:gd name="connsiteY6" fmla="*/ 6516778 h 6530269"/>
              <a:gd name="connsiteX7" fmla="*/ 2636364 w 8636594"/>
              <a:gd name="connsiteY7" fmla="*/ 6502876 h 6530269"/>
              <a:gd name="connsiteX8" fmla="*/ 2689804 w 8636594"/>
              <a:gd name="connsiteY8" fmla="*/ 6488565 h 6530269"/>
              <a:gd name="connsiteX9" fmla="*/ 2742629 w 8636594"/>
              <a:gd name="connsiteY9" fmla="*/ 6473849 h 6530269"/>
              <a:gd name="connsiteX10" fmla="*/ 2794848 w 8636594"/>
              <a:gd name="connsiteY10" fmla="*/ 6458731 h 6530269"/>
              <a:gd name="connsiteX11" fmla="*/ 2846466 w 8636594"/>
              <a:gd name="connsiteY11" fmla="*/ 6443216 h 6530269"/>
              <a:gd name="connsiteX12" fmla="*/ 2897488 w 8636594"/>
              <a:gd name="connsiteY12" fmla="*/ 6427305 h 6530269"/>
              <a:gd name="connsiteX13" fmla="*/ 2947923 w 8636594"/>
              <a:gd name="connsiteY13" fmla="*/ 6411004 h 6530269"/>
              <a:gd name="connsiteX14" fmla="*/ 2997775 w 8636594"/>
              <a:gd name="connsiteY14" fmla="*/ 6394316 h 6530269"/>
              <a:gd name="connsiteX15" fmla="*/ 3047052 w 8636594"/>
              <a:gd name="connsiteY15" fmla="*/ 6377243 h 6530269"/>
              <a:gd name="connsiteX16" fmla="*/ 3095759 w 8636594"/>
              <a:gd name="connsiteY16" fmla="*/ 6359791 h 6530269"/>
              <a:gd name="connsiteX17" fmla="*/ 3143903 w 8636594"/>
              <a:gd name="connsiteY17" fmla="*/ 6341961 h 6530269"/>
              <a:gd name="connsiteX18" fmla="*/ 3191491 w 8636594"/>
              <a:gd name="connsiteY18" fmla="*/ 6323757 h 6530269"/>
              <a:gd name="connsiteX19" fmla="*/ 3238528 w 8636594"/>
              <a:gd name="connsiteY19" fmla="*/ 6305184 h 6530269"/>
              <a:gd name="connsiteX20" fmla="*/ 3285021 w 8636594"/>
              <a:gd name="connsiteY20" fmla="*/ 6286245 h 6530269"/>
              <a:gd name="connsiteX21" fmla="*/ 3330977 w 8636594"/>
              <a:gd name="connsiteY21" fmla="*/ 6266942 h 6530269"/>
              <a:gd name="connsiteX22" fmla="*/ 3376401 w 8636594"/>
              <a:gd name="connsiteY22" fmla="*/ 6247281 h 6530269"/>
              <a:gd name="connsiteX23" fmla="*/ 3421300 w 8636594"/>
              <a:gd name="connsiteY23" fmla="*/ 6227263 h 6530269"/>
              <a:gd name="connsiteX24" fmla="*/ 3465680 w 8636594"/>
              <a:gd name="connsiteY24" fmla="*/ 6206893 h 6530269"/>
              <a:gd name="connsiteX25" fmla="*/ 3509548 w 8636594"/>
              <a:gd name="connsiteY25" fmla="*/ 6186174 h 6530269"/>
              <a:gd name="connsiteX26" fmla="*/ 3552910 w 8636594"/>
              <a:gd name="connsiteY26" fmla="*/ 6165110 h 6530269"/>
              <a:gd name="connsiteX27" fmla="*/ 3595773 w 8636594"/>
              <a:gd name="connsiteY27" fmla="*/ 6143704 h 6530269"/>
              <a:gd name="connsiteX28" fmla="*/ 3638142 w 8636594"/>
              <a:gd name="connsiteY28" fmla="*/ 6121960 h 6530269"/>
              <a:gd name="connsiteX29" fmla="*/ 3680024 w 8636594"/>
              <a:gd name="connsiteY29" fmla="*/ 6099881 h 6530269"/>
              <a:gd name="connsiteX30" fmla="*/ 3721426 w 8636594"/>
              <a:gd name="connsiteY30" fmla="*/ 6077471 h 6530269"/>
              <a:gd name="connsiteX31" fmla="*/ 3762353 w 8636594"/>
              <a:gd name="connsiteY31" fmla="*/ 6054733 h 6530269"/>
              <a:gd name="connsiteX32" fmla="*/ 3802812 w 8636594"/>
              <a:gd name="connsiteY32" fmla="*/ 6031671 h 6530269"/>
              <a:gd name="connsiteX33" fmla="*/ 3842810 w 8636594"/>
              <a:gd name="connsiteY33" fmla="*/ 6008288 h 6530269"/>
              <a:gd name="connsiteX34" fmla="*/ 3882352 w 8636594"/>
              <a:gd name="connsiteY34" fmla="*/ 5984588 h 6530269"/>
              <a:gd name="connsiteX35" fmla="*/ 3921445 w 8636594"/>
              <a:gd name="connsiteY35" fmla="*/ 5960574 h 6530269"/>
              <a:gd name="connsiteX36" fmla="*/ 3960096 w 8636594"/>
              <a:gd name="connsiteY36" fmla="*/ 5936250 h 6530269"/>
              <a:gd name="connsiteX37" fmla="*/ 3998311 w 8636594"/>
              <a:gd name="connsiteY37" fmla="*/ 5911619 h 6530269"/>
              <a:gd name="connsiteX38" fmla="*/ 4036095 w 8636594"/>
              <a:gd name="connsiteY38" fmla="*/ 5886685 h 6530269"/>
              <a:gd name="connsiteX39" fmla="*/ 4073456 w 8636594"/>
              <a:gd name="connsiteY39" fmla="*/ 5861452 h 6530269"/>
              <a:gd name="connsiteX40" fmla="*/ 4110400 w 8636594"/>
              <a:gd name="connsiteY40" fmla="*/ 5835922 h 6530269"/>
              <a:gd name="connsiteX41" fmla="*/ 4146933 w 8636594"/>
              <a:gd name="connsiteY41" fmla="*/ 5810100 h 6530269"/>
              <a:gd name="connsiteX42" fmla="*/ 4183061 w 8636594"/>
              <a:gd name="connsiteY42" fmla="*/ 5783988 h 6530269"/>
              <a:gd name="connsiteX43" fmla="*/ 4218791 w 8636594"/>
              <a:gd name="connsiteY43" fmla="*/ 5757591 h 6530269"/>
              <a:gd name="connsiteX44" fmla="*/ 4254129 w 8636594"/>
              <a:gd name="connsiteY44" fmla="*/ 5730912 h 6530269"/>
              <a:gd name="connsiteX45" fmla="*/ 4289081 w 8636594"/>
              <a:gd name="connsiteY45" fmla="*/ 5703955 h 6530269"/>
              <a:gd name="connsiteX46" fmla="*/ 4323654 w 8636594"/>
              <a:gd name="connsiteY46" fmla="*/ 5676722 h 6530269"/>
              <a:gd name="connsiteX47" fmla="*/ 4357854 w 8636594"/>
              <a:gd name="connsiteY47" fmla="*/ 5649218 h 6530269"/>
              <a:gd name="connsiteX48" fmla="*/ 4391688 w 8636594"/>
              <a:gd name="connsiteY48" fmla="*/ 5621446 h 6530269"/>
              <a:gd name="connsiteX49" fmla="*/ 4425162 w 8636594"/>
              <a:gd name="connsiteY49" fmla="*/ 5593409 h 6530269"/>
              <a:gd name="connsiteX50" fmla="*/ 4458281 w 8636594"/>
              <a:gd name="connsiteY50" fmla="*/ 5565111 h 6530269"/>
              <a:gd name="connsiteX51" fmla="*/ 4491053 w 8636594"/>
              <a:gd name="connsiteY51" fmla="*/ 5536556 h 6530269"/>
              <a:gd name="connsiteX52" fmla="*/ 4523484 w 8636594"/>
              <a:gd name="connsiteY52" fmla="*/ 5507747 h 6530269"/>
              <a:gd name="connsiteX53" fmla="*/ 4555580 w 8636594"/>
              <a:gd name="connsiteY53" fmla="*/ 5478687 h 6530269"/>
              <a:gd name="connsiteX54" fmla="*/ 4587347 w 8636594"/>
              <a:gd name="connsiteY54" fmla="*/ 5449380 h 6530269"/>
              <a:gd name="connsiteX55" fmla="*/ 4618793 w 8636594"/>
              <a:gd name="connsiteY55" fmla="*/ 5419830 h 6530269"/>
              <a:gd name="connsiteX56" fmla="*/ 4649922 w 8636594"/>
              <a:gd name="connsiteY56" fmla="*/ 5390040 h 6530269"/>
              <a:gd name="connsiteX57" fmla="*/ 4680742 w 8636594"/>
              <a:gd name="connsiteY57" fmla="*/ 5360014 h 6530269"/>
              <a:gd name="connsiteX58" fmla="*/ 4711259 w 8636594"/>
              <a:gd name="connsiteY58" fmla="*/ 5329755 h 6530269"/>
              <a:gd name="connsiteX59" fmla="*/ 4741478 w 8636594"/>
              <a:gd name="connsiteY59" fmla="*/ 5299266 h 6530269"/>
              <a:gd name="connsiteX60" fmla="*/ 4771408 w 8636594"/>
              <a:gd name="connsiteY60" fmla="*/ 5268551 h 6530269"/>
              <a:gd name="connsiteX61" fmla="*/ 4801053 w 8636594"/>
              <a:gd name="connsiteY61" fmla="*/ 5237614 h 6530269"/>
              <a:gd name="connsiteX62" fmla="*/ 4830420 w 8636594"/>
              <a:gd name="connsiteY62" fmla="*/ 5206458 h 6530269"/>
              <a:gd name="connsiteX63" fmla="*/ 4859516 w 8636594"/>
              <a:gd name="connsiteY63" fmla="*/ 5175087 h 6530269"/>
              <a:gd name="connsiteX64" fmla="*/ 4888347 w 8636594"/>
              <a:gd name="connsiteY64" fmla="*/ 5143504 h 6530269"/>
              <a:gd name="connsiteX65" fmla="*/ 4916919 w 8636594"/>
              <a:gd name="connsiteY65" fmla="*/ 5111713 h 6530269"/>
              <a:gd name="connsiteX66" fmla="*/ 4945238 w 8636594"/>
              <a:gd name="connsiteY66" fmla="*/ 5079717 h 6530269"/>
              <a:gd name="connsiteX67" fmla="*/ 4973311 w 8636594"/>
              <a:gd name="connsiteY67" fmla="*/ 5047519 h 6530269"/>
              <a:gd name="connsiteX68" fmla="*/ 5001145 w 8636594"/>
              <a:gd name="connsiteY68" fmla="*/ 5015124 h 6530269"/>
              <a:gd name="connsiteX69" fmla="*/ 5028745 w 8636594"/>
              <a:gd name="connsiteY69" fmla="*/ 4982535 h 6530269"/>
              <a:gd name="connsiteX70" fmla="*/ 5056117 w 8636594"/>
              <a:gd name="connsiteY70" fmla="*/ 4949755 h 6530269"/>
              <a:gd name="connsiteX71" fmla="*/ 5083269 w 8636594"/>
              <a:gd name="connsiteY71" fmla="*/ 4916787 h 6530269"/>
              <a:gd name="connsiteX72" fmla="*/ 5110207 w 8636594"/>
              <a:gd name="connsiteY72" fmla="*/ 4883636 h 6530269"/>
              <a:gd name="connsiteX73" fmla="*/ 5136937 w 8636594"/>
              <a:gd name="connsiteY73" fmla="*/ 4850305 h 6530269"/>
              <a:gd name="connsiteX74" fmla="*/ 5163464 w 8636594"/>
              <a:gd name="connsiteY74" fmla="*/ 4816797 h 6530269"/>
              <a:gd name="connsiteX75" fmla="*/ 5215940 w 8636594"/>
              <a:gd name="connsiteY75" fmla="*/ 4749265 h 6530269"/>
              <a:gd name="connsiteX76" fmla="*/ 5267684 w 8636594"/>
              <a:gd name="connsiteY76" fmla="*/ 4681068 h 6530269"/>
              <a:gd name="connsiteX77" fmla="*/ 5318748 w 8636594"/>
              <a:gd name="connsiteY77" fmla="*/ 4612234 h 6530269"/>
              <a:gd name="connsiteX78" fmla="*/ 5369182 w 8636594"/>
              <a:gd name="connsiteY78" fmla="*/ 4542793 h 6530269"/>
              <a:gd name="connsiteX79" fmla="*/ 5419038 w 8636594"/>
              <a:gd name="connsiteY79" fmla="*/ 4472771 h 6530269"/>
              <a:gd name="connsiteX80" fmla="*/ 5468365 w 8636594"/>
              <a:gd name="connsiteY80" fmla="*/ 4402196 h 6530269"/>
              <a:gd name="connsiteX81" fmla="*/ 5517215 w 8636594"/>
              <a:gd name="connsiteY81" fmla="*/ 4331098 h 6530269"/>
              <a:gd name="connsiteX82" fmla="*/ 5565637 w 8636594"/>
              <a:gd name="connsiteY82" fmla="*/ 4259503 h 6530269"/>
              <a:gd name="connsiteX83" fmla="*/ 5613684 w 8636594"/>
              <a:gd name="connsiteY83" fmla="*/ 4187441 h 6530269"/>
              <a:gd name="connsiteX84" fmla="*/ 5685160 w 8636594"/>
              <a:gd name="connsiteY84" fmla="*/ 4078531 h 6530269"/>
              <a:gd name="connsiteX85" fmla="*/ 5756074 w 8636594"/>
              <a:gd name="connsiteY85" fmla="*/ 3968727 h 6530269"/>
              <a:gd name="connsiteX86" fmla="*/ 5873483 w 8636594"/>
              <a:gd name="connsiteY86" fmla="*/ 3783989 h 6530269"/>
              <a:gd name="connsiteX87" fmla="*/ 6203209 w 8636594"/>
              <a:gd name="connsiteY87" fmla="*/ 3258640 h 6530269"/>
              <a:gd name="connsiteX88" fmla="*/ 6299430 w 8636594"/>
              <a:gd name="connsiteY88" fmla="*/ 3107321 h 6530269"/>
              <a:gd name="connsiteX89" fmla="*/ 6372650 w 8636594"/>
              <a:gd name="connsiteY89" fmla="*/ 2993735 h 6530269"/>
              <a:gd name="connsiteX90" fmla="*/ 6453197 w 8636594"/>
              <a:gd name="connsiteY90" fmla="*/ 2869788 h 6530269"/>
              <a:gd name="connsiteX91" fmla="*/ 6564167 w 8636594"/>
              <a:gd name="connsiteY91" fmla="*/ 2696807 h 6530269"/>
              <a:gd name="connsiteX92" fmla="*/ 6976233 w 8636594"/>
              <a:gd name="connsiteY92" fmla="*/ 2045274 h 6530269"/>
              <a:gd name="connsiteX93" fmla="*/ 7086755 w 8636594"/>
              <a:gd name="connsiteY93" fmla="*/ 1872743 h 6530269"/>
              <a:gd name="connsiteX94" fmla="*/ 7170279 w 8636594"/>
              <a:gd name="connsiteY94" fmla="*/ 1744202 h 6530269"/>
              <a:gd name="connsiteX95" fmla="*/ 7226351 w 8636594"/>
              <a:gd name="connsiteY95" fmla="*/ 1659017 h 6530269"/>
              <a:gd name="connsiteX96" fmla="*/ 7282789 w 8636594"/>
              <a:gd name="connsiteY96" fmla="*/ 1574303 h 6530269"/>
              <a:gd name="connsiteX97" fmla="*/ 7339643 w 8636594"/>
              <a:gd name="connsiteY97" fmla="*/ 1490113 h 6530269"/>
              <a:gd name="connsiteX98" fmla="*/ 7396957 w 8636594"/>
              <a:gd name="connsiteY98" fmla="*/ 1406503 h 6530269"/>
              <a:gd name="connsiteX99" fmla="*/ 7454781 w 8636594"/>
              <a:gd name="connsiteY99" fmla="*/ 1323526 h 6530269"/>
              <a:gd name="connsiteX100" fmla="*/ 7513161 w 8636594"/>
              <a:gd name="connsiteY100" fmla="*/ 1241237 h 6530269"/>
              <a:gd name="connsiteX101" fmla="*/ 7572144 w 8636594"/>
              <a:gd name="connsiteY101" fmla="*/ 1159689 h 6530269"/>
              <a:gd name="connsiteX102" fmla="*/ 7601877 w 8636594"/>
              <a:gd name="connsiteY102" fmla="*/ 1119210 h 6530269"/>
              <a:gd name="connsiteX103" fmla="*/ 7631779 w 8636594"/>
              <a:gd name="connsiteY103" fmla="*/ 1078937 h 6530269"/>
              <a:gd name="connsiteX104" fmla="*/ 7661855 w 8636594"/>
              <a:gd name="connsiteY104" fmla="*/ 1038876 h 6530269"/>
              <a:gd name="connsiteX105" fmla="*/ 7692111 w 8636594"/>
              <a:gd name="connsiteY105" fmla="*/ 999035 h 6530269"/>
              <a:gd name="connsiteX106" fmla="*/ 7722554 w 8636594"/>
              <a:gd name="connsiteY106" fmla="*/ 959419 h 6530269"/>
              <a:gd name="connsiteX107" fmla="*/ 7753190 w 8636594"/>
              <a:gd name="connsiteY107" fmla="*/ 920037 h 6530269"/>
              <a:gd name="connsiteX108" fmla="*/ 7784023 w 8636594"/>
              <a:gd name="connsiteY108" fmla="*/ 880894 h 6530269"/>
              <a:gd name="connsiteX109" fmla="*/ 7815061 w 8636594"/>
              <a:gd name="connsiteY109" fmla="*/ 841997 h 6530269"/>
              <a:gd name="connsiteX110" fmla="*/ 7846308 w 8636594"/>
              <a:gd name="connsiteY110" fmla="*/ 803354 h 6530269"/>
              <a:gd name="connsiteX111" fmla="*/ 7877772 w 8636594"/>
              <a:gd name="connsiteY111" fmla="*/ 764970 h 6530269"/>
              <a:gd name="connsiteX112" fmla="*/ 7909458 w 8636594"/>
              <a:gd name="connsiteY112" fmla="*/ 726853 h 6530269"/>
              <a:gd name="connsiteX113" fmla="*/ 7941371 w 8636594"/>
              <a:gd name="connsiteY113" fmla="*/ 689010 h 6530269"/>
              <a:gd name="connsiteX114" fmla="*/ 7973518 w 8636594"/>
              <a:gd name="connsiteY114" fmla="*/ 651447 h 6530269"/>
              <a:gd name="connsiteX115" fmla="*/ 8005905 w 8636594"/>
              <a:gd name="connsiteY115" fmla="*/ 614171 h 6530269"/>
              <a:gd name="connsiteX116" fmla="*/ 8038538 w 8636594"/>
              <a:gd name="connsiteY116" fmla="*/ 577189 h 6530269"/>
              <a:gd name="connsiteX117" fmla="*/ 8071421 w 8636594"/>
              <a:gd name="connsiteY117" fmla="*/ 540507 h 6530269"/>
              <a:gd name="connsiteX118" fmla="*/ 8104563 w 8636594"/>
              <a:gd name="connsiteY118" fmla="*/ 504132 h 6530269"/>
              <a:gd name="connsiteX119" fmla="*/ 8137967 w 8636594"/>
              <a:gd name="connsiteY119" fmla="*/ 468072 h 6530269"/>
              <a:gd name="connsiteX120" fmla="*/ 8171641 w 8636594"/>
              <a:gd name="connsiteY120" fmla="*/ 432332 h 6530269"/>
              <a:gd name="connsiteX121" fmla="*/ 8205590 w 8636594"/>
              <a:gd name="connsiteY121" fmla="*/ 396920 h 6530269"/>
              <a:gd name="connsiteX122" fmla="*/ 8239820 w 8636594"/>
              <a:gd name="connsiteY122" fmla="*/ 361843 h 6530269"/>
              <a:gd name="connsiteX123" fmla="*/ 8274337 w 8636594"/>
              <a:gd name="connsiteY123" fmla="*/ 327107 h 6530269"/>
              <a:gd name="connsiteX124" fmla="*/ 8309147 w 8636594"/>
              <a:gd name="connsiteY124" fmla="*/ 292718 h 6530269"/>
              <a:gd name="connsiteX125" fmla="*/ 8344256 w 8636594"/>
              <a:gd name="connsiteY125" fmla="*/ 258685 h 6530269"/>
              <a:gd name="connsiteX126" fmla="*/ 8379669 w 8636594"/>
              <a:gd name="connsiteY126" fmla="*/ 225013 h 6530269"/>
              <a:gd name="connsiteX127" fmla="*/ 8415394 w 8636594"/>
              <a:gd name="connsiteY127" fmla="*/ 191709 h 6530269"/>
              <a:gd name="connsiteX128" fmla="*/ 8451434 w 8636594"/>
              <a:gd name="connsiteY128" fmla="*/ 158780 h 6530269"/>
              <a:gd name="connsiteX129" fmla="*/ 8487798 w 8636594"/>
              <a:gd name="connsiteY129" fmla="*/ 126233 h 6530269"/>
              <a:gd name="connsiteX130" fmla="*/ 8524489 w 8636594"/>
              <a:gd name="connsiteY130" fmla="*/ 94075 h 6530269"/>
              <a:gd name="connsiteX131" fmla="*/ 8561515 w 8636594"/>
              <a:gd name="connsiteY131" fmla="*/ 62312 h 6530269"/>
              <a:gd name="connsiteX132" fmla="*/ 8598881 w 8636594"/>
              <a:gd name="connsiteY132" fmla="*/ 30951 h 6530269"/>
              <a:gd name="connsiteX133" fmla="*/ 8636594 w 8636594"/>
              <a:gd name="connsiteY133" fmla="*/ 0 h 6530269"/>
              <a:gd name="connsiteX0" fmla="*/ 8636594 w 8636594"/>
              <a:gd name="connsiteY0" fmla="*/ 0 h 6516778"/>
              <a:gd name="connsiteX1" fmla="*/ 5293 w 8636594"/>
              <a:gd name="connsiteY1" fmla="*/ 0 h 6516778"/>
              <a:gd name="connsiteX2" fmla="*/ 0 w 8636594"/>
              <a:gd name="connsiteY2" fmla="*/ 5587843 h 6516778"/>
              <a:gd name="connsiteX3" fmla="*/ 1594033 w 8636594"/>
              <a:gd name="connsiteY3" fmla="*/ 5600057 h 6516778"/>
              <a:gd name="connsiteX4" fmla="*/ 1686068 w 8636594"/>
              <a:gd name="connsiteY4" fmla="*/ 5599745 h 6516778"/>
              <a:gd name="connsiteX5" fmla="*/ 2582304 w 8636594"/>
              <a:gd name="connsiteY5" fmla="*/ 6516778 h 6516778"/>
              <a:gd name="connsiteX6" fmla="*/ 2636364 w 8636594"/>
              <a:gd name="connsiteY6" fmla="*/ 6502876 h 6516778"/>
              <a:gd name="connsiteX7" fmla="*/ 2689804 w 8636594"/>
              <a:gd name="connsiteY7" fmla="*/ 6488565 h 6516778"/>
              <a:gd name="connsiteX8" fmla="*/ 2742629 w 8636594"/>
              <a:gd name="connsiteY8" fmla="*/ 6473849 h 6516778"/>
              <a:gd name="connsiteX9" fmla="*/ 2794848 w 8636594"/>
              <a:gd name="connsiteY9" fmla="*/ 6458731 h 6516778"/>
              <a:gd name="connsiteX10" fmla="*/ 2846466 w 8636594"/>
              <a:gd name="connsiteY10" fmla="*/ 6443216 h 6516778"/>
              <a:gd name="connsiteX11" fmla="*/ 2897488 w 8636594"/>
              <a:gd name="connsiteY11" fmla="*/ 6427305 h 6516778"/>
              <a:gd name="connsiteX12" fmla="*/ 2947923 w 8636594"/>
              <a:gd name="connsiteY12" fmla="*/ 6411004 h 6516778"/>
              <a:gd name="connsiteX13" fmla="*/ 2997775 w 8636594"/>
              <a:gd name="connsiteY13" fmla="*/ 6394316 h 6516778"/>
              <a:gd name="connsiteX14" fmla="*/ 3047052 w 8636594"/>
              <a:gd name="connsiteY14" fmla="*/ 6377243 h 6516778"/>
              <a:gd name="connsiteX15" fmla="*/ 3095759 w 8636594"/>
              <a:gd name="connsiteY15" fmla="*/ 6359791 h 6516778"/>
              <a:gd name="connsiteX16" fmla="*/ 3143903 w 8636594"/>
              <a:gd name="connsiteY16" fmla="*/ 6341961 h 6516778"/>
              <a:gd name="connsiteX17" fmla="*/ 3191491 w 8636594"/>
              <a:gd name="connsiteY17" fmla="*/ 6323757 h 6516778"/>
              <a:gd name="connsiteX18" fmla="*/ 3238528 w 8636594"/>
              <a:gd name="connsiteY18" fmla="*/ 6305184 h 6516778"/>
              <a:gd name="connsiteX19" fmla="*/ 3285021 w 8636594"/>
              <a:gd name="connsiteY19" fmla="*/ 6286245 h 6516778"/>
              <a:gd name="connsiteX20" fmla="*/ 3330977 w 8636594"/>
              <a:gd name="connsiteY20" fmla="*/ 6266942 h 6516778"/>
              <a:gd name="connsiteX21" fmla="*/ 3376401 w 8636594"/>
              <a:gd name="connsiteY21" fmla="*/ 6247281 h 6516778"/>
              <a:gd name="connsiteX22" fmla="*/ 3421300 w 8636594"/>
              <a:gd name="connsiteY22" fmla="*/ 6227263 h 6516778"/>
              <a:gd name="connsiteX23" fmla="*/ 3465680 w 8636594"/>
              <a:gd name="connsiteY23" fmla="*/ 6206893 h 6516778"/>
              <a:gd name="connsiteX24" fmla="*/ 3509548 w 8636594"/>
              <a:gd name="connsiteY24" fmla="*/ 6186174 h 6516778"/>
              <a:gd name="connsiteX25" fmla="*/ 3552910 w 8636594"/>
              <a:gd name="connsiteY25" fmla="*/ 6165110 h 6516778"/>
              <a:gd name="connsiteX26" fmla="*/ 3595773 w 8636594"/>
              <a:gd name="connsiteY26" fmla="*/ 6143704 h 6516778"/>
              <a:gd name="connsiteX27" fmla="*/ 3638142 w 8636594"/>
              <a:gd name="connsiteY27" fmla="*/ 6121960 h 6516778"/>
              <a:gd name="connsiteX28" fmla="*/ 3680024 w 8636594"/>
              <a:gd name="connsiteY28" fmla="*/ 6099881 h 6516778"/>
              <a:gd name="connsiteX29" fmla="*/ 3721426 w 8636594"/>
              <a:gd name="connsiteY29" fmla="*/ 6077471 h 6516778"/>
              <a:gd name="connsiteX30" fmla="*/ 3762353 w 8636594"/>
              <a:gd name="connsiteY30" fmla="*/ 6054733 h 6516778"/>
              <a:gd name="connsiteX31" fmla="*/ 3802812 w 8636594"/>
              <a:gd name="connsiteY31" fmla="*/ 6031671 h 6516778"/>
              <a:gd name="connsiteX32" fmla="*/ 3842810 w 8636594"/>
              <a:gd name="connsiteY32" fmla="*/ 6008288 h 6516778"/>
              <a:gd name="connsiteX33" fmla="*/ 3882352 w 8636594"/>
              <a:gd name="connsiteY33" fmla="*/ 5984588 h 6516778"/>
              <a:gd name="connsiteX34" fmla="*/ 3921445 w 8636594"/>
              <a:gd name="connsiteY34" fmla="*/ 5960574 h 6516778"/>
              <a:gd name="connsiteX35" fmla="*/ 3960096 w 8636594"/>
              <a:gd name="connsiteY35" fmla="*/ 5936250 h 6516778"/>
              <a:gd name="connsiteX36" fmla="*/ 3998311 w 8636594"/>
              <a:gd name="connsiteY36" fmla="*/ 5911619 h 6516778"/>
              <a:gd name="connsiteX37" fmla="*/ 4036095 w 8636594"/>
              <a:gd name="connsiteY37" fmla="*/ 5886685 h 6516778"/>
              <a:gd name="connsiteX38" fmla="*/ 4073456 w 8636594"/>
              <a:gd name="connsiteY38" fmla="*/ 5861452 h 6516778"/>
              <a:gd name="connsiteX39" fmla="*/ 4110400 w 8636594"/>
              <a:gd name="connsiteY39" fmla="*/ 5835922 h 6516778"/>
              <a:gd name="connsiteX40" fmla="*/ 4146933 w 8636594"/>
              <a:gd name="connsiteY40" fmla="*/ 5810100 h 6516778"/>
              <a:gd name="connsiteX41" fmla="*/ 4183061 w 8636594"/>
              <a:gd name="connsiteY41" fmla="*/ 5783988 h 6516778"/>
              <a:gd name="connsiteX42" fmla="*/ 4218791 w 8636594"/>
              <a:gd name="connsiteY42" fmla="*/ 5757591 h 6516778"/>
              <a:gd name="connsiteX43" fmla="*/ 4254129 w 8636594"/>
              <a:gd name="connsiteY43" fmla="*/ 5730912 h 6516778"/>
              <a:gd name="connsiteX44" fmla="*/ 4289081 w 8636594"/>
              <a:gd name="connsiteY44" fmla="*/ 5703955 h 6516778"/>
              <a:gd name="connsiteX45" fmla="*/ 4323654 w 8636594"/>
              <a:gd name="connsiteY45" fmla="*/ 5676722 h 6516778"/>
              <a:gd name="connsiteX46" fmla="*/ 4357854 w 8636594"/>
              <a:gd name="connsiteY46" fmla="*/ 5649218 h 6516778"/>
              <a:gd name="connsiteX47" fmla="*/ 4391688 w 8636594"/>
              <a:gd name="connsiteY47" fmla="*/ 5621446 h 6516778"/>
              <a:gd name="connsiteX48" fmla="*/ 4425162 w 8636594"/>
              <a:gd name="connsiteY48" fmla="*/ 5593409 h 6516778"/>
              <a:gd name="connsiteX49" fmla="*/ 4458281 w 8636594"/>
              <a:gd name="connsiteY49" fmla="*/ 5565111 h 6516778"/>
              <a:gd name="connsiteX50" fmla="*/ 4491053 w 8636594"/>
              <a:gd name="connsiteY50" fmla="*/ 5536556 h 6516778"/>
              <a:gd name="connsiteX51" fmla="*/ 4523484 w 8636594"/>
              <a:gd name="connsiteY51" fmla="*/ 5507747 h 6516778"/>
              <a:gd name="connsiteX52" fmla="*/ 4555580 w 8636594"/>
              <a:gd name="connsiteY52" fmla="*/ 5478687 h 6516778"/>
              <a:gd name="connsiteX53" fmla="*/ 4587347 w 8636594"/>
              <a:gd name="connsiteY53" fmla="*/ 5449380 h 6516778"/>
              <a:gd name="connsiteX54" fmla="*/ 4618793 w 8636594"/>
              <a:gd name="connsiteY54" fmla="*/ 5419830 h 6516778"/>
              <a:gd name="connsiteX55" fmla="*/ 4649922 w 8636594"/>
              <a:gd name="connsiteY55" fmla="*/ 5390040 h 6516778"/>
              <a:gd name="connsiteX56" fmla="*/ 4680742 w 8636594"/>
              <a:gd name="connsiteY56" fmla="*/ 5360014 h 6516778"/>
              <a:gd name="connsiteX57" fmla="*/ 4711259 w 8636594"/>
              <a:gd name="connsiteY57" fmla="*/ 5329755 h 6516778"/>
              <a:gd name="connsiteX58" fmla="*/ 4741478 w 8636594"/>
              <a:gd name="connsiteY58" fmla="*/ 5299266 h 6516778"/>
              <a:gd name="connsiteX59" fmla="*/ 4771408 w 8636594"/>
              <a:gd name="connsiteY59" fmla="*/ 5268551 h 6516778"/>
              <a:gd name="connsiteX60" fmla="*/ 4801053 w 8636594"/>
              <a:gd name="connsiteY60" fmla="*/ 5237614 h 6516778"/>
              <a:gd name="connsiteX61" fmla="*/ 4830420 w 8636594"/>
              <a:gd name="connsiteY61" fmla="*/ 5206458 h 6516778"/>
              <a:gd name="connsiteX62" fmla="*/ 4859516 w 8636594"/>
              <a:gd name="connsiteY62" fmla="*/ 5175087 h 6516778"/>
              <a:gd name="connsiteX63" fmla="*/ 4888347 w 8636594"/>
              <a:gd name="connsiteY63" fmla="*/ 5143504 h 6516778"/>
              <a:gd name="connsiteX64" fmla="*/ 4916919 w 8636594"/>
              <a:gd name="connsiteY64" fmla="*/ 5111713 h 6516778"/>
              <a:gd name="connsiteX65" fmla="*/ 4945238 w 8636594"/>
              <a:gd name="connsiteY65" fmla="*/ 5079717 h 6516778"/>
              <a:gd name="connsiteX66" fmla="*/ 4973311 w 8636594"/>
              <a:gd name="connsiteY66" fmla="*/ 5047519 h 6516778"/>
              <a:gd name="connsiteX67" fmla="*/ 5001145 w 8636594"/>
              <a:gd name="connsiteY67" fmla="*/ 5015124 h 6516778"/>
              <a:gd name="connsiteX68" fmla="*/ 5028745 w 8636594"/>
              <a:gd name="connsiteY68" fmla="*/ 4982535 h 6516778"/>
              <a:gd name="connsiteX69" fmla="*/ 5056117 w 8636594"/>
              <a:gd name="connsiteY69" fmla="*/ 4949755 h 6516778"/>
              <a:gd name="connsiteX70" fmla="*/ 5083269 w 8636594"/>
              <a:gd name="connsiteY70" fmla="*/ 4916787 h 6516778"/>
              <a:gd name="connsiteX71" fmla="*/ 5110207 w 8636594"/>
              <a:gd name="connsiteY71" fmla="*/ 4883636 h 6516778"/>
              <a:gd name="connsiteX72" fmla="*/ 5136937 w 8636594"/>
              <a:gd name="connsiteY72" fmla="*/ 4850305 h 6516778"/>
              <a:gd name="connsiteX73" fmla="*/ 5163464 w 8636594"/>
              <a:gd name="connsiteY73" fmla="*/ 4816797 h 6516778"/>
              <a:gd name="connsiteX74" fmla="*/ 5215940 w 8636594"/>
              <a:gd name="connsiteY74" fmla="*/ 4749265 h 6516778"/>
              <a:gd name="connsiteX75" fmla="*/ 5267684 w 8636594"/>
              <a:gd name="connsiteY75" fmla="*/ 4681068 h 6516778"/>
              <a:gd name="connsiteX76" fmla="*/ 5318748 w 8636594"/>
              <a:gd name="connsiteY76" fmla="*/ 4612234 h 6516778"/>
              <a:gd name="connsiteX77" fmla="*/ 5369182 w 8636594"/>
              <a:gd name="connsiteY77" fmla="*/ 4542793 h 6516778"/>
              <a:gd name="connsiteX78" fmla="*/ 5419038 w 8636594"/>
              <a:gd name="connsiteY78" fmla="*/ 4472771 h 6516778"/>
              <a:gd name="connsiteX79" fmla="*/ 5468365 w 8636594"/>
              <a:gd name="connsiteY79" fmla="*/ 4402196 h 6516778"/>
              <a:gd name="connsiteX80" fmla="*/ 5517215 w 8636594"/>
              <a:gd name="connsiteY80" fmla="*/ 4331098 h 6516778"/>
              <a:gd name="connsiteX81" fmla="*/ 5565637 w 8636594"/>
              <a:gd name="connsiteY81" fmla="*/ 4259503 h 6516778"/>
              <a:gd name="connsiteX82" fmla="*/ 5613684 w 8636594"/>
              <a:gd name="connsiteY82" fmla="*/ 4187441 h 6516778"/>
              <a:gd name="connsiteX83" fmla="*/ 5685160 w 8636594"/>
              <a:gd name="connsiteY83" fmla="*/ 4078531 h 6516778"/>
              <a:gd name="connsiteX84" fmla="*/ 5756074 w 8636594"/>
              <a:gd name="connsiteY84" fmla="*/ 3968727 h 6516778"/>
              <a:gd name="connsiteX85" fmla="*/ 5873483 w 8636594"/>
              <a:gd name="connsiteY85" fmla="*/ 3783989 h 6516778"/>
              <a:gd name="connsiteX86" fmla="*/ 6203209 w 8636594"/>
              <a:gd name="connsiteY86" fmla="*/ 3258640 h 6516778"/>
              <a:gd name="connsiteX87" fmla="*/ 6299430 w 8636594"/>
              <a:gd name="connsiteY87" fmla="*/ 3107321 h 6516778"/>
              <a:gd name="connsiteX88" fmla="*/ 6372650 w 8636594"/>
              <a:gd name="connsiteY88" fmla="*/ 2993735 h 6516778"/>
              <a:gd name="connsiteX89" fmla="*/ 6453197 w 8636594"/>
              <a:gd name="connsiteY89" fmla="*/ 2869788 h 6516778"/>
              <a:gd name="connsiteX90" fmla="*/ 6564167 w 8636594"/>
              <a:gd name="connsiteY90" fmla="*/ 2696807 h 6516778"/>
              <a:gd name="connsiteX91" fmla="*/ 6976233 w 8636594"/>
              <a:gd name="connsiteY91" fmla="*/ 2045274 h 6516778"/>
              <a:gd name="connsiteX92" fmla="*/ 7086755 w 8636594"/>
              <a:gd name="connsiteY92" fmla="*/ 1872743 h 6516778"/>
              <a:gd name="connsiteX93" fmla="*/ 7170279 w 8636594"/>
              <a:gd name="connsiteY93" fmla="*/ 1744202 h 6516778"/>
              <a:gd name="connsiteX94" fmla="*/ 7226351 w 8636594"/>
              <a:gd name="connsiteY94" fmla="*/ 1659017 h 6516778"/>
              <a:gd name="connsiteX95" fmla="*/ 7282789 w 8636594"/>
              <a:gd name="connsiteY95" fmla="*/ 1574303 h 6516778"/>
              <a:gd name="connsiteX96" fmla="*/ 7339643 w 8636594"/>
              <a:gd name="connsiteY96" fmla="*/ 1490113 h 6516778"/>
              <a:gd name="connsiteX97" fmla="*/ 7396957 w 8636594"/>
              <a:gd name="connsiteY97" fmla="*/ 1406503 h 6516778"/>
              <a:gd name="connsiteX98" fmla="*/ 7454781 w 8636594"/>
              <a:gd name="connsiteY98" fmla="*/ 1323526 h 6516778"/>
              <a:gd name="connsiteX99" fmla="*/ 7513161 w 8636594"/>
              <a:gd name="connsiteY99" fmla="*/ 1241237 h 6516778"/>
              <a:gd name="connsiteX100" fmla="*/ 7572144 w 8636594"/>
              <a:gd name="connsiteY100" fmla="*/ 1159689 h 6516778"/>
              <a:gd name="connsiteX101" fmla="*/ 7601877 w 8636594"/>
              <a:gd name="connsiteY101" fmla="*/ 1119210 h 6516778"/>
              <a:gd name="connsiteX102" fmla="*/ 7631779 w 8636594"/>
              <a:gd name="connsiteY102" fmla="*/ 1078937 h 6516778"/>
              <a:gd name="connsiteX103" fmla="*/ 7661855 w 8636594"/>
              <a:gd name="connsiteY103" fmla="*/ 1038876 h 6516778"/>
              <a:gd name="connsiteX104" fmla="*/ 7692111 w 8636594"/>
              <a:gd name="connsiteY104" fmla="*/ 999035 h 6516778"/>
              <a:gd name="connsiteX105" fmla="*/ 7722554 w 8636594"/>
              <a:gd name="connsiteY105" fmla="*/ 959419 h 6516778"/>
              <a:gd name="connsiteX106" fmla="*/ 7753190 w 8636594"/>
              <a:gd name="connsiteY106" fmla="*/ 920037 h 6516778"/>
              <a:gd name="connsiteX107" fmla="*/ 7784023 w 8636594"/>
              <a:gd name="connsiteY107" fmla="*/ 880894 h 6516778"/>
              <a:gd name="connsiteX108" fmla="*/ 7815061 w 8636594"/>
              <a:gd name="connsiteY108" fmla="*/ 841997 h 6516778"/>
              <a:gd name="connsiteX109" fmla="*/ 7846308 w 8636594"/>
              <a:gd name="connsiteY109" fmla="*/ 803354 h 6516778"/>
              <a:gd name="connsiteX110" fmla="*/ 7877772 w 8636594"/>
              <a:gd name="connsiteY110" fmla="*/ 764970 h 6516778"/>
              <a:gd name="connsiteX111" fmla="*/ 7909458 w 8636594"/>
              <a:gd name="connsiteY111" fmla="*/ 726853 h 6516778"/>
              <a:gd name="connsiteX112" fmla="*/ 7941371 w 8636594"/>
              <a:gd name="connsiteY112" fmla="*/ 689010 h 6516778"/>
              <a:gd name="connsiteX113" fmla="*/ 7973518 w 8636594"/>
              <a:gd name="connsiteY113" fmla="*/ 651447 h 6516778"/>
              <a:gd name="connsiteX114" fmla="*/ 8005905 w 8636594"/>
              <a:gd name="connsiteY114" fmla="*/ 614171 h 6516778"/>
              <a:gd name="connsiteX115" fmla="*/ 8038538 w 8636594"/>
              <a:gd name="connsiteY115" fmla="*/ 577189 h 6516778"/>
              <a:gd name="connsiteX116" fmla="*/ 8071421 w 8636594"/>
              <a:gd name="connsiteY116" fmla="*/ 540507 h 6516778"/>
              <a:gd name="connsiteX117" fmla="*/ 8104563 w 8636594"/>
              <a:gd name="connsiteY117" fmla="*/ 504132 h 6516778"/>
              <a:gd name="connsiteX118" fmla="*/ 8137967 w 8636594"/>
              <a:gd name="connsiteY118" fmla="*/ 468072 h 6516778"/>
              <a:gd name="connsiteX119" fmla="*/ 8171641 w 8636594"/>
              <a:gd name="connsiteY119" fmla="*/ 432332 h 6516778"/>
              <a:gd name="connsiteX120" fmla="*/ 8205590 w 8636594"/>
              <a:gd name="connsiteY120" fmla="*/ 396920 h 6516778"/>
              <a:gd name="connsiteX121" fmla="*/ 8239820 w 8636594"/>
              <a:gd name="connsiteY121" fmla="*/ 361843 h 6516778"/>
              <a:gd name="connsiteX122" fmla="*/ 8274337 w 8636594"/>
              <a:gd name="connsiteY122" fmla="*/ 327107 h 6516778"/>
              <a:gd name="connsiteX123" fmla="*/ 8309147 w 8636594"/>
              <a:gd name="connsiteY123" fmla="*/ 292718 h 6516778"/>
              <a:gd name="connsiteX124" fmla="*/ 8344256 w 8636594"/>
              <a:gd name="connsiteY124" fmla="*/ 258685 h 6516778"/>
              <a:gd name="connsiteX125" fmla="*/ 8379669 w 8636594"/>
              <a:gd name="connsiteY125" fmla="*/ 225013 h 6516778"/>
              <a:gd name="connsiteX126" fmla="*/ 8415394 w 8636594"/>
              <a:gd name="connsiteY126" fmla="*/ 191709 h 6516778"/>
              <a:gd name="connsiteX127" fmla="*/ 8451434 w 8636594"/>
              <a:gd name="connsiteY127" fmla="*/ 158780 h 6516778"/>
              <a:gd name="connsiteX128" fmla="*/ 8487798 w 8636594"/>
              <a:gd name="connsiteY128" fmla="*/ 126233 h 6516778"/>
              <a:gd name="connsiteX129" fmla="*/ 8524489 w 8636594"/>
              <a:gd name="connsiteY129" fmla="*/ 94075 h 6516778"/>
              <a:gd name="connsiteX130" fmla="*/ 8561515 w 8636594"/>
              <a:gd name="connsiteY130" fmla="*/ 62312 h 6516778"/>
              <a:gd name="connsiteX131" fmla="*/ 8598881 w 8636594"/>
              <a:gd name="connsiteY131" fmla="*/ 30951 h 6516778"/>
              <a:gd name="connsiteX132" fmla="*/ 8636594 w 8636594"/>
              <a:gd name="connsiteY132" fmla="*/ 0 h 6516778"/>
              <a:gd name="connsiteX0" fmla="*/ 8636594 w 8636594"/>
              <a:gd name="connsiteY0" fmla="*/ 0 h 6502876"/>
              <a:gd name="connsiteX1" fmla="*/ 5293 w 8636594"/>
              <a:gd name="connsiteY1" fmla="*/ 0 h 6502876"/>
              <a:gd name="connsiteX2" fmla="*/ 0 w 8636594"/>
              <a:gd name="connsiteY2" fmla="*/ 5587843 h 6502876"/>
              <a:gd name="connsiteX3" fmla="*/ 1594033 w 8636594"/>
              <a:gd name="connsiteY3" fmla="*/ 5600057 h 6502876"/>
              <a:gd name="connsiteX4" fmla="*/ 1686068 w 8636594"/>
              <a:gd name="connsiteY4" fmla="*/ 5599745 h 6502876"/>
              <a:gd name="connsiteX5" fmla="*/ 2636364 w 8636594"/>
              <a:gd name="connsiteY5" fmla="*/ 6502876 h 6502876"/>
              <a:gd name="connsiteX6" fmla="*/ 2689804 w 8636594"/>
              <a:gd name="connsiteY6" fmla="*/ 6488565 h 6502876"/>
              <a:gd name="connsiteX7" fmla="*/ 2742629 w 8636594"/>
              <a:gd name="connsiteY7" fmla="*/ 6473849 h 6502876"/>
              <a:gd name="connsiteX8" fmla="*/ 2794848 w 8636594"/>
              <a:gd name="connsiteY8" fmla="*/ 6458731 h 6502876"/>
              <a:gd name="connsiteX9" fmla="*/ 2846466 w 8636594"/>
              <a:gd name="connsiteY9" fmla="*/ 6443216 h 6502876"/>
              <a:gd name="connsiteX10" fmla="*/ 2897488 w 8636594"/>
              <a:gd name="connsiteY10" fmla="*/ 6427305 h 6502876"/>
              <a:gd name="connsiteX11" fmla="*/ 2947923 w 8636594"/>
              <a:gd name="connsiteY11" fmla="*/ 6411004 h 6502876"/>
              <a:gd name="connsiteX12" fmla="*/ 2997775 w 8636594"/>
              <a:gd name="connsiteY12" fmla="*/ 6394316 h 6502876"/>
              <a:gd name="connsiteX13" fmla="*/ 3047052 w 8636594"/>
              <a:gd name="connsiteY13" fmla="*/ 6377243 h 6502876"/>
              <a:gd name="connsiteX14" fmla="*/ 3095759 w 8636594"/>
              <a:gd name="connsiteY14" fmla="*/ 6359791 h 6502876"/>
              <a:gd name="connsiteX15" fmla="*/ 3143903 w 8636594"/>
              <a:gd name="connsiteY15" fmla="*/ 6341961 h 6502876"/>
              <a:gd name="connsiteX16" fmla="*/ 3191491 w 8636594"/>
              <a:gd name="connsiteY16" fmla="*/ 6323757 h 6502876"/>
              <a:gd name="connsiteX17" fmla="*/ 3238528 w 8636594"/>
              <a:gd name="connsiteY17" fmla="*/ 6305184 h 6502876"/>
              <a:gd name="connsiteX18" fmla="*/ 3285021 w 8636594"/>
              <a:gd name="connsiteY18" fmla="*/ 6286245 h 6502876"/>
              <a:gd name="connsiteX19" fmla="*/ 3330977 w 8636594"/>
              <a:gd name="connsiteY19" fmla="*/ 6266942 h 6502876"/>
              <a:gd name="connsiteX20" fmla="*/ 3376401 w 8636594"/>
              <a:gd name="connsiteY20" fmla="*/ 6247281 h 6502876"/>
              <a:gd name="connsiteX21" fmla="*/ 3421300 w 8636594"/>
              <a:gd name="connsiteY21" fmla="*/ 6227263 h 6502876"/>
              <a:gd name="connsiteX22" fmla="*/ 3465680 w 8636594"/>
              <a:gd name="connsiteY22" fmla="*/ 6206893 h 6502876"/>
              <a:gd name="connsiteX23" fmla="*/ 3509548 w 8636594"/>
              <a:gd name="connsiteY23" fmla="*/ 6186174 h 6502876"/>
              <a:gd name="connsiteX24" fmla="*/ 3552910 w 8636594"/>
              <a:gd name="connsiteY24" fmla="*/ 6165110 h 6502876"/>
              <a:gd name="connsiteX25" fmla="*/ 3595773 w 8636594"/>
              <a:gd name="connsiteY25" fmla="*/ 6143704 h 6502876"/>
              <a:gd name="connsiteX26" fmla="*/ 3638142 w 8636594"/>
              <a:gd name="connsiteY26" fmla="*/ 6121960 h 6502876"/>
              <a:gd name="connsiteX27" fmla="*/ 3680024 w 8636594"/>
              <a:gd name="connsiteY27" fmla="*/ 6099881 h 6502876"/>
              <a:gd name="connsiteX28" fmla="*/ 3721426 w 8636594"/>
              <a:gd name="connsiteY28" fmla="*/ 6077471 h 6502876"/>
              <a:gd name="connsiteX29" fmla="*/ 3762353 w 8636594"/>
              <a:gd name="connsiteY29" fmla="*/ 6054733 h 6502876"/>
              <a:gd name="connsiteX30" fmla="*/ 3802812 w 8636594"/>
              <a:gd name="connsiteY30" fmla="*/ 6031671 h 6502876"/>
              <a:gd name="connsiteX31" fmla="*/ 3842810 w 8636594"/>
              <a:gd name="connsiteY31" fmla="*/ 6008288 h 6502876"/>
              <a:gd name="connsiteX32" fmla="*/ 3882352 w 8636594"/>
              <a:gd name="connsiteY32" fmla="*/ 5984588 h 6502876"/>
              <a:gd name="connsiteX33" fmla="*/ 3921445 w 8636594"/>
              <a:gd name="connsiteY33" fmla="*/ 5960574 h 6502876"/>
              <a:gd name="connsiteX34" fmla="*/ 3960096 w 8636594"/>
              <a:gd name="connsiteY34" fmla="*/ 5936250 h 6502876"/>
              <a:gd name="connsiteX35" fmla="*/ 3998311 w 8636594"/>
              <a:gd name="connsiteY35" fmla="*/ 5911619 h 6502876"/>
              <a:gd name="connsiteX36" fmla="*/ 4036095 w 8636594"/>
              <a:gd name="connsiteY36" fmla="*/ 5886685 h 6502876"/>
              <a:gd name="connsiteX37" fmla="*/ 4073456 w 8636594"/>
              <a:gd name="connsiteY37" fmla="*/ 5861452 h 6502876"/>
              <a:gd name="connsiteX38" fmla="*/ 4110400 w 8636594"/>
              <a:gd name="connsiteY38" fmla="*/ 5835922 h 6502876"/>
              <a:gd name="connsiteX39" fmla="*/ 4146933 w 8636594"/>
              <a:gd name="connsiteY39" fmla="*/ 5810100 h 6502876"/>
              <a:gd name="connsiteX40" fmla="*/ 4183061 w 8636594"/>
              <a:gd name="connsiteY40" fmla="*/ 5783988 h 6502876"/>
              <a:gd name="connsiteX41" fmla="*/ 4218791 w 8636594"/>
              <a:gd name="connsiteY41" fmla="*/ 5757591 h 6502876"/>
              <a:gd name="connsiteX42" fmla="*/ 4254129 w 8636594"/>
              <a:gd name="connsiteY42" fmla="*/ 5730912 h 6502876"/>
              <a:gd name="connsiteX43" fmla="*/ 4289081 w 8636594"/>
              <a:gd name="connsiteY43" fmla="*/ 5703955 h 6502876"/>
              <a:gd name="connsiteX44" fmla="*/ 4323654 w 8636594"/>
              <a:gd name="connsiteY44" fmla="*/ 5676722 h 6502876"/>
              <a:gd name="connsiteX45" fmla="*/ 4357854 w 8636594"/>
              <a:gd name="connsiteY45" fmla="*/ 5649218 h 6502876"/>
              <a:gd name="connsiteX46" fmla="*/ 4391688 w 8636594"/>
              <a:gd name="connsiteY46" fmla="*/ 5621446 h 6502876"/>
              <a:gd name="connsiteX47" fmla="*/ 4425162 w 8636594"/>
              <a:gd name="connsiteY47" fmla="*/ 5593409 h 6502876"/>
              <a:gd name="connsiteX48" fmla="*/ 4458281 w 8636594"/>
              <a:gd name="connsiteY48" fmla="*/ 5565111 h 6502876"/>
              <a:gd name="connsiteX49" fmla="*/ 4491053 w 8636594"/>
              <a:gd name="connsiteY49" fmla="*/ 5536556 h 6502876"/>
              <a:gd name="connsiteX50" fmla="*/ 4523484 w 8636594"/>
              <a:gd name="connsiteY50" fmla="*/ 5507747 h 6502876"/>
              <a:gd name="connsiteX51" fmla="*/ 4555580 w 8636594"/>
              <a:gd name="connsiteY51" fmla="*/ 5478687 h 6502876"/>
              <a:gd name="connsiteX52" fmla="*/ 4587347 w 8636594"/>
              <a:gd name="connsiteY52" fmla="*/ 5449380 h 6502876"/>
              <a:gd name="connsiteX53" fmla="*/ 4618793 w 8636594"/>
              <a:gd name="connsiteY53" fmla="*/ 5419830 h 6502876"/>
              <a:gd name="connsiteX54" fmla="*/ 4649922 w 8636594"/>
              <a:gd name="connsiteY54" fmla="*/ 5390040 h 6502876"/>
              <a:gd name="connsiteX55" fmla="*/ 4680742 w 8636594"/>
              <a:gd name="connsiteY55" fmla="*/ 5360014 h 6502876"/>
              <a:gd name="connsiteX56" fmla="*/ 4711259 w 8636594"/>
              <a:gd name="connsiteY56" fmla="*/ 5329755 h 6502876"/>
              <a:gd name="connsiteX57" fmla="*/ 4741478 w 8636594"/>
              <a:gd name="connsiteY57" fmla="*/ 5299266 h 6502876"/>
              <a:gd name="connsiteX58" fmla="*/ 4771408 w 8636594"/>
              <a:gd name="connsiteY58" fmla="*/ 5268551 h 6502876"/>
              <a:gd name="connsiteX59" fmla="*/ 4801053 w 8636594"/>
              <a:gd name="connsiteY59" fmla="*/ 5237614 h 6502876"/>
              <a:gd name="connsiteX60" fmla="*/ 4830420 w 8636594"/>
              <a:gd name="connsiteY60" fmla="*/ 5206458 h 6502876"/>
              <a:gd name="connsiteX61" fmla="*/ 4859516 w 8636594"/>
              <a:gd name="connsiteY61" fmla="*/ 5175087 h 6502876"/>
              <a:gd name="connsiteX62" fmla="*/ 4888347 w 8636594"/>
              <a:gd name="connsiteY62" fmla="*/ 5143504 h 6502876"/>
              <a:gd name="connsiteX63" fmla="*/ 4916919 w 8636594"/>
              <a:gd name="connsiteY63" fmla="*/ 5111713 h 6502876"/>
              <a:gd name="connsiteX64" fmla="*/ 4945238 w 8636594"/>
              <a:gd name="connsiteY64" fmla="*/ 5079717 h 6502876"/>
              <a:gd name="connsiteX65" fmla="*/ 4973311 w 8636594"/>
              <a:gd name="connsiteY65" fmla="*/ 5047519 h 6502876"/>
              <a:gd name="connsiteX66" fmla="*/ 5001145 w 8636594"/>
              <a:gd name="connsiteY66" fmla="*/ 5015124 h 6502876"/>
              <a:gd name="connsiteX67" fmla="*/ 5028745 w 8636594"/>
              <a:gd name="connsiteY67" fmla="*/ 4982535 h 6502876"/>
              <a:gd name="connsiteX68" fmla="*/ 5056117 w 8636594"/>
              <a:gd name="connsiteY68" fmla="*/ 4949755 h 6502876"/>
              <a:gd name="connsiteX69" fmla="*/ 5083269 w 8636594"/>
              <a:gd name="connsiteY69" fmla="*/ 4916787 h 6502876"/>
              <a:gd name="connsiteX70" fmla="*/ 5110207 w 8636594"/>
              <a:gd name="connsiteY70" fmla="*/ 4883636 h 6502876"/>
              <a:gd name="connsiteX71" fmla="*/ 5136937 w 8636594"/>
              <a:gd name="connsiteY71" fmla="*/ 4850305 h 6502876"/>
              <a:gd name="connsiteX72" fmla="*/ 5163464 w 8636594"/>
              <a:gd name="connsiteY72" fmla="*/ 4816797 h 6502876"/>
              <a:gd name="connsiteX73" fmla="*/ 5215940 w 8636594"/>
              <a:gd name="connsiteY73" fmla="*/ 4749265 h 6502876"/>
              <a:gd name="connsiteX74" fmla="*/ 5267684 w 8636594"/>
              <a:gd name="connsiteY74" fmla="*/ 4681068 h 6502876"/>
              <a:gd name="connsiteX75" fmla="*/ 5318748 w 8636594"/>
              <a:gd name="connsiteY75" fmla="*/ 4612234 h 6502876"/>
              <a:gd name="connsiteX76" fmla="*/ 5369182 w 8636594"/>
              <a:gd name="connsiteY76" fmla="*/ 4542793 h 6502876"/>
              <a:gd name="connsiteX77" fmla="*/ 5419038 w 8636594"/>
              <a:gd name="connsiteY77" fmla="*/ 4472771 h 6502876"/>
              <a:gd name="connsiteX78" fmla="*/ 5468365 w 8636594"/>
              <a:gd name="connsiteY78" fmla="*/ 4402196 h 6502876"/>
              <a:gd name="connsiteX79" fmla="*/ 5517215 w 8636594"/>
              <a:gd name="connsiteY79" fmla="*/ 4331098 h 6502876"/>
              <a:gd name="connsiteX80" fmla="*/ 5565637 w 8636594"/>
              <a:gd name="connsiteY80" fmla="*/ 4259503 h 6502876"/>
              <a:gd name="connsiteX81" fmla="*/ 5613684 w 8636594"/>
              <a:gd name="connsiteY81" fmla="*/ 4187441 h 6502876"/>
              <a:gd name="connsiteX82" fmla="*/ 5685160 w 8636594"/>
              <a:gd name="connsiteY82" fmla="*/ 4078531 h 6502876"/>
              <a:gd name="connsiteX83" fmla="*/ 5756074 w 8636594"/>
              <a:gd name="connsiteY83" fmla="*/ 3968727 h 6502876"/>
              <a:gd name="connsiteX84" fmla="*/ 5873483 w 8636594"/>
              <a:gd name="connsiteY84" fmla="*/ 3783989 h 6502876"/>
              <a:gd name="connsiteX85" fmla="*/ 6203209 w 8636594"/>
              <a:gd name="connsiteY85" fmla="*/ 3258640 h 6502876"/>
              <a:gd name="connsiteX86" fmla="*/ 6299430 w 8636594"/>
              <a:gd name="connsiteY86" fmla="*/ 3107321 h 6502876"/>
              <a:gd name="connsiteX87" fmla="*/ 6372650 w 8636594"/>
              <a:gd name="connsiteY87" fmla="*/ 2993735 h 6502876"/>
              <a:gd name="connsiteX88" fmla="*/ 6453197 w 8636594"/>
              <a:gd name="connsiteY88" fmla="*/ 2869788 h 6502876"/>
              <a:gd name="connsiteX89" fmla="*/ 6564167 w 8636594"/>
              <a:gd name="connsiteY89" fmla="*/ 2696807 h 6502876"/>
              <a:gd name="connsiteX90" fmla="*/ 6976233 w 8636594"/>
              <a:gd name="connsiteY90" fmla="*/ 2045274 h 6502876"/>
              <a:gd name="connsiteX91" fmla="*/ 7086755 w 8636594"/>
              <a:gd name="connsiteY91" fmla="*/ 1872743 h 6502876"/>
              <a:gd name="connsiteX92" fmla="*/ 7170279 w 8636594"/>
              <a:gd name="connsiteY92" fmla="*/ 1744202 h 6502876"/>
              <a:gd name="connsiteX93" fmla="*/ 7226351 w 8636594"/>
              <a:gd name="connsiteY93" fmla="*/ 1659017 h 6502876"/>
              <a:gd name="connsiteX94" fmla="*/ 7282789 w 8636594"/>
              <a:gd name="connsiteY94" fmla="*/ 1574303 h 6502876"/>
              <a:gd name="connsiteX95" fmla="*/ 7339643 w 8636594"/>
              <a:gd name="connsiteY95" fmla="*/ 1490113 h 6502876"/>
              <a:gd name="connsiteX96" fmla="*/ 7396957 w 8636594"/>
              <a:gd name="connsiteY96" fmla="*/ 1406503 h 6502876"/>
              <a:gd name="connsiteX97" fmla="*/ 7454781 w 8636594"/>
              <a:gd name="connsiteY97" fmla="*/ 1323526 h 6502876"/>
              <a:gd name="connsiteX98" fmla="*/ 7513161 w 8636594"/>
              <a:gd name="connsiteY98" fmla="*/ 1241237 h 6502876"/>
              <a:gd name="connsiteX99" fmla="*/ 7572144 w 8636594"/>
              <a:gd name="connsiteY99" fmla="*/ 1159689 h 6502876"/>
              <a:gd name="connsiteX100" fmla="*/ 7601877 w 8636594"/>
              <a:gd name="connsiteY100" fmla="*/ 1119210 h 6502876"/>
              <a:gd name="connsiteX101" fmla="*/ 7631779 w 8636594"/>
              <a:gd name="connsiteY101" fmla="*/ 1078937 h 6502876"/>
              <a:gd name="connsiteX102" fmla="*/ 7661855 w 8636594"/>
              <a:gd name="connsiteY102" fmla="*/ 1038876 h 6502876"/>
              <a:gd name="connsiteX103" fmla="*/ 7692111 w 8636594"/>
              <a:gd name="connsiteY103" fmla="*/ 999035 h 6502876"/>
              <a:gd name="connsiteX104" fmla="*/ 7722554 w 8636594"/>
              <a:gd name="connsiteY104" fmla="*/ 959419 h 6502876"/>
              <a:gd name="connsiteX105" fmla="*/ 7753190 w 8636594"/>
              <a:gd name="connsiteY105" fmla="*/ 920037 h 6502876"/>
              <a:gd name="connsiteX106" fmla="*/ 7784023 w 8636594"/>
              <a:gd name="connsiteY106" fmla="*/ 880894 h 6502876"/>
              <a:gd name="connsiteX107" fmla="*/ 7815061 w 8636594"/>
              <a:gd name="connsiteY107" fmla="*/ 841997 h 6502876"/>
              <a:gd name="connsiteX108" fmla="*/ 7846308 w 8636594"/>
              <a:gd name="connsiteY108" fmla="*/ 803354 h 6502876"/>
              <a:gd name="connsiteX109" fmla="*/ 7877772 w 8636594"/>
              <a:gd name="connsiteY109" fmla="*/ 764970 h 6502876"/>
              <a:gd name="connsiteX110" fmla="*/ 7909458 w 8636594"/>
              <a:gd name="connsiteY110" fmla="*/ 726853 h 6502876"/>
              <a:gd name="connsiteX111" fmla="*/ 7941371 w 8636594"/>
              <a:gd name="connsiteY111" fmla="*/ 689010 h 6502876"/>
              <a:gd name="connsiteX112" fmla="*/ 7973518 w 8636594"/>
              <a:gd name="connsiteY112" fmla="*/ 651447 h 6502876"/>
              <a:gd name="connsiteX113" fmla="*/ 8005905 w 8636594"/>
              <a:gd name="connsiteY113" fmla="*/ 614171 h 6502876"/>
              <a:gd name="connsiteX114" fmla="*/ 8038538 w 8636594"/>
              <a:gd name="connsiteY114" fmla="*/ 577189 h 6502876"/>
              <a:gd name="connsiteX115" fmla="*/ 8071421 w 8636594"/>
              <a:gd name="connsiteY115" fmla="*/ 540507 h 6502876"/>
              <a:gd name="connsiteX116" fmla="*/ 8104563 w 8636594"/>
              <a:gd name="connsiteY116" fmla="*/ 504132 h 6502876"/>
              <a:gd name="connsiteX117" fmla="*/ 8137967 w 8636594"/>
              <a:gd name="connsiteY117" fmla="*/ 468072 h 6502876"/>
              <a:gd name="connsiteX118" fmla="*/ 8171641 w 8636594"/>
              <a:gd name="connsiteY118" fmla="*/ 432332 h 6502876"/>
              <a:gd name="connsiteX119" fmla="*/ 8205590 w 8636594"/>
              <a:gd name="connsiteY119" fmla="*/ 396920 h 6502876"/>
              <a:gd name="connsiteX120" fmla="*/ 8239820 w 8636594"/>
              <a:gd name="connsiteY120" fmla="*/ 361843 h 6502876"/>
              <a:gd name="connsiteX121" fmla="*/ 8274337 w 8636594"/>
              <a:gd name="connsiteY121" fmla="*/ 327107 h 6502876"/>
              <a:gd name="connsiteX122" fmla="*/ 8309147 w 8636594"/>
              <a:gd name="connsiteY122" fmla="*/ 292718 h 6502876"/>
              <a:gd name="connsiteX123" fmla="*/ 8344256 w 8636594"/>
              <a:gd name="connsiteY123" fmla="*/ 258685 h 6502876"/>
              <a:gd name="connsiteX124" fmla="*/ 8379669 w 8636594"/>
              <a:gd name="connsiteY124" fmla="*/ 225013 h 6502876"/>
              <a:gd name="connsiteX125" fmla="*/ 8415394 w 8636594"/>
              <a:gd name="connsiteY125" fmla="*/ 191709 h 6502876"/>
              <a:gd name="connsiteX126" fmla="*/ 8451434 w 8636594"/>
              <a:gd name="connsiteY126" fmla="*/ 158780 h 6502876"/>
              <a:gd name="connsiteX127" fmla="*/ 8487798 w 8636594"/>
              <a:gd name="connsiteY127" fmla="*/ 126233 h 6502876"/>
              <a:gd name="connsiteX128" fmla="*/ 8524489 w 8636594"/>
              <a:gd name="connsiteY128" fmla="*/ 94075 h 6502876"/>
              <a:gd name="connsiteX129" fmla="*/ 8561515 w 8636594"/>
              <a:gd name="connsiteY129" fmla="*/ 62312 h 6502876"/>
              <a:gd name="connsiteX130" fmla="*/ 8598881 w 8636594"/>
              <a:gd name="connsiteY130" fmla="*/ 30951 h 6502876"/>
              <a:gd name="connsiteX131" fmla="*/ 8636594 w 8636594"/>
              <a:gd name="connsiteY131" fmla="*/ 0 h 6502876"/>
              <a:gd name="connsiteX0" fmla="*/ 8636594 w 8636594"/>
              <a:gd name="connsiteY0" fmla="*/ 0 h 6488565"/>
              <a:gd name="connsiteX1" fmla="*/ 5293 w 8636594"/>
              <a:gd name="connsiteY1" fmla="*/ 0 h 6488565"/>
              <a:gd name="connsiteX2" fmla="*/ 0 w 8636594"/>
              <a:gd name="connsiteY2" fmla="*/ 5587843 h 6488565"/>
              <a:gd name="connsiteX3" fmla="*/ 1594033 w 8636594"/>
              <a:gd name="connsiteY3" fmla="*/ 5600057 h 6488565"/>
              <a:gd name="connsiteX4" fmla="*/ 1686068 w 8636594"/>
              <a:gd name="connsiteY4" fmla="*/ 5599745 h 6488565"/>
              <a:gd name="connsiteX5" fmla="*/ 2689804 w 8636594"/>
              <a:gd name="connsiteY5" fmla="*/ 6488565 h 6488565"/>
              <a:gd name="connsiteX6" fmla="*/ 2742629 w 8636594"/>
              <a:gd name="connsiteY6" fmla="*/ 6473849 h 6488565"/>
              <a:gd name="connsiteX7" fmla="*/ 2794848 w 8636594"/>
              <a:gd name="connsiteY7" fmla="*/ 6458731 h 6488565"/>
              <a:gd name="connsiteX8" fmla="*/ 2846466 w 8636594"/>
              <a:gd name="connsiteY8" fmla="*/ 6443216 h 6488565"/>
              <a:gd name="connsiteX9" fmla="*/ 2897488 w 8636594"/>
              <a:gd name="connsiteY9" fmla="*/ 6427305 h 6488565"/>
              <a:gd name="connsiteX10" fmla="*/ 2947923 w 8636594"/>
              <a:gd name="connsiteY10" fmla="*/ 6411004 h 6488565"/>
              <a:gd name="connsiteX11" fmla="*/ 2997775 w 8636594"/>
              <a:gd name="connsiteY11" fmla="*/ 6394316 h 6488565"/>
              <a:gd name="connsiteX12" fmla="*/ 3047052 w 8636594"/>
              <a:gd name="connsiteY12" fmla="*/ 6377243 h 6488565"/>
              <a:gd name="connsiteX13" fmla="*/ 3095759 w 8636594"/>
              <a:gd name="connsiteY13" fmla="*/ 6359791 h 6488565"/>
              <a:gd name="connsiteX14" fmla="*/ 3143903 w 8636594"/>
              <a:gd name="connsiteY14" fmla="*/ 6341961 h 6488565"/>
              <a:gd name="connsiteX15" fmla="*/ 3191491 w 8636594"/>
              <a:gd name="connsiteY15" fmla="*/ 6323757 h 6488565"/>
              <a:gd name="connsiteX16" fmla="*/ 3238528 w 8636594"/>
              <a:gd name="connsiteY16" fmla="*/ 6305184 h 6488565"/>
              <a:gd name="connsiteX17" fmla="*/ 3285021 w 8636594"/>
              <a:gd name="connsiteY17" fmla="*/ 6286245 h 6488565"/>
              <a:gd name="connsiteX18" fmla="*/ 3330977 w 8636594"/>
              <a:gd name="connsiteY18" fmla="*/ 6266942 h 6488565"/>
              <a:gd name="connsiteX19" fmla="*/ 3376401 w 8636594"/>
              <a:gd name="connsiteY19" fmla="*/ 6247281 h 6488565"/>
              <a:gd name="connsiteX20" fmla="*/ 3421300 w 8636594"/>
              <a:gd name="connsiteY20" fmla="*/ 6227263 h 6488565"/>
              <a:gd name="connsiteX21" fmla="*/ 3465680 w 8636594"/>
              <a:gd name="connsiteY21" fmla="*/ 6206893 h 6488565"/>
              <a:gd name="connsiteX22" fmla="*/ 3509548 w 8636594"/>
              <a:gd name="connsiteY22" fmla="*/ 6186174 h 6488565"/>
              <a:gd name="connsiteX23" fmla="*/ 3552910 w 8636594"/>
              <a:gd name="connsiteY23" fmla="*/ 6165110 h 6488565"/>
              <a:gd name="connsiteX24" fmla="*/ 3595773 w 8636594"/>
              <a:gd name="connsiteY24" fmla="*/ 6143704 h 6488565"/>
              <a:gd name="connsiteX25" fmla="*/ 3638142 w 8636594"/>
              <a:gd name="connsiteY25" fmla="*/ 6121960 h 6488565"/>
              <a:gd name="connsiteX26" fmla="*/ 3680024 w 8636594"/>
              <a:gd name="connsiteY26" fmla="*/ 6099881 h 6488565"/>
              <a:gd name="connsiteX27" fmla="*/ 3721426 w 8636594"/>
              <a:gd name="connsiteY27" fmla="*/ 6077471 h 6488565"/>
              <a:gd name="connsiteX28" fmla="*/ 3762353 w 8636594"/>
              <a:gd name="connsiteY28" fmla="*/ 6054733 h 6488565"/>
              <a:gd name="connsiteX29" fmla="*/ 3802812 w 8636594"/>
              <a:gd name="connsiteY29" fmla="*/ 6031671 h 6488565"/>
              <a:gd name="connsiteX30" fmla="*/ 3842810 w 8636594"/>
              <a:gd name="connsiteY30" fmla="*/ 6008288 h 6488565"/>
              <a:gd name="connsiteX31" fmla="*/ 3882352 w 8636594"/>
              <a:gd name="connsiteY31" fmla="*/ 5984588 h 6488565"/>
              <a:gd name="connsiteX32" fmla="*/ 3921445 w 8636594"/>
              <a:gd name="connsiteY32" fmla="*/ 5960574 h 6488565"/>
              <a:gd name="connsiteX33" fmla="*/ 3960096 w 8636594"/>
              <a:gd name="connsiteY33" fmla="*/ 5936250 h 6488565"/>
              <a:gd name="connsiteX34" fmla="*/ 3998311 w 8636594"/>
              <a:gd name="connsiteY34" fmla="*/ 5911619 h 6488565"/>
              <a:gd name="connsiteX35" fmla="*/ 4036095 w 8636594"/>
              <a:gd name="connsiteY35" fmla="*/ 5886685 h 6488565"/>
              <a:gd name="connsiteX36" fmla="*/ 4073456 w 8636594"/>
              <a:gd name="connsiteY36" fmla="*/ 5861452 h 6488565"/>
              <a:gd name="connsiteX37" fmla="*/ 4110400 w 8636594"/>
              <a:gd name="connsiteY37" fmla="*/ 5835922 h 6488565"/>
              <a:gd name="connsiteX38" fmla="*/ 4146933 w 8636594"/>
              <a:gd name="connsiteY38" fmla="*/ 5810100 h 6488565"/>
              <a:gd name="connsiteX39" fmla="*/ 4183061 w 8636594"/>
              <a:gd name="connsiteY39" fmla="*/ 5783988 h 6488565"/>
              <a:gd name="connsiteX40" fmla="*/ 4218791 w 8636594"/>
              <a:gd name="connsiteY40" fmla="*/ 5757591 h 6488565"/>
              <a:gd name="connsiteX41" fmla="*/ 4254129 w 8636594"/>
              <a:gd name="connsiteY41" fmla="*/ 5730912 h 6488565"/>
              <a:gd name="connsiteX42" fmla="*/ 4289081 w 8636594"/>
              <a:gd name="connsiteY42" fmla="*/ 5703955 h 6488565"/>
              <a:gd name="connsiteX43" fmla="*/ 4323654 w 8636594"/>
              <a:gd name="connsiteY43" fmla="*/ 5676722 h 6488565"/>
              <a:gd name="connsiteX44" fmla="*/ 4357854 w 8636594"/>
              <a:gd name="connsiteY44" fmla="*/ 5649218 h 6488565"/>
              <a:gd name="connsiteX45" fmla="*/ 4391688 w 8636594"/>
              <a:gd name="connsiteY45" fmla="*/ 5621446 h 6488565"/>
              <a:gd name="connsiteX46" fmla="*/ 4425162 w 8636594"/>
              <a:gd name="connsiteY46" fmla="*/ 5593409 h 6488565"/>
              <a:gd name="connsiteX47" fmla="*/ 4458281 w 8636594"/>
              <a:gd name="connsiteY47" fmla="*/ 5565111 h 6488565"/>
              <a:gd name="connsiteX48" fmla="*/ 4491053 w 8636594"/>
              <a:gd name="connsiteY48" fmla="*/ 5536556 h 6488565"/>
              <a:gd name="connsiteX49" fmla="*/ 4523484 w 8636594"/>
              <a:gd name="connsiteY49" fmla="*/ 5507747 h 6488565"/>
              <a:gd name="connsiteX50" fmla="*/ 4555580 w 8636594"/>
              <a:gd name="connsiteY50" fmla="*/ 5478687 h 6488565"/>
              <a:gd name="connsiteX51" fmla="*/ 4587347 w 8636594"/>
              <a:gd name="connsiteY51" fmla="*/ 5449380 h 6488565"/>
              <a:gd name="connsiteX52" fmla="*/ 4618793 w 8636594"/>
              <a:gd name="connsiteY52" fmla="*/ 5419830 h 6488565"/>
              <a:gd name="connsiteX53" fmla="*/ 4649922 w 8636594"/>
              <a:gd name="connsiteY53" fmla="*/ 5390040 h 6488565"/>
              <a:gd name="connsiteX54" fmla="*/ 4680742 w 8636594"/>
              <a:gd name="connsiteY54" fmla="*/ 5360014 h 6488565"/>
              <a:gd name="connsiteX55" fmla="*/ 4711259 w 8636594"/>
              <a:gd name="connsiteY55" fmla="*/ 5329755 h 6488565"/>
              <a:gd name="connsiteX56" fmla="*/ 4741478 w 8636594"/>
              <a:gd name="connsiteY56" fmla="*/ 5299266 h 6488565"/>
              <a:gd name="connsiteX57" fmla="*/ 4771408 w 8636594"/>
              <a:gd name="connsiteY57" fmla="*/ 5268551 h 6488565"/>
              <a:gd name="connsiteX58" fmla="*/ 4801053 w 8636594"/>
              <a:gd name="connsiteY58" fmla="*/ 5237614 h 6488565"/>
              <a:gd name="connsiteX59" fmla="*/ 4830420 w 8636594"/>
              <a:gd name="connsiteY59" fmla="*/ 5206458 h 6488565"/>
              <a:gd name="connsiteX60" fmla="*/ 4859516 w 8636594"/>
              <a:gd name="connsiteY60" fmla="*/ 5175087 h 6488565"/>
              <a:gd name="connsiteX61" fmla="*/ 4888347 w 8636594"/>
              <a:gd name="connsiteY61" fmla="*/ 5143504 h 6488565"/>
              <a:gd name="connsiteX62" fmla="*/ 4916919 w 8636594"/>
              <a:gd name="connsiteY62" fmla="*/ 5111713 h 6488565"/>
              <a:gd name="connsiteX63" fmla="*/ 4945238 w 8636594"/>
              <a:gd name="connsiteY63" fmla="*/ 5079717 h 6488565"/>
              <a:gd name="connsiteX64" fmla="*/ 4973311 w 8636594"/>
              <a:gd name="connsiteY64" fmla="*/ 5047519 h 6488565"/>
              <a:gd name="connsiteX65" fmla="*/ 5001145 w 8636594"/>
              <a:gd name="connsiteY65" fmla="*/ 5015124 h 6488565"/>
              <a:gd name="connsiteX66" fmla="*/ 5028745 w 8636594"/>
              <a:gd name="connsiteY66" fmla="*/ 4982535 h 6488565"/>
              <a:gd name="connsiteX67" fmla="*/ 5056117 w 8636594"/>
              <a:gd name="connsiteY67" fmla="*/ 4949755 h 6488565"/>
              <a:gd name="connsiteX68" fmla="*/ 5083269 w 8636594"/>
              <a:gd name="connsiteY68" fmla="*/ 4916787 h 6488565"/>
              <a:gd name="connsiteX69" fmla="*/ 5110207 w 8636594"/>
              <a:gd name="connsiteY69" fmla="*/ 4883636 h 6488565"/>
              <a:gd name="connsiteX70" fmla="*/ 5136937 w 8636594"/>
              <a:gd name="connsiteY70" fmla="*/ 4850305 h 6488565"/>
              <a:gd name="connsiteX71" fmla="*/ 5163464 w 8636594"/>
              <a:gd name="connsiteY71" fmla="*/ 4816797 h 6488565"/>
              <a:gd name="connsiteX72" fmla="*/ 5215940 w 8636594"/>
              <a:gd name="connsiteY72" fmla="*/ 4749265 h 6488565"/>
              <a:gd name="connsiteX73" fmla="*/ 5267684 w 8636594"/>
              <a:gd name="connsiteY73" fmla="*/ 4681068 h 6488565"/>
              <a:gd name="connsiteX74" fmla="*/ 5318748 w 8636594"/>
              <a:gd name="connsiteY74" fmla="*/ 4612234 h 6488565"/>
              <a:gd name="connsiteX75" fmla="*/ 5369182 w 8636594"/>
              <a:gd name="connsiteY75" fmla="*/ 4542793 h 6488565"/>
              <a:gd name="connsiteX76" fmla="*/ 5419038 w 8636594"/>
              <a:gd name="connsiteY76" fmla="*/ 4472771 h 6488565"/>
              <a:gd name="connsiteX77" fmla="*/ 5468365 w 8636594"/>
              <a:gd name="connsiteY77" fmla="*/ 4402196 h 6488565"/>
              <a:gd name="connsiteX78" fmla="*/ 5517215 w 8636594"/>
              <a:gd name="connsiteY78" fmla="*/ 4331098 h 6488565"/>
              <a:gd name="connsiteX79" fmla="*/ 5565637 w 8636594"/>
              <a:gd name="connsiteY79" fmla="*/ 4259503 h 6488565"/>
              <a:gd name="connsiteX80" fmla="*/ 5613684 w 8636594"/>
              <a:gd name="connsiteY80" fmla="*/ 4187441 h 6488565"/>
              <a:gd name="connsiteX81" fmla="*/ 5685160 w 8636594"/>
              <a:gd name="connsiteY81" fmla="*/ 4078531 h 6488565"/>
              <a:gd name="connsiteX82" fmla="*/ 5756074 w 8636594"/>
              <a:gd name="connsiteY82" fmla="*/ 3968727 h 6488565"/>
              <a:gd name="connsiteX83" fmla="*/ 5873483 w 8636594"/>
              <a:gd name="connsiteY83" fmla="*/ 3783989 h 6488565"/>
              <a:gd name="connsiteX84" fmla="*/ 6203209 w 8636594"/>
              <a:gd name="connsiteY84" fmla="*/ 3258640 h 6488565"/>
              <a:gd name="connsiteX85" fmla="*/ 6299430 w 8636594"/>
              <a:gd name="connsiteY85" fmla="*/ 3107321 h 6488565"/>
              <a:gd name="connsiteX86" fmla="*/ 6372650 w 8636594"/>
              <a:gd name="connsiteY86" fmla="*/ 2993735 h 6488565"/>
              <a:gd name="connsiteX87" fmla="*/ 6453197 w 8636594"/>
              <a:gd name="connsiteY87" fmla="*/ 2869788 h 6488565"/>
              <a:gd name="connsiteX88" fmla="*/ 6564167 w 8636594"/>
              <a:gd name="connsiteY88" fmla="*/ 2696807 h 6488565"/>
              <a:gd name="connsiteX89" fmla="*/ 6976233 w 8636594"/>
              <a:gd name="connsiteY89" fmla="*/ 2045274 h 6488565"/>
              <a:gd name="connsiteX90" fmla="*/ 7086755 w 8636594"/>
              <a:gd name="connsiteY90" fmla="*/ 1872743 h 6488565"/>
              <a:gd name="connsiteX91" fmla="*/ 7170279 w 8636594"/>
              <a:gd name="connsiteY91" fmla="*/ 1744202 h 6488565"/>
              <a:gd name="connsiteX92" fmla="*/ 7226351 w 8636594"/>
              <a:gd name="connsiteY92" fmla="*/ 1659017 h 6488565"/>
              <a:gd name="connsiteX93" fmla="*/ 7282789 w 8636594"/>
              <a:gd name="connsiteY93" fmla="*/ 1574303 h 6488565"/>
              <a:gd name="connsiteX94" fmla="*/ 7339643 w 8636594"/>
              <a:gd name="connsiteY94" fmla="*/ 1490113 h 6488565"/>
              <a:gd name="connsiteX95" fmla="*/ 7396957 w 8636594"/>
              <a:gd name="connsiteY95" fmla="*/ 1406503 h 6488565"/>
              <a:gd name="connsiteX96" fmla="*/ 7454781 w 8636594"/>
              <a:gd name="connsiteY96" fmla="*/ 1323526 h 6488565"/>
              <a:gd name="connsiteX97" fmla="*/ 7513161 w 8636594"/>
              <a:gd name="connsiteY97" fmla="*/ 1241237 h 6488565"/>
              <a:gd name="connsiteX98" fmla="*/ 7572144 w 8636594"/>
              <a:gd name="connsiteY98" fmla="*/ 1159689 h 6488565"/>
              <a:gd name="connsiteX99" fmla="*/ 7601877 w 8636594"/>
              <a:gd name="connsiteY99" fmla="*/ 1119210 h 6488565"/>
              <a:gd name="connsiteX100" fmla="*/ 7631779 w 8636594"/>
              <a:gd name="connsiteY100" fmla="*/ 1078937 h 6488565"/>
              <a:gd name="connsiteX101" fmla="*/ 7661855 w 8636594"/>
              <a:gd name="connsiteY101" fmla="*/ 1038876 h 6488565"/>
              <a:gd name="connsiteX102" fmla="*/ 7692111 w 8636594"/>
              <a:gd name="connsiteY102" fmla="*/ 999035 h 6488565"/>
              <a:gd name="connsiteX103" fmla="*/ 7722554 w 8636594"/>
              <a:gd name="connsiteY103" fmla="*/ 959419 h 6488565"/>
              <a:gd name="connsiteX104" fmla="*/ 7753190 w 8636594"/>
              <a:gd name="connsiteY104" fmla="*/ 920037 h 6488565"/>
              <a:gd name="connsiteX105" fmla="*/ 7784023 w 8636594"/>
              <a:gd name="connsiteY105" fmla="*/ 880894 h 6488565"/>
              <a:gd name="connsiteX106" fmla="*/ 7815061 w 8636594"/>
              <a:gd name="connsiteY106" fmla="*/ 841997 h 6488565"/>
              <a:gd name="connsiteX107" fmla="*/ 7846308 w 8636594"/>
              <a:gd name="connsiteY107" fmla="*/ 803354 h 6488565"/>
              <a:gd name="connsiteX108" fmla="*/ 7877772 w 8636594"/>
              <a:gd name="connsiteY108" fmla="*/ 764970 h 6488565"/>
              <a:gd name="connsiteX109" fmla="*/ 7909458 w 8636594"/>
              <a:gd name="connsiteY109" fmla="*/ 726853 h 6488565"/>
              <a:gd name="connsiteX110" fmla="*/ 7941371 w 8636594"/>
              <a:gd name="connsiteY110" fmla="*/ 689010 h 6488565"/>
              <a:gd name="connsiteX111" fmla="*/ 7973518 w 8636594"/>
              <a:gd name="connsiteY111" fmla="*/ 651447 h 6488565"/>
              <a:gd name="connsiteX112" fmla="*/ 8005905 w 8636594"/>
              <a:gd name="connsiteY112" fmla="*/ 614171 h 6488565"/>
              <a:gd name="connsiteX113" fmla="*/ 8038538 w 8636594"/>
              <a:gd name="connsiteY113" fmla="*/ 577189 h 6488565"/>
              <a:gd name="connsiteX114" fmla="*/ 8071421 w 8636594"/>
              <a:gd name="connsiteY114" fmla="*/ 540507 h 6488565"/>
              <a:gd name="connsiteX115" fmla="*/ 8104563 w 8636594"/>
              <a:gd name="connsiteY115" fmla="*/ 504132 h 6488565"/>
              <a:gd name="connsiteX116" fmla="*/ 8137967 w 8636594"/>
              <a:gd name="connsiteY116" fmla="*/ 468072 h 6488565"/>
              <a:gd name="connsiteX117" fmla="*/ 8171641 w 8636594"/>
              <a:gd name="connsiteY117" fmla="*/ 432332 h 6488565"/>
              <a:gd name="connsiteX118" fmla="*/ 8205590 w 8636594"/>
              <a:gd name="connsiteY118" fmla="*/ 396920 h 6488565"/>
              <a:gd name="connsiteX119" fmla="*/ 8239820 w 8636594"/>
              <a:gd name="connsiteY119" fmla="*/ 361843 h 6488565"/>
              <a:gd name="connsiteX120" fmla="*/ 8274337 w 8636594"/>
              <a:gd name="connsiteY120" fmla="*/ 327107 h 6488565"/>
              <a:gd name="connsiteX121" fmla="*/ 8309147 w 8636594"/>
              <a:gd name="connsiteY121" fmla="*/ 292718 h 6488565"/>
              <a:gd name="connsiteX122" fmla="*/ 8344256 w 8636594"/>
              <a:gd name="connsiteY122" fmla="*/ 258685 h 6488565"/>
              <a:gd name="connsiteX123" fmla="*/ 8379669 w 8636594"/>
              <a:gd name="connsiteY123" fmla="*/ 225013 h 6488565"/>
              <a:gd name="connsiteX124" fmla="*/ 8415394 w 8636594"/>
              <a:gd name="connsiteY124" fmla="*/ 191709 h 6488565"/>
              <a:gd name="connsiteX125" fmla="*/ 8451434 w 8636594"/>
              <a:gd name="connsiteY125" fmla="*/ 158780 h 6488565"/>
              <a:gd name="connsiteX126" fmla="*/ 8487798 w 8636594"/>
              <a:gd name="connsiteY126" fmla="*/ 126233 h 6488565"/>
              <a:gd name="connsiteX127" fmla="*/ 8524489 w 8636594"/>
              <a:gd name="connsiteY127" fmla="*/ 94075 h 6488565"/>
              <a:gd name="connsiteX128" fmla="*/ 8561515 w 8636594"/>
              <a:gd name="connsiteY128" fmla="*/ 62312 h 6488565"/>
              <a:gd name="connsiteX129" fmla="*/ 8598881 w 8636594"/>
              <a:gd name="connsiteY129" fmla="*/ 30951 h 6488565"/>
              <a:gd name="connsiteX130" fmla="*/ 8636594 w 8636594"/>
              <a:gd name="connsiteY130" fmla="*/ 0 h 6488565"/>
              <a:gd name="connsiteX0" fmla="*/ 8636594 w 8636594"/>
              <a:gd name="connsiteY0" fmla="*/ 0 h 6473849"/>
              <a:gd name="connsiteX1" fmla="*/ 5293 w 8636594"/>
              <a:gd name="connsiteY1" fmla="*/ 0 h 6473849"/>
              <a:gd name="connsiteX2" fmla="*/ 0 w 8636594"/>
              <a:gd name="connsiteY2" fmla="*/ 5587843 h 6473849"/>
              <a:gd name="connsiteX3" fmla="*/ 1594033 w 8636594"/>
              <a:gd name="connsiteY3" fmla="*/ 5600057 h 6473849"/>
              <a:gd name="connsiteX4" fmla="*/ 1686068 w 8636594"/>
              <a:gd name="connsiteY4" fmla="*/ 5599745 h 6473849"/>
              <a:gd name="connsiteX5" fmla="*/ 2742629 w 8636594"/>
              <a:gd name="connsiteY5" fmla="*/ 6473849 h 6473849"/>
              <a:gd name="connsiteX6" fmla="*/ 2794848 w 8636594"/>
              <a:gd name="connsiteY6" fmla="*/ 6458731 h 6473849"/>
              <a:gd name="connsiteX7" fmla="*/ 2846466 w 8636594"/>
              <a:gd name="connsiteY7" fmla="*/ 6443216 h 6473849"/>
              <a:gd name="connsiteX8" fmla="*/ 2897488 w 8636594"/>
              <a:gd name="connsiteY8" fmla="*/ 6427305 h 6473849"/>
              <a:gd name="connsiteX9" fmla="*/ 2947923 w 8636594"/>
              <a:gd name="connsiteY9" fmla="*/ 6411004 h 6473849"/>
              <a:gd name="connsiteX10" fmla="*/ 2997775 w 8636594"/>
              <a:gd name="connsiteY10" fmla="*/ 6394316 h 6473849"/>
              <a:gd name="connsiteX11" fmla="*/ 3047052 w 8636594"/>
              <a:gd name="connsiteY11" fmla="*/ 6377243 h 6473849"/>
              <a:gd name="connsiteX12" fmla="*/ 3095759 w 8636594"/>
              <a:gd name="connsiteY12" fmla="*/ 6359791 h 6473849"/>
              <a:gd name="connsiteX13" fmla="*/ 3143903 w 8636594"/>
              <a:gd name="connsiteY13" fmla="*/ 6341961 h 6473849"/>
              <a:gd name="connsiteX14" fmla="*/ 3191491 w 8636594"/>
              <a:gd name="connsiteY14" fmla="*/ 6323757 h 6473849"/>
              <a:gd name="connsiteX15" fmla="*/ 3238528 w 8636594"/>
              <a:gd name="connsiteY15" fmla="*/ 6305184 h 6473849"/>
              <a:gd name="connsiteX16" fmla="*/ 3285021 w 8636594"/>
              <a:gd name="connsiteY16" fmla="*/ 6286245 h 6473849"/>
              <a:gd name="connsiteX17" fmla="*/ 3330977 w 8636594"/>
              <a:gd name="connsiteY17" fmla="*/ 6266942 h 6473849"/>
              <a:gd name="connsiteX18" fmla="*/ 3376401 w 8636594"/>
              <a:gd name="connsiteY18" fmla="*/ 6247281 h 6473849"/>
              <a:gd name="connsiteX19" fmla="*/ 3421300 w 8636594"/>
              <a:gd name="connsiteY19" fmla="*/ 6227263 h 6473849"/>
              <a:gd name="connsiteX20" fmla="*/ 3465680 w 8636594"/>
              <a:gd name="connsiteY20" fmla="*/ 6206893 h 6473849"/>
              <a:gd name="connsiteX21" fmla="*/ 3509548 w 8636594"/>
              <a:gd name="connsiteY21" fmla="*/ 6186174 h 6473849"/>
              <a:gd name="connsiteX22" fmla="*/ 3552910 w 8636594"/>
              <a:gd name="connsiteY22" fmla="*/ 6165110 h 6473849"/>
              <a:gd name="connsiteX23" fmla="*/ 3595773 w 8636594"/>
              <a:gd name="connsiteY23" fmla="*/ 6143704 h 6473849"/>
              <a:gd name="connsiteX24" fmla="*/ 3638142 w 8636594"/>
              <a:gd name="connsiteY24" fmla="*/ 6121960 h 6473849"/>
              <a:gd name="connsiteX25" fmla="*/ 3680024 w 8636594"/>
              <a:gd name="connsiteY25" fmla="*/ 6099881 h 6473849"/>
              <a:gd name="connsiteX26" fmla="*/ 3721426 w 8636594"/>
              <a:gd name="connsiteY26" fmla="*/ 6077471 h 6473849"/>
              <a:gd name="connsiteX27" fmla="*/ 3762353 w 8636594"/>
              <a:gd name="connsiteY27" fmla="*/ 6054733 h 6473849"/>
              <a:gd name="connsiteX28" fmla="*/ 3802812 w 8636594"/>
              <a:gd name="connsiteY28" fmla="*/ 6031671 h 6473849"/>
              <a:gd name="connsiteX29" fmla="*/ 3842810 w 8636594"/>
              <a:gd name="connsiteY29" fmla="*/ 6008288 h 6473849"/>
              <a:gd name="connsiteX30" fmla="*/ 3882352 w 8636594"/>
              <a:gd name="connsiteY30" fmla="*/ 5984588 h 6473849"/>
              <a:gd name="connsiteX31" fmla="*/ 3921445 w 8636594"/>
              <a:gd name="connsiteY31" fmla="*/ 5960574 h 6473849"/>
              <a:gd name="connsiteX32" fmla="*/ 3960096 w 8636594"/>
              <a:gd name="connsiteY32" fmla="*/ 5936250 h 6473849"/>
              <a:gd name="connsiteX33" fmla="*/ 3998311 w 8636594"/>
              <a:gd name="connsiteY33" fmla="*/ 5911619 h 6473849"/>
              <a:gd name="connsiteX34" fmla="*/ 4036095 w 8636594"/>
              <a:gd name="connsiteY34" fmla="*/ 5886685 h 6473849"/>
              <a:gd name="connsiteX35" fmla="*/ 4073456 w 8636594"/>
              <a:gd name="connsiteY35" fmla="*/ 5861452 h 6473849"/>
              <a:gd name="connsiteX36" fmla="*/ 4110400 w 8636594"/>
              <a:gd name="connsiteY36" fmla="*/ 5835922 h 6473849"/>
              <a:gd name="connsiteX37" fmla="*/ 4146933 w 8636594"/>
              <a:gd name="connsiteY37" fmla="*/ 5810100 h 6473849"/>
              <a:gd name="connsiteX38" fmla="*/ 4183061 w 8636594"/>
              <a:gd name="connsiteY38" fmla="*/ 5783988 h 6473849"/>
              <a:gd name="connsiteX39" fmla="*/ 4218791 w 8636594"/>
              <a:gd name="connsiteY39" fmla="*/ 5757591 h 6473849"/>
              <a:gd name="connsiteX40" fmla="*/ 4254129 w 8636594"/>
              <a:gd name="connsiteY40" fmla="*/ 5730912 h 6473849"/>
              <a:gd name="connsiteX41" fmla="*/ 4289081 w 8636594"/>
              <a:gd name="connsiteY41" fmla="*/ 5703955 h 6473849"/>
              <a:gd name="connsiteX42" fmla="*/ 4323654 w 8636594"/>
              <a:gd name="connsiteY42" fmla="*/ 5676722 h 6473849"/>
              <a:gd name="connsiteX43" fmla="*/ 4357854 w 8636594"/>
              <a:gd name="connsiteY43" fmla="*/ 5649218 h 6473849"/>
              <a:gd name="connsiteX44" fmla="*/ 4391688 w 8636594"/>
              <a:gd name="connsiteY44" fmla="*/ 5621446 h 6473849"/>
              <a:gd name="connsiteX45" fmla="*/ 4425162 w 8636594"/>
              <a:gd name="connsiteY45" fmla="*/ 5593409 h 6473849"/>
              <a:gd name="connsiteX46" fmla="*/ 4458281 w 8636594"/>
              <a:gd name="connsiteY46" fmla="*/ 5565111 h 6473849"/>
              <a:gd name="connsiteX47" fmla="*/ 4491053 w 8636594"/>
              <a:gd name="connsiteY47" fmla="*/ 5536556 h 6473849"/>
              <a:gd name="connsiteX48" fmla="*/ 4523484 w 8636594"/>
              <a:gd name="connsiteY48" fmla="*/ 5507747 h 6473849"/>
              <a:gd name="connsiteX49" fmla="*/ 4555580 w 8636594"/>
              <a:gd name="connsiteY49" fmla="*/ 5478687 h 6473849"/>
              <a:gd name="connsiteX50" fmla="*/ 4587347 w 8636594"/>
              <a:gd name="connsiteY50" fmla="*/ 5449380 h 6473849"/>
              <a:gd name="connsiteX51" fmla="*/ 4618793 w 8636594"/>
              <a:gd name="connsiteY51" fmla="*/ 5419830 h 6473849"/>
              <a:gd name="connsiteX52" fmla="*/ 4649922 w 8636594"/>
              <a:gd name="connsiteY52" fmla="*/ 5390040 h 6473849"/>
              <a:gd name="connsiteX53" fmla="*/ 4680742 w 8636594"/>
              <a:gd name="connsiteY53" fmla="*/ 5360014 h 6473849"/>
              <a:gd name="connsiteX54" fmla="*/ 4711259 w 8636594"/>
              <a:gd name="connsiteY54" fmla="*/ 5329755 h 6473849"/>
              <a:gd name="connsiteX55" fmla="*/ 4741478 w 8636594"/>
              <a:gd name="connsiteY55" fmla="*/ 5299266 h 6473849"/>
              <a:gd name="connsiteX56" fmla="*/ 4771408 w 8636594"/>
              <a:gd name="connsiteY56" fmla="*/ 5268551 h 6473849"/>
              <a:gd name="connsiteX57" fmla="*/ 4801053 w 8636594"/>
              <a:gd name="connsiteY57" fmla="*/ 5237614 h 6473849"/>
              <a:gd name="connsiteX58" fmla="*/ 4830420 w 8636594"/>
              <a:gd name="connsiteY58" fmla="*/ 5206458 h 6473849"/>
              <a:gd name="connsiteX59" fmla="*/ 4859516 w 8636594"/>
              <a:gd name="connsiteY59" fmla="*/ 5175087 h 6473849"/>
              <a:gd name="connsiteX60" fmla="*/ 4888347 w 8636594"/>
              <a:gd name="connsiteY60" fmla="*/ 5143504 h 6473849"/>
              <a:gd name="connsiteX61" fmla="*/ 4916919 w 8636594"/>
              <a:gd name="connsiteY61" fmla="*/ 5111713 h 6473849"/>
              <a:gd name="connsiteX62" fmla="*/ 4945238 w 8636594"/>
              <a:gd name="connsiteY62" fmla="*/ 5079717 h 6473849"/>
              <a:gd name="connsiteX63" fmla="*/ 4973311 w 8636594"/>
              <a:gd name="connsiteY63" fmla="*/ 5047519 h 6473849"/>
              <a:gd name="connsiteX64" fmla="*/ 5001145 w 8636594"/>
              <a:gd name="connsiteY64" fmla="*/ 5015124 h 6473849"/>
              <a:gd name="connsiteX65" fmla="*/ 5028745 w 8636594"/>
              <a:gd name="connsiteY65" fmla="*/ 4982535 h 6473849"/>
              <a:gd name="connsiteX66" fmla="*/ 5056117 w 8636594"/>
              <a:gd name="connsiteY66" fmla="*/ 4949755 h 6473849"/>
              <a:gd name="connsiteX67" fmla="*/ 5083269 w 8636594"/>
              <a:gd name="connsiteY67" fmla="*/ 4916787 h 6473849"/>
              <a:gd name="connsiteX68" fmla="*/ 5110207 w 8636594"/>
              <a:gd name="connsiteY68" fmla="*/ 4883636 h 6473849"/>
              <a:gd name="connsiteX69" fmla="*/ 5136937 w 8636594"/>
              <a:gd name="connsiteY69" fmla="*/ 4850305 h 6473849"/>
              <a:gd name="connsiteX70" fmla="*/ 5163464 w 8636594"/>
              <a:gd name="connsiteY70" fmla="*/ 4816797 h 6473849"/>
              <a:gd name="connsiteX71" fmla="*/ 5215940 w 8636594"/>
              <a:gd name="connsiteY71" fmla="*/ 4749265 h 6473849"/>
              <a:gd name="connsiteX72" fmla="*/ 5267684 w 8636594"/>
              <a:gd name="connsiteY72" fmla="*/ 4681068 h 6473849"/>
              <a:gd name="connsiteX73" fmla="*/ 5318748 w 8636594"/>
              <a:gd name="connsiteY73" fmla="*/ 4612234 h 6473849"/>
              <a:gd name="connsiteX74" fmla="*/ 5369182 w 8636594"/>
              <a:gd name="connsiteY74" fmla="*/ 4542793 h 6473849"/>
              <a:gd name="connsiteX75" fmla="*/ 5419038 w 8636594"/>
              <a:gd name="connsiteY75" fmla="*/ 4472771 h 6473849"/>
              <a:gd name="connsiteX76" fmla="*/ 5468365 w 8636594"/>
              <a:gd name="connsiteY76" fmla="*/ 4402196 h 6473849"/>
              <a:gd name="connsiteX77" fmla="*/ 5517215 w 8636594"/>
              <a:gd name="connsiteY77" fmla="*/ 4331098 h 6473849"/>
              <a:gd name="connsiteX78" fmla="*/ 5565637 w 8636594"/>
              <a:gd name="connsiteY78" fmla="*/ 4259503 h 6473849"/>
              <a:gd name="connsiteX79" fmla="*/ 5613684 w 8636594"/>
              <a:gd name="connsiteY79" fmla="*/ 4187441 h 6473849"/>
              <a:gd name="connsiteX80" fmla="*/ 5685160 w 8636594"/>
              <a:gd name="connsiteY80" fmla="*/ 4078531 h 6473849"/>
              <a:gd name="connsiteX81" fmla="*/ 5756074 w 8636594"/>
              <a:gd name="connsiteY81" fmla="*/ 3968727 h 6473849"/>
              <a:gd name="connsiteX82" fmla="*/ 5873483 w 8636594"/>
              <a:gd name="connsiteY82" fmla="*/ 3783989 h 6473849"/>
              <a:gd name="connsiteX83" fmla="*/ 6203209 w 8636594"/>
              <a:gd name="connsiteY83" fmla="*/ 3258640 h 6473849"/>
              <a:gd name="connsiteX84" fmla="*/ 6299430 w 8636594"/>
              <a:gd name="connsiteY84" fmla="*/ 3107321 h 6473849"/>
              <a:gd name="connsiteX85" fmla="*/ 6372650 w 8636594"/>
              <a:gd name="connsiteY85" fmla="*/ 2993735 h 6473849"/>
              <a:gd name="connsiteX86" fmla="*/ 6453197 w 8636594"/>
              <a:gd name="connsiteY86" fmla="*/ 2869788 h 6473849"/>
              <a:gd name="connsiteX87" fmla="*/ 6564167 w 8636594"/>
              <a:gd name="connsiteY87" fmla="*/ 2696807 h 6473849"/>
              <a:gd name="connsiteX88" fmla="*/ 6976233 w 8636594"/>
              <a:gd name="connsiteY88" fmla="*/ 2045274 h 6473849"/>
              <a:gd name="connsiteX89" fmla="*/ 7086755 w 8636594"/>
              <a:gd name="connsiteY89" fmla="*/ 1872743 h 6473849"/>
              <a:gd name="connsiteX90" fmla="*/ 7170279 w 8636594"/>
              <a:gd name="connsiteY90" fmla="*/ 1744202 h 6473849"/>
              <a:gd name="connsiteX91" fmla="*/ 7226351 w 8636594"/>
              <a:gd name="connsiteY91" fmla="*/ 1659017 h 6473849"/>
              <a:gd name="connsiteX92" fmla="*/ 7282789 w 8636594"/>
              <a:gd name="connsiteY92" fmla="*/ 1574303 h 6473849"/>
              <a:gd name="connsiteX93" fmla="*/ 7339643 w 8636594"/>
              <a:gd name="connsiteY93" fmla="*/ 1490113 h 6473849"/>
              <a:gd name="connsiteX94" fmla="*/ 7396957 w 8636594"/>
              <a:gd name="connsiteY94" fmla="*/ 1406503 h 6473849"/>
              <a:gd name="connsiteX95" fmla="*/ 7454781 w 8636594"/>
              <a:gd name="connsiteY95" fmla="*/ 1323526 h 6473849"/>
              <a:gd name="connsiteX96" fmla="*/ 7513161 w 8636594"/>
              <a:gd name="connsiteY96" fmla="*/ 1241237 h 6473849"/>
              <a:gd name="connsiteX97" fmla="*/ 7572144 w 8636594"/>
              <a:gd name="connsiteY97" fmla="*/ 1159689 h 6473849"/>
              <a:gd name="connsiteX98" fmla="*/ 7601877 w 8636594"/>
              <a:gd name="connsiteY98" fmla="*/ 1119210 h 6473849"/>
              <a:gd name="connsiteX99" fmla="*/ 7631779 w 8636594"/>
              <a:gd name="connsiteY99" fmla="*/ 1078937 h 6473849"/>
              <a:gd name="connsiteX100" fmla="*/ 7661855 w 8636594"/>
              <a:gd name="connsiteY100" fmla="*/ 1038876 h 6473849"/>
              <a:gd name="connsiteX101" fmla="*/ 7692111 w 8636594"/>
              <a:gd name="connsiteY101" fmla="*/ 999035 h 6473849"/>
              <a:gd name="connsiteX102" fmla="*/ 7722554 w 8636594"/>
              <a:gd name="connsiteY102" fmla="*/ 959419 h 6473849"/>
              <a:gd name="connsiteX103" fmla="*/ 7753190 w 8636594"/>
              <a:gd name="connsiteY103" fmla="*/ 920037 h 6473849"/>
              <a:gd name="connsiteX104" fmla="*/ 7784023 w 8636594"/>
              <a:gd name="connsiteY104" fmla="*/ 880894 h 6473849"/>
              <a:gd name="connsiteX105" fmla="*/ 7815061 w 8636594"/>
              <a:gd name="connsiteY105" fmla="*/ 841997 h 6473849"/>
              <a:gd name="connsiteX106" fmla="*/ 7846308 w 8636594"/>
              <a:gd name="connsiteY106" fmla="*/ 803354 h 6473849"/>
              <a:gd name="connsiteX107" fmla="*/ 7877772 w 8636594"/>
              <a:gd name="connsiteY107" fmla="*/ 764970 h 6473849"/>
              <a:gd name="connsiteX108" fmla="*/ 7909458 w 8636594"/>
              <a:gd name="connsiteY108" fmla="*/ 726853 h 6473849"/>
              <a:gd name="connsiteX109" fmla="*/ 7941371 w 8636594"/>
              <a:gd name="connsiteY109" fmla="*/ 689010 h 6473849"/>
              <a:gd name="connsiteX110" fmla="*/ 7973518 w 8636594"/>
              <a:gd name="connsiteY110" fmla="*/ 651447 h 6473849"/>
              <a:gd name="connsiteX111" fmla="*/ 8005905 w 8636594"/>
              <a:gd name="connsiteY111" fmla="*/ 614171 h 6473849"/>
              <a:gd name="connsiteX112" fmla="*/ 8038538 w 8636594"/>
              <a:gd name="connsiteY112" fmla="*/ 577189 h 6473849"/>
              <a:gd name="connsiteX113" fmla="*/ 8071421 w 8636594"/>
              <a:gd name="connsiteY113" fmla="*/ 540507 h 6473849"/>
              <a:gd name="connsiteX114" fmla="*/ 8104563 w 8636594"/>
              <a:gd name="connsiteY114" fmla="*/ 504132 h 6473849"/>
              <a:gd name="connsiteX115" fmla="*/ 8137967 w 8636594"/>
              <a:gd name="connsiteY115" fmla="*/ 468072 h 6473849"/>
              <a:gd name="connsiteX116" fmla="*/ 8171641 w 8636594"/>
              <a:gd name="connsiteY116" fmla="*/ 432332 h 6473849"/>
              <a:gd name="connsiteX117" fmla="*/ 8205590 w 8636594"/>
              <a:gd name="connsiteY117" fmla="*/ 396920 h 6473849"/>
              <a:gd name="connsiteX118" fmla="*/ 8239820 w 8636594"/>
              <a:gd name="connsiteY118" fmla="*/ 361843 h 6473849"/>
              <a:gd name="connsiteX119" fmla="*/ 8274337 w 8636594"/>
              <a:gd name="connsiteY119" fmla="*/ 327107 h 6473849"/>
              <a:gd name="connsiteX120" fmla="*/ 8309147 w 8636594"/>
              <a:gd name="connsiteY120" fmla="*/ 292718 h 6473849"/>
              <a:gd name="connsiteX121" fmla="*/ 8344256 w 8636594"/>
              <a:gd name="connsiteY121" fmla="*/ 258685 h 6473849"/>
              <a:gd name="connsiteX122" fmla="*/ 8379669 w 8636594"/>
              <a:gd name="connsiteY122" fmla="*/ 225013 h 6473849"/>
              <a:gd name="connsiteX123" fmla="*/ 8415394 w 8636594"/>
              <a:gd name="connsiteY123" fmla="*/ 191709 h 6473849"/>
              <a:gd name="connsiteX124" fmla="*/ 8451434 w 8636594"/>
              <a:gd name="connsiteY124" fmla="*/ 158780 h 6473849"/>
              <a:gd name="connsiteX125" fmla="*/ 8487798 w 8636594"/>
              <a:gd name="connsiteY125" fmla="*/ 126233 h 6473849"/>
              <a:gd name="connsiteX126" fmla="*/ 8524489 w 8636594"/>
              <a:gd name="connsiteY126" fmla="*/ 94075 h 6473849"/>
              <a:gd name="connsiteX127" fmla="*/ 8561515 w 8636594"/>
              <a:gd name="connsiteY127" fmla="*/ 62312 h 6473849"/>
              <a:gd name="connsiteX128" fmla="*/ 8598881 w 8636594"/>
              <a:gd name="connsiteY128" fmla="*/ 30951 h 6473849"/>
              <a:gd name="connsiteX129" fmla="*/ 8636594 w 8636594"/>
              <a:gd name="connsiteY129" fmla="*/ 0 h 6473849"/>
              <a:gd name="connsiteX0" fmla="*/ 8636594 w 8636594"/>
              <a:gd name="connsiteY0" fmla="*/ 0 h 6458731"/>
              <a:gd name="connsiteX1" fmla="*/ 5293 w 8636594"/>
              <a:gd name="connsiteY1" fmla="*/ 0 h 6458731"/>
              <a:gd name="connsiteX2" fmla="*/ 0 w 8636594"/>
              <a:gd name="connsiteY2" fmla="*/ 5587843 h 6458731"/>
              <a:gd name="connsiteX3" fmla="*/ 1594033 w 8636594"/>
              <a:gd name="connsiteY3" fmla="*/ 5600057 h 6458731"/>
              <a:gd name="connsiteX4" fmla="*/ 1686068 w 8636594"/>
              <a:gd name="connsiteY4" fmla="*/ 5599745 h 6458731"/>
              <a:gd name="connsiteX5" fmla="*/ 2794848 w 8636594"/>
              <a:gd name="connsiteY5" fmla="*/ 6458731 h 6458731"/>
              <a:gd name="connsiteX6" fmla="*/ 2846466 w 8636594"/>
              <a:gd name="connsiteY6" fmla="*/ 6443216 h 6458731"/>
              <a:gd name="connsiteX7" fmla="*/ 2897488 w 8636594"/>
              <a:gd name="connsiteY7" fmla="*/ 6427305 h 6458731"/>
              <a:gd name="connsiteX8" fmla="*/ 2947923 w 8636594"/>
              <a:gd name="connsiteY8" fmla="*/ 6411004 h 6458731"/>
              <a:gd name="connsiteX9" fmla="*/ 2997775 w 8636594"/>
              <a:gd name="connsiteY9" fmla="*/ 6394316 h 6458731"/>
              <a:gd name="connsiteX10" fmla="*/ 3047052 w 8636594"/>
              <a:gd name="connsiteY10" fmla="*/ 6377243 h 6458731"/>
              <a:gd name="connsiteX11" fmla="*/ 3095759 w 8636594"/>
              <a:gd name="connsiteY11" fmla="*/ 6359791 h 6458731"/>
              <a:gd name="connsiteX12" fmla="*/ 3143903 w 8636594"/>
              <a:gd name="connsiteY12" fmla="*/ 6341961 h 6458731"/>
              <a:gd name="connsiteX13" fmla="*/ 3191491 w 8636594"/>
              <a:gd name="connsiteY13" fmla="*/ 6323757 h 6458731"/>
              <a:gd name="connsiteX14" fmla="*/ 3238528 w 8636594"/>
              <a:gd name="connsiteY14" fmla="*/ 6305184 h 6458731"/>
              <a:gd name="connsiteX15" fmla="*/ 3285021 w 8636594"/>
              <a:gd name="connsiteY15" fmla="*/ 6286245 h 6458731"/>
              <a:gd name="connsiteX16" fmla="*/ 3330977 w 8636594"/>
              <a:gd name="connsiteY16" fmla="*/ 6266942 h 6458731"/>
              <a:gd name="connsiteX17" fmla="*/ 3376401 w 8636594"/>
              <a:gd name="connsiteY17" fmla="*/ 6247281 h 6458731"/>
              <a:gd name="connsiteX18" fmla="*/ 3421300 w 8636594"/>
              <a:gd name="connsiteY18" fmla="*/ 6227263 h 6458731"/>
              <a:gd name="connsiteX19" fmla="*/ 3465680 w 8636594"/>
              <a:gd name="connsiteY19" fmla="*/ 6206893 h 6458731"/>
              <a:gd name="connsiteX20" fmla="*/ 3509548 w 8636594"/>
              <a:gd name="connsiteY20" fmla="*/ 6186174 h 6458731"/>
              <a:gd name="connsiteX21" fmla="*/ 3552910 w 8636594"/>
              <a:gd name="connsiteY21" fmla="*/ 6165110 h 6458731"/>
              <a:gd name="connsiteX22" fmla="*/ 3595773 w 8636594"/>
              <a:gd name="connsiteY22" fmla="*/ 6143704 h 6458731"/>
              <a:gd name="connsiteX23" fmla="*/ 3638142 w 8636594"/>
              <a:gd name="connsiteY23" fmla="*/ 6121960 h 6458731"/>
              <a:gd name="connsiteX24" fmla="*/ 3680024 w 8636594"/>
              <a:gd name="connsiteY24" fmla="*/ 6099881 h 6458731"/>
              <a:gd name="connsiteX25" fmla="*/ 3721426 w 8636594"/>
              <a:gd name="connsiteY25" fmla="*/ 6077471 h 6458731"/>
              <a:gd name="connsiteX26" fmla="*/ 3762353 w 8636594"/>
              <a:gd name="connsiteY26" fmla="*/ 6054733 h 6458731"/>
              <a:gd name="connsiteX27" fmla="*/ 3802812 w 8636594"/>
              <a:gd name="connsiteY27" fmla="*/ 6031671 h 6458731"/>
              <a:gd name="connsiteX28" fmla="*/ 3842810 w 8636594"/>
              <a:gd name="connsiteY28" fmla="*/ 6008288 h 6458731"/>
              <a:gd name="connsiteX29" fmla="*/ 3882352 w 8636594"/>
              <a:gd name="connsiteY29" fmla="*/ 5984588 h 6458731"/>
              <a:gd name="connsiteX30" fmla="*/ 3921445 w 8636594"/>
              <a:gd name="connsiteY30" fmla="*/ 5960574 h 6458731"/>
              <a:gd name="connsiteX31" fmla="*/ 3960096 w 8636594"/>
              <a:gd name="connsiteY31" fmla="*/ 5936250 h 6458731"/>
              <a:gd name="connsiteX32" fmla="*/ 3998311 w 8636594"/>
              <a:gd name="connsiteY32" fmla="*/ 5911619 h 6458731"/>
              <a:gd name="connsiteX33" fmla="*/ 4036095 w 8636594"/>
              <a:gd name="connsiteY33" fmla="*/ 5886685 h 6458731"/>
              <a:gd name="connsiteX34" fmla="*/ 4073456 w 8636594"/>
              <a:gd name="connsiteY34" fmla="*/ 5861452 h 6458731"/>
              <a:gd name="connsiteX35" fmla="*/ 4110400 w 8636594"/>
              <a:gd name="connsiteY35" fmla="*/ 5835922 h 6458731"/>
              <a:gd name="connsiteX36" fmla="*/ 4146933 w 8636594"/>
              <a:gd name="connsiteY36" fmla="*/ 5810100 h 6458731"/>
              <a:gd name="connsiteX37" fmla="*/ 4183061 w 8636594"/>
              <a:gd name="connsiteY37" fmla="*/ 5783988 h 6458731"/>
              <a:gd name="connsiteX38" fmla="*/ 4218791 w 8636594"/>
              <a:gd name="connsiteY38" fmla="*/ 5757591 h 6458731"/>
              <a:gd name="connsiteX39" fmla="*/ 4254129 w 8636594"/>
              <a:gd name="connsiteY39" fmla="*/ 5730912 h 6458731"/>
              <a:gd name="connsiteX40" fmla="*/ 4289081 w 8636594"/>
              <a:gd name="connsiteY40" fmla="*/ 5703955 h 6458731"/>
              <a:gd name="connsiteX41" fmla="*/ 4323654 w 8636594"/>
              <a:gd name="connsiteY41" fmla="*/ 5676722 h 6458731"/>
              <a:gd name="connsiteX42" fmla="*/ 4357854 w 8636594"/>
              <a:gd name="connsiteY42" fmla="*/ 5649218 h 6458731"/>
              <a:gd name="connsiteX43" fmla="*/ 4391688 w 8636594"/>
              <a:gd name="connsiteY43" fmla="*/ 5621446 h 6458731"/>
              <a:gd name="connsiteX44" fmla="*/ 4425162 w 8636594"/>
              <a:gd name="connsiteY44" fmla="*/ 5593409 h 6458731"/>
              <a:gd name="connsiteX45" fmla="*/ 4458281 w 8636594"/>
              <a:gd name="connsiteY45" fmla="*/ 5565111 h 6458731"/>
              <a:gd name="connsiteX46" fmla="*/ 4491053 w 8636594"/>
              <a:gd name="connsiteY46" fmla="*/ 5536556 h 6458731"/>
              <a:gd name="connsiteX47" fmla="*/ 4523484 w 8636594"/>
              <a:gd name="connsiteY47" fmla="*/ 5507747 h 6458731"/>
              <a:gd name="connsiteX48" fmla="*/ 4555580 w 8636594"/>
              <a:gd name="connsiteY48" fmla="*/ 5478687 h 6458731"/>
              <a:gd name="connsiteX49" fmla="*/ 4587347 w 8636594"/>
              <a:gd name="connsiteY49" fmla="*/ 5449380 h 6458731"/>
              <a:gd name="connsiteX50" fmla="*/ 4618793 w 8636594"/>
              <a:gd name="connsiteY50" fmla="*/ 5419830 h 6458731"/>
              <a:gd name="connsiteX51" fmla="*/ 4649922 w 8636594"/>
              <a:gd name="connsiteY51" fmla="*/ 5390040 h 6458731"/>
              <a:gd name="connsiteX52" fmla="*/ 4680742 w 8636594"/>
              <a:gd name="connsiteY52" fmla="*/ 5360014 h 6458731"/>
              <a:gd name="connsiteX53" fmla="*/ 4711259 w 8636594"/>
              <a:gd name="connsiteY53" fmla="*/ 5329755 h 6458731"/>
              <a:gd name="connsiteX54" fmla="*/ 4741478 w 8636594"/>
              <a:gd name="connsiteY54" fmla="*/ 5299266 h 6458731"/>
              <a:gd name="connsiteX55" fmla="*/ 4771408 w 8636594"/>
              <a:gd name="connsiteY55" fmla="*/ 5268551 h 6458731"/>
              <a:gd name="connsiteX56" fmla="*/ 4801053 w 8636594"/>
              <a:gd name="connsiteY56" fmla="*/ 5237614 h 6458731"/>
              <a:gd name="connsiteX57" fmla="*/ 4830420 w 8636594"/>
              <a:gd name="connsiteY57" fmla="*/ 5206458 h 6458731"/>
              <a:gd name="connsiteX58" fmla="*/ 4859516 w 8636594"/>
              <a:gd name="connsiteY58" fmla="*/ 5175087 h 6458731"/>
              <a:gd name="connsiteX59" fmla="*/ 4888347 w 8636594"/>
              <a:gd name="connsiteY59" fmla="*/ 5143504 h 6458731"/>
              <a:gd name="connsiteX60" fmla="*/ 4916919 w 8636594"/>
              <a:gd name="connsiteY60" fmla="*/ 5111713 h 6458731"/>
              <a:gd name="connsiteX61" fmla="*/ 4945238 w 8636594"/>
              <a:gd name="connsiteY61" fmla="*/ 5079717 h 6458731"/>
              <a:gd name="connsiteX62" fmla="*/ 4973311 w 8636594"/>
              <a:gd name="connsiteY62" fmla="*/ 5047519 h 6458731"/>
              <a:gd name="connsiteX63" fmla="*/ 5001145 w 8636594"/>
              <a:gd name="connsiteY63" fmla="*/ 5015124 h 6458731"/>
              <a:gd name="connsiteX64" fmla="*/ 5028745 w 8636594"/>
              <a:gd name="connsiteY64" fmla="*/ 4982535 h 6458731"/>
              <a:gd name="connsiteX65" fmla="*/ 5056117 w 8636594"/>
              <a:gd name="connsiteY65" fmla="*/ 4949755 h 6458731"/>
              <a:gd name="connsiteX66" fmla="*/ 5083269 w 8636594"/>
              <a:gd name="connsiteY66" fmla="*/ 4916787 h 6458731"/>
              <a:gd name="connsiteX67" fmla="*/ 5110207 w 8636594"/>
              <a:gd name="connsiteY67" fmla="*/ 4883636 h 6458731"/>
              <a:gd name="connsiteX68" fmla="*/ 5136937 w 8636594"/>
              <a:gd name="connsiteY68" fmla="*/ 4850305 h 6458731"/>
              <a:gd name="connsiteX69" fmla="*/ 5163464 w 8636594"/>
              <a:gd name="connsiteY69" fmla="*/ 4816797 h 6458731"/>
              <a:gd name="connsiteX70" fmla="*/ 5215940 w 8636594"/>
              <a:gd name="connsiteY70" fmla="*/ 4749265 h 6458731"/>
              <a:gd name="connsiteX71" fmla="*/ 5267684 w 8636594"/>
              <a:gd name="connsiteY71" fmla="*/ 4681068 h 6458731"/>
              <a:gd name="connsiteX72" fmla="*/ 5318748 w 8636594"/>
              <a:gd name="connsiteY72" fmla="*/ 4612234 h 6458731"/>
              <a:gd name="connsiteX73" fmla="*/ 5369182 w 8636594"/>
              <a:gd name="connsiteY73" fmla="*/ 4542793 h 6458731"/>
              <a:gd name="connsiteX74" fmla="*/ 5419038 w 8636594"/>
              <a:gd name="connsiteY74" fmla="*/ 4472771 h 6458731"/>
              <a:gd name="connsiteX75" fmla="*/ 5468365 w 8636594"/>
              <a:gd name="connsiteY75" fmla="*/ 4402196 h 6458731"/>
              <a:gd name="connsiteX76" fmla="*/ 5517215 w 8636594"/>
              <a:gd name="connsiteY76" fmla="*/ 4331098 h 6458731"/>
              <a:gd name="connsiteX77" fmla="*/ 5565637 w 8636594"/>
              <a:gd name="connsiteY77" fmla="*/ 4259503 h 6458731"/>
              <a:gd name="connsiteX78" fmla="*/ 5613684 w 8636594"/>
              <a:gd name="connsiteY78" fmla="*/ 4187441 h 6458731"/>
              <a:gd name="connsiteX79" fmla="*/ 5685160 w 8636594"/>
              <a:gd name="connsiteY79" fmla="*/ 4078531 h 6458731"/>
              <a:gd name="connsiteX80" fmla="*/ 5756074 w 8636594"/>
              <a:gd name="connsiteY80" fmla="*/ 3968727 h 6458731"/>
              <a:gd name="connsiteX81" fmla="*/ 5873483 w 8636594"/>
              <a:gd name="connsiteY81" fmla="*/ 3783989 h 6458731"/>
              <a:gd name="connsiteX82" fmla="*/ 6203209 w 8636594"/>
              <a:gd name="connsiteY82" fmla="*/ 3258640 h 6458731"/>
              <a:gd name="connsiteX83" fmla="*/ 6299430 w 8636594"/>
              <a:gd name="connsiteY83" fmla="*/ 3107321 h 6458731"/>
              <a:gd name="connsiteX84" fmla="*/ 6372650 w 8636594"/>
              <a:gd name="connsiteY84" fmla="*/ 2993735 h 6458731"/>
              <a:gd name="connsiteX85" fmla="*/ 6453197 w 8636594"/>
              <a:gd name="connsiteY85" fmla="*/ 2869788 h 6458731"/>
              <a:gd name="connsiteX86" fmla="*/ 6564167 w 8636594"/>
              <a:gd name="connsiteY86" fmla="*/ 2696807 h 6458731"/>
              <a:gd name="connsiteX87" fmla="*/ 6976233 w 8636594"/>
              <a:gd name="connsiteY87" fmla="*/ 2045274 h 6458731"/>
              <a:gd name="connsiteX88" fmla="*/ 7086755 w 8636594"/>
              <a:gd name="connsiteY88" fmla="*/ 1872743 h 6458731"/>
              <a:gd name="connsiteX89" fmla="*/ 7170279 w 8636594"/>
              <a:gd name="connsiteY89" fmla="*/ 1744202 h 6458731"/>
              <a:gd name="connsiteX90" fmla="*/ 7226351 w 8636594"/>
              <a:gd name="connsiteY90" fmla="*/ 1659017 h 6458731"/>
              <a:gd name="connsiteX91" fmla="*/ 7282789 w 8636594"/>
              <a:gd name="connsiteY91" fmla="*/ 1574303 h 6458731"/>
              <a:gd name="connsiteX92" fmla="*/ 7339643 w 8636594"/>
              <a:gd name="connsiteY92" fmla="*/ 1490113 h 6458731"/>
              <a:gd name="connsiteX93" fmla="*/ 7396957 w 8636594"/>
              <a:gd name="connsiteY93" fmla="*/ 1406503 h 6458731"/>
              <a:gd name="connsiteX94" fmla="*/ 7454781 w 8636594"/>
              <a:gd name="connsiteY94" fmla="*/ 1323526 h 6458731"/>
              <a:gd name="connsiteX95" fmla="*/ 7513161 w 8636594"/>
              <a:gd name="connsiteY95" fmla="*/ 1241237 h 6458731"/>
              <a:gd name="connsiteX96" fmla="*/ 7572144 w 8636594"/>
              <a:gd name="connsiteY96" fmla="*/ 1159689 h 6458731"/>
              <a:gd name="connsiteX97" fmla="*/ 7601877 w 8636594"/>
              <a:gd name="connsiteY97" fmla="*/ 1119210 h 6458731"/>
              <a:gd name="connsiteX98" fmla="*/ 7631779 w 8636594"/>
              <a:gd name="connsiteY98" fmla="*/ 1078937 h 6458731"/>
              <a:gd name="connsiteX99" fmla="*/ 7661855 w 8636594"/>
              <a:gd name="connsiteY99" fmla="*/ 1038876 h 6458731"/>
              <a:gd name="connsiteX100" fmla="*/ 7692111 w 8636594"/>
              <a:gd name="connsiteY100" fmla="*/ 999035 h 6458731"/>
              <a:gd name="connsiteX101" fmla="*/ 7722554 w 8636594"/>
              <a:gd name="connsiteY101" fmla="*/ 959419 h 6458731"/>
              <a:gd name="connsiteX102" fmla="*/ 7753190 w 8636594"/>
              <a:gd name="connsiteY102" fmla="*/ 920037 h 6458731"/>
              <a:gd name="connsiteX103" fmla="*/ 7784023 w 8636594"/>
              <a:gd name="connsiteY103" fmla="*/ 880894 h 6458731"/>
              <a:gd name="connsiteX104" fmla="*/ 7815061 w 8636594"/>
              <a:gd name="connsiteY104" fmla="*/ 841997 h 6458731"/>
              <a:gd name="connsiteX105" fmla="*/ 7846308 w 8636594"/>
              <a:gd name="connsiteY105" fmla="*/ 803354 h 6458731"/>
              <a:gd name="connsiteX106" fmla="*/ 7877772 w 8636594"/>
              <a:gd name="connsiteY106" fmla="*/ 764970 h 6458731"/>
              <a:gd name="connsiteX107" fmla="*/ 7909458 w 8636594"/>
              <a:gd name="connsiteY107" fmla="*/ 726853 h 6458731"/>
              <a:gd name="connsiteX108" fmla="*/ 7941371 w 8636594"/>
              <a:gd name="connsiteY108" fmla="*/ 689010 h 6458731"/>
              <a:gd name="connsiteX109" fmla="*/ 7973518 w 8636594"/>
              <a:gd name="connsiteY109" fmla="*/ 651447 h 6458731"/>
              <a:gd name="connsiteX110" fmla="*/ 8005905 w 8636594"/>
              <a:gd name="connsiteY110" fmla="*/ 614171 h 6458731"/>
              <a:gd name="connsiteX111" fmla="*/ 8038538 w 8636594"/>
              <a:gd name="connsiteY111" fmla="*/ 577189 h 6458731"/>
              <a:gd name="connsiteX112" fmla="*/ 8071421 w 8636594"/>
              <a:gd name="connsiteY112" fmla="*/ 540507 h 6458731"/>
              <a:gd name="connsiteX113" fmla="*/ 8104563 w 8636594"/>
              <a:gd name="connsiteY113" fmla="*/ 504132 h 6458731"/>
              <a:gd name="connsiteX114" fmla="*/ 8137967 w 8636594"/>
              <a:gd name="connsiteY114" fmla="*/ 468072 h 6458731"/>
              <a:gd name="connsiteX115" fmla="*/ 8171641 w 8636594"/>
              <a:gd name="connsiteY115" fmla="*/ 432332 h 6458731"/>
              <a:gd name="connsiteX116" fmla="*/ 8205590 w 8636594"/>
              <a:gd name="connsiteY116" fmla="*/ 396920 h 6458731"/>
              <a:gd name="connsiteX117" fmla="*/ 8239820 w 8636594"/>
              <a:gd name="connsiteY117" fmla="*/ 361843 h 6458731"/>
              <a:gd name="connsiteX118" fmla="*/ 8274337 w 8636594"/>
              <a:gd name="connsiteY118" fmla="*/ 327107 h 6458731"/>
              <a:gd name="connsiteX119" fmla="*/ 8309147 w 8636594"/>
              <a:gd name="connsiteY119" fmla="*/ 292718 h 6458731"/>
              <a:gd name="connsiteX120" fmla="*/ 8344256 w 8636594"/>
              <a:gd name="connsiteY120" fmla="*/ 258685 h 6458731"/>
              <a:gd name="connsiteX121" fmla="*/ 8379669 w 8636594"/>
              <a:gd name="connsiteY121" fmla="*/ 225013 h 6458731"/>
              <a:gd name="connsiteX122" fmla="*/ 8415394 w 8636594"/>
              <a:gd name="connsiteY122" fmla="*/ 191709 h 6458731"/>
              <a:gd name="connsiteX123" fmla="*/ 8451434 w 8636594"/>
              <a:gd name="connsiteY123" fmla="*/ 158780 h 6458731"/>
              <a:gd name="connsiteX124" fmla="*/ 8487798 w 8636594"/>
              <a:gd name="connsiteY124" fmla="*/ 126233 h 6458731"/>
              <a:gd name="connsiteX125" fmla="*/ 8524489 w 8636594"/>
              <a:gd name="connsiteY125" fmla="*/ 94075 h 6458731"/>
              <a:gd name="connsiteX126" fmla="*/ 8561515 w 8636594"/>
              <a:gd name="connsiteY126" fmla="*/ 62312 h 6458731"/>
              <a:gd name="connsiteX127" fmla="*/ 8598881 w 8636594"/>
              <a:gd name="connsiteY127" fmla="*/ 30951 h 6458731"/>
              <a:gd name="connsiteX128" fmla="*/ 8636594 w 8636594"/>
              <a:gd name="connsiteY128" fmla="*/ 0 h 6458731"/>
              <a:gd name="connsiteX0" fmla="*/ 8636594 w 8636594"/>
              <a:gd name="connsiteY0" fmla="*/ 0 h 6443216"/>
              <a:gd name="connsiteX1" fmla="*/ 5293 w 8636594"/>
              <a:gd name="connsiteY1" fmla="*/ 0 h 6443216"/>
              <a:gd name="connsiteX2" fmla="*/ 0 w 8636594"/>
              <a:gd name="connsiteY2" fmla="*/ 5587843 h 6443216"/>
              <a:gd name="connsiteX3" fmla="*/ 1594033 w 8636594"/>
              <a:gd name="connsiteY3" fmla="*/ 5600057 h 6443216"/>
              <a:gd name="connsiteX4" fmla="*/ 1686068 w 8636594"/>
              <a:gd name="connsiteY4" fmla="*/ 5599745 h 6443216"/>
              <a:gd name="connsiteX5" fmla="*/ 2846466 w 8636594"/>
              <a:gd name="connsiteY5" fmla="*/ 6443216 h 6443216"/>
              <a:gd name="connsiteX6" fmla="*/ 2897488 w 8636594"/>
              <a:gd name="connsiteY6" fmla="*/ 6427305 h 6443216"/>
              <a:gd name="connsiteX7" fmla="*/ 2947923 w 8636594"/>
              <a:gd name="connsiteY7" fmla="*/ 6411004 h 6443216"/>
              <a:gd name="connsiteX8" fmla="*/ 2997775 w 8636594"/>
              <a:gd name="connsiteY8" fmla="*/ 6394316 h 6443216"/>
              <a:gd name="connsiteX9" fmla="*/ 3047052 w 8636594"/>
              <a:gd name="connsiteY9" fmla="*/ 6377243 h 6443216"/>
              <a:gd name="connsiteX10" fmla="*/ 3095759 w 8636594"/>
              <a:gd name="connsiteY10" fmla="*/ 6359791 h 6443216"/>
              <a:gd name="connsiteX11" fmla="*/ 3143903 w 8636594"/>
              <a:gd name="connsiteY11" fmla="*/ 6341961 h 6443216"/>
              <a:gd name="connsiteX12" fmla="*/ 3191491 w 8636594"/>
              <a:gd name="connsiteY12" fmla="*/ 6323757 h 6443216"/>
              <a:gd name="connsiteX13" fmla="*/ 3238528 w 8636594"/>
              <a:gd name="connsiteY13" fmla="*/ 6305184 h 6443216"/>
              <a:gd name="connsiteX14" fmla="*/ 3285021 w 8636594"/>
              <a:gd name="connsiteY14" fmla="*/ 6286245 h 6443216"/>
              <a:gd name="connsiteX15" fmla="*/ 3330977 w 8636594"/>
              <a:gd name="connsiteY15" fmla="*/ 6266942 h 6443216"/>
              <a:gd name="connsiteX16" fmla="*/ 3376401 w 8636594"/>
              <a:gd name="connsiteY16" fmla="*/ 6247281 h 6443216"/>
              <a:gd name="connsiteX17" fmla="*/ 3421300 w 8636594"/>
              <a:gd name="connsiteY17" fmla="*/ 6227263 h 6443216"/>
              <a:gd name="connsiteX18" fmla="*/ 3465680 w 8636594"/>
              <a:gd name="connsiteY18" fmla="*/ 6206893 h 6443216"/>
              <a:gd name="connsiteX19" fmla="*/ 3509548 w 8636594"/>
              <a:gd name="connsiteY19" fmla="*/ 6186174 h 6443216"/>
              <a:gd name="connsiteX20" fmla="*/ 3552910 w 8636594"/>
              <a:gd name="connsiteY20" fmla="*/ 6165110 h 6443216"/>
              <a:gd name="connsiteX21" fmla="*/ 3595773 w 8636594"/>
              <a:gd name="connsiteY21" fmla="*/ 6143704 h 6443216"/>
              <a:gd name="connsiteX22" fmla="*/ 3638142 w 8636594"/>
              <a:gd name="connsiteY22" fmla="*/ 6121960 h 6443216"/>
              <a:gd name="connsiteX23" fmla="*/ 3680024 w 8636594"/>
              <a:gd name="connsiteY23" fmla="*/ 6099881 h 6443216"/>
              <a:gd name="connsiteX24" fmla="*/ 3721426 w 8636594"/>
              <a:gd name="connsiteY24" fmla="*/ 6077471 h 6443216"/>
              <a:gd name="connsiteX25" fmla="*/ 3762353 w 8636594"/>
              <a:gd name="connsiteY25" fmla="*/ 6054733 h 6443216"/>
              <a:gd name="connsiteX26" fmla="*/ 3802812 w 8636594"/>
              <a:gd name="connsiteY26" fmla="*/ 6031671 h 6443216"/>
              <a:gd name="connsiteX27" fmla="*/ 3842810 w 8636594"/>
              <a:gd name="connsiteY27" fmla="*/ 6008288 h 6443216"/>
              <a:gd name="connsiteX28" fmla="*/ 3882352 w 8636594"/>
              <a:gd name="connsiteY28" fmla="*/ 5984588 h 6443216"/>
              <a:gd name="connsiteX29" fmla="*/ 3921445 w 8636594"/>
              <a:gd name="connsiteY29" fmla="*/ 5960574 h 6443216"/>
              <a:gd name="connsiteX30" fmla="*/ 3960096 w 8636594"/>
              <a:gd name="connsiteY30" fmla="*/ 5936250 h 6443216"/>
              <a:gd name="connsiteX31" fmla="*/ 3998311 w 8636594"/>
              <a:gd name="connsiteY31" fmla="*/ 5911619 h 6443216"/>
              <a:gd name="connsiteX32" fmla="*/ 4036095 w 8636594"/>
              <a:gd name="connsiteY32" fmla="*/ 5886685 h 6443216"/>
              <a:gd name="connsiteX33" fmla="*/ 4073456 w 8636594"/>
              <a:gd name="connsiteY33" fmla="*/ 5861452 h 6443216"/>
              <a:gd name="connsiteX34" fmla="*/ 4110400 w 8636594"/>
              <a:gd name="connsiteY34" fmla="*/ 5835922 h 6443216"/>
              <a:gd name="connsiteX35" fmla="*/ 4146933 w 8636594"/>
              <a:gd name="connsiteY35" fmla="*/ 5810100 h 6443216"/>
              <a:gd name="connsiteX36" fmla="*/ 4183061 w 8636594"/>
              <a:gd name="connsiteY36" fmla="*/ 5783988 h 6443216"/>
              <a:gd name="connsiteX37" fmla="*/ 4218791 w 8636594"/>
              <a:gd name="connsiteY37" fmla="*/ 5757591 h 6443216"/>
              <a:gd name="connsiteX38" fmla="*/ 4254129 w 8636594"/>
              <a:gd name="connsiteY38" fmla="*/ 5730912 h 6443216"/>
              <a:gd name="connsiteX39" fmla="*/ 4289081 w 8636594"/>
              <a:gd name="connsiteY39" fmla="*/ 5703955 h 6443216"/>
              <a:gd name="connsiteX40" fmla="*/ 4323654 w 8636594"/>
              <a:gd name="connsiteY40" fmla="*/ 5676722 h 6443216"/>
              <a:gd name="connsiteX41" fmla="*/ 4357854 w 8636594"/>
              <a:gd name="connsiteY41" fmla="*/ 5649218 h 6443216"/>
              <a:gd name="connsiteX42" fmla="*/ 4391688 w 8636594"/>
              <a:gd name="connsiteY42" fmla="*/ 5621446 h 6443216"/>
              <a:gd name="connsiteX43" fmla="*/ 4425162 w 8636594"/>
              <a:gd name="connsiteY43" fmla="*/ 5593409 h 6443216"/>
              <a:gd name="connsiteX44" fmla="*/ 4458281 w 8636594"/>
              <a:gd name="connsiteY44" fmla="*/ 5565111 h 6443216"/>
              <a:gd name="connsiteX45" fmla="*/ 4491053 w 8636594"/>
              <a:gd name="connsiteY45" fmla="*/ 5536556 h 6443216"/>
              <a:gd name="connsiteX46" fmla="*/ 4523484 w 8636594"/>
              <a:gd name="connsiteY46" fmla="*/ 5507747 h 6443216"/>
              <a:gd name="connsiteX47" fmla="*/ 4555580 w 8636594"/>
              <a:gd name="connsiteY47" fmla="*/ 5478687 h 6443216"/>
              <a:gd name="connsiteX48" fmla="*/ 4587347 w 8636594"/>
              <a:gd name="connsiteY48" fmla="*/ 5449380 h 6443216"/>
              <a:gd name="connsiteX49" fmla="*/ 4618793 w 8636594"/>
              <a:gd name="connsiteY49" fmla="*/ 5419830 h 6443216"/>
              <a:gd name="connsiteX50" fmla="*/ 4649922 w 8636594"/>
              <a:gd name="connsiteY50" fmla="*/ 5390040 h 6443216"/>
              <a:gd name="connsiteX51" fmla="*/ 4680742 w 8636594"/>
              <a:gd name="connsiteY51" fmla="*/ 5360014 h 6443216"/>
              <a:gd name="connsiteX52" fmla="*/ 4711259 w 8636594"/>
              <a:gd name="connsiteY52" fmla="*/ 5329755 h 6443216"/>
              <a:gd name="connsiteX53" fmla="*/ 4741478 w 8636594"/>
              <a:gd name="connsiteY53" fmla="*/ 5299266 h 6443216"/>
              <a:gd name="connsiteX54" fmla="*/ 4771408 w 8636594"/>
              <a:gd name="connsiteY54" fmla="*/ 5268551 h 6443216"/>
              <a:gd name="connsiteX55" fmla="*/ 4801053 w 8636594"/>
              <a:gd name="connsiteY55" fmla="*/ 5237614 h 6443216"/>
              <a:gd name="connsiteX56" fmla="*/ 4830420 w 8636594"/>
              <a:gd name="connsiteY56" fmla="*/ 5206458 h 6443216"/>
              <a:gd name="connsiteX57" fmla="*/ 4859516 w 8636594"/>
              <a:gd name="connsiteY57" fmla="*/ 5175087 h 6443216"/>
              <a:gd name="connsiteX58" fmla="*/ 4888347 w 8636594"/>
              <a:gd name="connsiteY58" fmla="*/ 5143504 h 6443216"/>
              <a:gd name="connsiteX59" fmla="*/ 4916919 w 8636594"/>
              <a:gd name="connsiteY59" fmla="*/ 5111713 h 6443216"/>
              <a:gd name="connsiteX60" fmla="*/ 4945238 w 8636594"/>
              <a:gd name="connsiteY60" fmla="*/ 5079717 h 6443216"/>
              <a:gd name="connsiteX61" fmla="*/ 4973311 w 8636594"/>
              <a:gd name="connsiteY61" fmla="*/ 5047519 h 6443216"/>
              <a:gd name="connsiteX62" fmla="*/ 5001145 w 8636594"/>
              <a:gd name="connsiteY62" fmla="*/ 5015124 h 6443216"/>
              <a:gd name="connsiteX63" fmla="*/ 5028745 w 8636594"/>
              <a:gd name="connsiteY63" fmla="*/ 4982535 h 6443216"/>
              <a:gd name="connsiteX64" fmla="*/ 5056117 w 8636594"/>
              <a:gd name="connsiteY64" fmla="*/ 4949755 h 6443216"/>
              <a:gd name="connsiteX65" fmla="*/ 5083269 w 8636594"/>
              <a:gd name="connsiteY65" fmla="*/ 4916787 h 6443216"/>
              <a:gd name="connsiteX66" fmla="*/ 5110207 w 8636594"/>
              <a:gd name="connsiteY66" fmla="*/ 4883636 h 6443216"/>
              <a:gd name="connsiteX67" fmla="*/ 5136937 w 8636594"/>
              <a:gd name="connsiteY67" fmla="*/ 4850305 h 6443216"/>
              <a:gd name="connsiteX68" fmla="*/ 5163464 w 8636594"/>
              <a:gd name="connsiteY68" fmla="*/ 4816797 h 6443216"/>
              <a:gd name="connsiteX69" fmla="*/ 5215940 w 8636594"/>
              <a:gd name="connsiteY69" fmla="*/ 4749265 h 6443216"/>
              <a:gd name="connsiteX70" fmla="*/ 5267684 w 8636594"/>
              <a:gd name="connsiteY70" fmla="*/ 4681068 h 6443216"/>
              <a:gd name="connsiteX71" fmla="*/ 5318748 w 8636594"/>
              <a:gd name="connsiteY71" fmla="*/ 4612234 h 6443216"/>
              <a:gd name="connsiteX72" fmla="*/ 5369182 w 8636594"/>
              <a:gd name="connsiteY72" fmla="*/ 4542793 h 6443216"/>
              <a:gd name="connsiteX73" fmla="*/ 5419038 w 8636594"/>
              <a:gd name="connsiteY73" fmla="*/ 4472771 h 6443216"/>
              <a:gd name="connsiteX74" fmla="*/ 5468365 w 8636594"/>
              <a:gd name="connsiteY74" fmla="*/ 4402196 h 6443216"/>
              <a:gd name="connsiteX75" fmla="*/ 5517215 w 8636594"/>
              <a:gd name="connsiteY75" fmla="*/ 4331098 h 6443216"/>
              <a:gd name="connsiteX76" fmla="*/ 5565637 w 8636594"/>
              <a:gd name="connsiteY76" fmla="*/ 4259503 h 6443216"/>
              <a:gd name="connsiteX77" fmla="*/ 5613684 w 8636594"/>
              <a:gd name="connsiteY77" fmla="*/ 4187441 h 6443216"/>
              <a:gd name="connsiteX78" fmla="*/ 5685160 w 8636594"/>
              <a:gd name="connsiteY78" fmla="*/ 4078531 h 6443216"/>
              <a:gd name="connsiteX79" fmla="*/ 5756074 w 8636594"/>
              <a:gd name="connsiteY79" fmla="*/ 3968727 h 6443216"/>
              <a:gd name="connsiteX80" fmla="*/ 5873483 w 8636594"/>
              <a:gd name="connsiteY80" fmla="*/ 3783989 h 6443216"/>
              <a:gd name="connsiteX81" fmla="*/ 6203209 w 8636594"/>
              <a:gd name="connsiteY81" fmla="*/ 3258640 h 6443216"/>
              <a:gd name="connsiteX82" fmla="*/ 6299430 w 8636594"/>
              <a:gd name="connsiteY82" fmla="*/ 3107321 h 6443216"/>
              <a:gd name="connsiteX83" fmla="*/ 6372650 w 8636594"/>
              <a:gd name="connsiteY83" fmla="*/ 2993735 h 6443216"/>
              <a:gd name="connsiteX84" fmla="*/ 6453197 w 8636594"/>
              <a:gd name="connsiteY84" fmla="*/ 2869788 h 6443216"/>
              <a:gd name="connsiteX85" fmla="*/ 6564167 w 8636594"/>
              <a:gd name="connsiteY85" fmla="*/ 2696807 h 6443216"/>
              <a:gd name="connsiteX86" fmla="*/ 6976233 w 8636594"/>
              <a:gd name="connsiteY86" fmla="*/ 2045274 h 6443216"/>
              <a:gd name="connsiteX87" fmla="*/ 7086755 w 8636594"/>
              <a:gd name="connsiteY87" fmla="*/ 1872743 h 6443216"/>
              <a:gd name="connsiteX88" fmla="*/ 7170279 w 8636594"/>
              <a:gd name="connsiteY88" fmla="*/ 1744202 h 6443216"/>
              <a:gd name="connsiteX89" fmla="*/ 7226351 w 8636594"/>
              <a:gd name="connsiteY89" fmla="*/ 1659017 h 6443216"/>
              <a:gd name="connsiteX90" fmla="*/ 7282789 w 8636594"/>
              <a:gd name="connsiteY90" fmla="*/ 1574303 h 6443216"/>
              <a:gd name="connsiteX91" fmla="*/ 7339643 w 8636594"/>
              <a:gd name="connsiteY91" fmla="*/ 1490113 h 6443216"/>
              <a:gd name="connsiteX92" fmla="*/ 7396957 w 8636594"/>
              <a:gd name="connsiteY92" fmla="*/ 1406503 h 6443216"/>
              <a:gd name="connsiteX93" fmla="*/ 7454781 w 8636594"/>
              <a:gd name="connsiteY93" fmla="*/ 1323526 h 6443216"/>
              <a:gd name="connsiteX94" fmla="*/ 7513161 w 8636594"/>
              <a:gd name="connsiteY94" fmla="*/ 1241237 h 6443216"/>
              <a:gd name="connsiteX95" fmla="*/ 7572144 w 8636594"/>
              <a:gd name="connsiteY95" fmla="*/ 1159689 h 6443216"/>
              <a:gd name="connsiteX96" fmla="*/ 7601877 w 8636594"/>
              <a:gd name="connsiteY96" fmla="*/ 1119210 h 6443216"/>
              <a:gd name="connsiteX97" fmla="*/ 7631779 w 8636594"/>
              <a:gd name="connsiteY97" fmla="*/ 1078937 h 6443216"/>
              <a:gd name="connsiteX98" fmla="*/ 7661855 w 8636594"/>
              <a:gd name="connsiteY98" fmla="*/ 1038876 h 6443216"/>
              <a:gd name="connsiteX99" fmla="*/ 7692111 w 8636594"/>
              <a:gd name="connsiteY99" fmla="*/ 999035 h 6443216"/>
              <a:gd name="connsiteX100" fmla="*/ 7722554 w 8636594"/>
              <a:gd name="connsiteY100" fmla="*/ 959419 h 6443216"/>
              <a:gd name="connsiteX101" fmla="*/ 7753190 w 8636594"/>
              <a:gd name="connsiteY101" fmla="*/ 920037 h 6443216"/>
              <a:gd name="connsiteX102" fmla="*/ 7784023 w 8636594"/>
              <a:gd name="connsiteY102" fmla="*/ 880894 h 6443216"/>
              <a:gd name="connsiteX103" fmla="*/ 7815061 w 8636594"/>
              <a:gd name="connsiteY103" fmla="*/ 841997 h 6443216"/>
              <a:gd name="connsiteX104" fmla="*/ 7846308 w 8636594"/>
              <a:gd name="connsiteY104" fmla="*/ 803354 h 6443216"/>
              <a:gd name="connsiteX105" fmla="*/ 7877772 w 8636594"/>
              <a:gd name="connsiteY105" fmla="*/ 764970 h 6443216"/>
              <a:gd name="connsiteX106" fmla="*/ 7909458 w 8636594"/>
              <a:gd name="connsiteY106" fmla="*/ 726853 h 6443216"/>
              <a:gd name="connsiteX107" fmla="*/ 7941371 w 8636594"/>
              <a:gd name="connsiteY107" fmla="*/ 689010 h 6443216"/>
              <a:gd name="connsiteX108" fmla="*/ 7973518 w 8636594"/>
              <a:gd name="connsiteY108" fmla="*/ 651447 h 6443216"/>
              <a:gd name="connsiteX109" fmla="*/ 8005905 w 8636594"/>
              <a:gd name="connsiteY109" fmla="*/ 614171 h 6443216"/>
              <a:gd name="connsiteX110" fmla="*/ 8038538 w 8636594"/>
              <a:gd name="connsiteY110" fmla="*/ 577189 h 6443216"/>
              <a:gd name="connsiteX111" fmla="*/ 8071421 w 8636594"/>
              <a:gd name="connsiteY111" fmla="*/ 540507 h 6443216"/>
              <a:gd name="connsiteX112" fmla="*/ 8104563 w 8636594"/>
              <a:gd name="connsiteY112" fmla="*/ 504132 h 6443216"/>
              <a:gd name="connsiteX113" fmla="*/ 8137967 w 8636594"/>
              <a:gd name="connsiteY113" fmla="*/ 468072 h 6443216"/>
              <a:gd name="connsiteX114" fmla="*/ 8171641 w 8636594"/>
              <a:gd name="connsiteY114" fmla="*/ 432332 h 6443216"/>
              <a:gd name="connsiteX115" fmla="*/ 8205590 w 8636594"/>
              <a:gd name="connsiteY115" fmla="*/ 396920 h 6443216"/>
              <a:gd name="connsiteX116" fmla="*/ 8239820 w 8636594"/>
              <a:gd name="connsiteY116" fmla="*/ 361843 h 6443216"/>
              <a:gd name="connsiteX117" fmla="*/ 8274337 w 8636594"/>
              <a:gd name="connsiteY117" fmla="*/ 327107 h 6443216"/>
              <a:gd name="connsiteX118" fmla="*/ 8309147 w 8636594"/>
              <a:gd name="connsiteY118" fmla="*/ 292718 h 6443216"/>
              <a:gd name="connsiteX119" fmla="*/ 8344256 w 8636594"/>
              <a:gd name="connsiteY119" fmla="*/ 258685 h 6443216"/>
              <a:gd name="connsiteX120" fmla="*/ 8379669 w 8636594"/>
              <a:gd name="connsiteY120" fmla="*/ 225013 h 6443216"/>
              <a:gd name="connsiteX121" fmla="*/ 8415394 w 8636594"/>
              <a:gd name="connsiteY121" fmla="*/ 191709 h 6443216"/>
              <a:gd name="connsiteX122" fmla="*/ 8451434 w 8636594"/>
              <a:gd name="connsiteY122" fmla="*/ 158780 h 6443216"/>
              <a:gd name="connsiteX123" fmla="*/ 8487798 w 8636594"/>
              <a:gd name="connsiteY123" fmla="*/ 126233 h 6443216"/>
              <a:gd name="connsiteX124" fmla="*/ 8524489 w 8636594"/>
              <a:gd name="connsiteY124" fmla="*/ 94075 h 6443216"/>
              <a:gd name="connsiteX125" fmla="*/ 8561515 w 8636594"/>
              <a:gd name="connsiteY125" fmla="*/ 62312 h 6443216"/>
              <a:gd name="connsiteX126" fmla="*/ 8598881 w 8636594"/>
              <a:gd name="connsiteY126" fmla="*/ 30951 h 6443216"/>
              <a:gd name="connsiteX127" fmla="*/ 8636594 w 8636594"/>
              <a:gd name="connsiteY127" fmla="*/ 0 h 6443216"/>
              <a:gd name="connsiteX0" fmla="*/ 8636594 w 8636594"/>
              <a:gd name="connsiteY0" fmla="*/ 0 h 6427305"/>
              <a:gd name="connsiteX1" fmla="*/ 5293 w 8636594"/>
              <a:gd name="connsiteY1" fmla="*/ 0 h 6427305"/>
              <a:gd name="connsiteX2" fmla="*/ 0 w 8636594"/>
              <a:gd name="connsiteY2" fmla="*/ 5587843 h 6427305"/>
              <a:gd name="connsiteX3" fmla="*/ 1594033 w 8636594"/>
              <a:gd name="connsiteY3" fmla="*/ 5600057 h 6427305"/>
              <a:gd name="connsiteX4" fmla="*/ 1686068 w 8636594"/>
              <a:gd name="connsiteY4" fmla="*/ 5599745 h 6427305"/>
              <a:gd name="connsiteX5" fmla="*/ 2897488 w 8636594"/>
              <a:gd name="connsiteY5" fmla="*/ 6427305 h 6427305"/>
              <a:gd name="connsiteX6" fmla="*/ 2947923 w 8636594"/>
              <a:gd name="connsiteY6" fmla="*/ 6411004 h 6427305"/>
              <a:gd name="connsiteX7" fmla="*/ 2997775 w 8636594"/>
              <a:gd name="connsiteY7" fmla="*/ 6394316 h 6427305"/>
              <a:gd name="connsiteX8" fmla="*/ 3047052 w 8636594"/>
              <a:gd name="connsiteY8" fmla="*/ 6377243 h 6427305"/>
              <a:gd name="connsiteX9" fmla="*/ 3095759 w 8636594"/>
              <a:gd name="connsiteY9" fmla="*/ 6359791 h 6427305"/>
              <a:gd name="connsiteX10" fmla="*/ 3143903 w 8636594"/>
              <a:gd name="connsiteY10" fmla="*/ 6341961 h 6427305"/>
              <a:gd name="connsiteX11" fmla="*/ 3191491 w 8636594"/>
              <a:gd name="connsiteY11" fmla="*/ 6323757 h 6427305"/>
              <a:gd name="connsiteX12" fmla="*/ 3238528 w 8636594"/>
              <a:gd name="connsiteY12" fmla="*/ 6305184 h 6427305"/>
              <a:gd name="connsiteX13" fmla="*/ 3285021 w 8636594"/>
              <a:gd name="connsiteY13" fmla="*/ 6286245 h 6427305"/>
              <a:gd name="connsiteX14" fmla="*/ 3330977 w 8636594"/>
              <a:gd name="connsiteY14" fmla="*/ 6266942 h 6427305"/>
              <a:gd name="connsiteX15" fmla="*/ 3376401 w 8636594"/>
              <a:gd name="connsiteY15" fmla="*/ 6247281 h 6427305"/>
              <a:gd name="connsiteX16" fmla="*/ 3421300 w 8636594"/>
              <a:gd name="connsiteY16" fmla="*/ 6227263 h 6427305"/>
              <a:gd name="connsiteX17" fmla="*/ 3465680 w 8636594"/>
              <a:gd name="connsiteY17" fmla="*/ 6206893 h 6427305"/>
              <a:gd name="connsiteX18" fmla="*/ 3509548 w 8636594"/>
              <a:gd name="connsiteY18" fmla="*/ 6186174 h 6427305"/>
              <a:gd name="connsiteX19" fmla="*/ 3552910 w 8636594"/>
              <a:gd name="connsiteY19" fmla="*/ 6165110 h 6427305"/>
              <a:gd name="connsiteX20" fmla="*/ 3595773 w 8636594"/>
              <a:gd name="connsiteY20" fmla="*/ 6143704 h 6427305"/>
              <a:gd name="connsiteX21" fmla="*/ 3638142 w 8636594"/>
              <a:gd name="connsiteY21" fmla="*/ 6121960 h 6427305"/>
              <a:gd name="connsiteX22" fmla="*/ 3680024 w 8636594"/>
              <a:gd name="connsiteY22" fmla="*/ 6099881 h 6427305"/>
              <a:gd name="connsiteX23" fmla="*/ 3721426 w 8636594"/>
              <a:gd name="connsiteY23" fmla="*/ 6077471 h 6427305"/>
              <a:gd name="connsiteX24" fmla="*/ 3762353 w 8636594"/>
              <a:gd name="connsiteY24" fmla="*/ 6054733 h 6427305"/>
              <a:gd name="connsiteX25" fmla="*/ 3802812 w 8636594"/>
              <a:gd name="connsiteY25" fmla="*/ 6031671 h 6427305"/>
              <a:gd name="connsiteX26" fmla="*/ 3842810 w 8636594"/>
              <a:gd name="connsiteY26" fmla="*/ 6008288 h 6427305"/>
              <a:gd name="connsiteX27" fmla="*/ 3882352 w 8636594"/>
              <a:gd name="connsiteY27" fmla="*/ 5984588 h 6427305"/>
              <a:gd name="connsiteX28" fmla="*/ 3921445 w 8636594"/>
              <a:gd name="connsiteY28" fmla="*/ 5960574 h 6427305"/>
              <a:gd name="connsiteX29" fmla="*/ 3960096 w 8636594"/>
              <a:gd name="connsiteY29" fmla="*/ 5936250 h 6427305"/>
              <a:gd name="connsiteX30" fmla="*/ 3998311 w 8636594"/>
              <a:gd name="connsiteY30" fmla="*/ 5911619 h 6427305"/>
              <a:gd name="connsiteX31" fmla="*/ 4036095 w 8636594"/>
              <a:gd name="connsiteY31" fmla="*/ 5886685 h 6427305"/>
              <a:gd name="connsiteX32" fmla="*/ 4073456 w 8636594"/>
              <a:gd name="connsiteY32" fmla="*/ 5861452 h 6427305"/>
              <a:gd name="connsiteX33" fmla="*/ 4110400 w 8636594"/>
              <a:gd name="connsiteY33" fmla="*/ 5835922 h 6427305"/>
              <a:gd name="connsiteX34" fmla="*/ 4146933 w 8636594"/>
              <a:gd name="connsiteY34" fmla="*/ 5810100 h 6427305"/>
              <a:gd name="connsiteX35" fmla="*/ 4183061 w 8636594"/>
              <a:gd name="connsiteY35" fmla="*/ 5783988 h 6427305"/>
              <a:gd name="connsiteX36" fmla="*/ 4218791 w 8636594"/>
              <a:gd name="connsiteY36" fmla="*/ 5757591 h 6427305"/>
              <a:gd name="connsiteX37" fmla="*/ 4254129 w 8636594"/>
              <a:gd name="connsiteY37" fmla="*/ 5730912 h 6427305"/>
              <a:gd name="connsiteX38" fmla="*/ 4289081 w 8636594"/>
              <a:gd name="connsiteY38" fmla="*/ 5703955 h 6427305"/>
              <a:gd name="connsiteX39" fmla="*/ 4323654 w 8636594"/>
              <a:gd name="connsiteY39" fmla="*/ 5676722 h 6427305"/>
              <a:gd name="connsiteX40" fmla="*/ 4357854 w 8636594"/>
              <a:gd name="connsiteY40" fmla="*/ 5649218 h 6427305"/>
              <a:gd name="connsiteX41" fmla="*/ 4391688 w 8636594"/>
              <a:gd name="connsiteY41" fmla="*/ 5621446 h 6427305"/>
              <a:gd name="connsiteX42" fmla="*/ 4425162 w 8636594"/>
              <a:gd name="connsiteY42" fmla="*/ 5593409 h 6427305"/>
              <a:gd name="connsiteX43" fmla="*/ 4458281 w 8636594"/>
              <a:gd name="connsiteY43" fmla="*/ 5565111 h 6427305"/>
              <a:gd name="connsiteX44" fmla="*/ 4491053 w 8636594"/>
              <a:gd name="connsiteY44" fmla="*/ 5536556 h 6427305"/>
              <a:gd name="connsiteX45" fmla="*/ 4523484 w 8636594"/>
              <a:gd name="connsiteY45" fmla="*/ 5507747 h 6427305"/>
              <a:gd name="connsiteX46" fmla="*/ 4555580 w 8636594"/>
              <a:gd name="connsiteY46" fmla="*/ 5478687 h 6427305"/>
              <a:gd name="connsiteX47" fmla="*/ 4587347 w 8636594"/>
              <a:gd name="connsiteY47" fmla="*/ 5449380 h 6427305"/>
              <a:gd name="connsiteX48" fmla="*/ 4618793 w 8636594"/>
              <a:gd name="connsiteY48" fmla="*/ 5419830 h 6427305"/>
              <a:gd name="connsiteX49" fmla="*/ 4649922 w 8636594"/>
              <a:gd name="connsiteY49" fmla="*/ 5390040 h 6427305"/>
              <a:gd name="connsiteX50" fmla="*/ 4680742 w 8636594"/>
              <a:gd name="connsiteY50" fmla="*/ 5360014 h 6427305"/>
              <a:gd name="connsiteX51" fmla="*/ 4711259 w 8636594"/>
              <a:gd name="connsiteY51" fmla="*/ 5329755 h 6427305"/>
              <a:gd name="connsiteX52" fmla="*/ 4741478 w 8636594"/>
              <a:gd name="connsiteY52" fmla="*/ 5299266 h 6427305"/>
              <a:gd name="connsiteX53" fmla="*/ 4771408 w 8636594"/>
              <a:gd name="connsiteY53" fmla="*/ 5268551 h 6427305"/>
              <a:gd name="connsiteX54" fmla="*/ 4801053 w 8636594"/>
              <a:gd name="connsiteY54" fmla="*/ 5237614 h 6427305"/>
              <a:gd name="connsiteX55" fmla="*/ 4830420 w 8636594"/>
              <a:gd name="connsiteY55" fmla="*/ 5206458 h 6427305"/>
              <a:gd name="connsiteX56" fmla="*/ 4859516 w 8636594"/>
              <a:gd name="connsiteY56" fmla="*/ 5175087 h 6427305"/>
              <a:gd name="connsiteX57" fmla="*/ 4888347 w 8636594"/>
              <a:gd name="connsiteY57" fmla="*/ 5143504 h 6427305"/>
              <a:gd name="connsiteX58" fmla="*/ 4916919 w 8636594"/>
              <a:gd name="connsiteY58" fmla="*/ 5111713 h 6427305"/>
              <a:gd name="connsiteX59" fmla="*/ 4945238 w 8636594"/>
              <a:gd name="connsiteY59" fmla="*/ 5079717 h 6427305"/>
              <a:gd name="connsiteX60" fmla="*/ 4973311 w 8636594"/>
              <a:gd name="connsiteY60" fmla="*/ 5047519 h 6427305"/>
              <a:gd name="connsiteX61" fmla="*/ 5001145 w 8636594"/>
              <a:gd name="connsiteY61" fmla="*/ 5015124 h 6427305"/>
              <a:gd name="connsiteX62" fmla="*/ 5028745 w 8636594"/>
              <a:gd name="connsiteY62" fmla="*/ 4982535 h 6427305"/>
              <a:gd name="connsiteX63" fmla="*/ 5056117 w 8636594"/>
              <a:gd name="connsiteY63" fmla="*/ 4949755 h 6427305"/>
              <a:gd name="connsiteX64" fmla="*/ 5083269 w 8636594"/>
              <a:gd name="connsiteY64" fmla="*/ 4916787 h 6427305"/>
              <a:gd name="connsiteX65" fmla="*/ 5110207 w 8636594"/>
              <a:gd name="connsiteY65" fmla="*/ 4883636 h 6427305"/>
              <a:gd name="connsiteX66" fmla="*/ 5136937 w 8636594"/>
              <a:gd name="connsiteY66" fmla="*/ 4850305 h 6427305"/>
              <a:gd name="connsiteX67" fmla="*/ 5163464 w 8636594"/>
              <a:gd name="connsiteY67" fmla="*/ 4816797 h 6427305"/>
              <a:gd name="connsiteX68" fmla="*/ 5215940 w 8636594"/>
              <a:gd name="connsiteY68" fmla="*/ 4749265 h 6427305"/>
              <a:gd name="connsiteX69" fmla="*/ 5267684 w 8636594"/>
              <a:gd name="connsiteY69" fmla="*/ 4681068 h 6427305"/>
              <a:gd name="connsiteX70" fmla="*/ 5318748 w 8636594"/>
              <a:gd name="connsiteY70" fmla="*/ 4612234 h 6427305"/>
              <a:gd name="connsiteX71" fmla="*/ 5369182 w 8636594"/>
              <a:gd name="connsiteY71" fmla="*/ 4542793 h 6427305"/>
              <a:gd name="connsiteX72" fmla="*/ 5419038 w 8636594"/>
              <a:gd name="connsiteY72" fmla="*/ 4472771 h 6427305"/>
              <a:gd name="connsiteX73" fmla="*/ 5468365 w 8636594"/>
              <a:gd name="connsiteY73" fmla="*/ 4402196 h 6427305"/>
              <a:gd name="connsiteX74" fmla="*/ 5517215 w 8636594"/>
              <a:gd name="connsiteY74" fmla="*/ 4331098 h 6427305"/>
              <a:gd name="connsiteX75" fmla="*/ 5565637 w 8636594"/>
              <a:gd name="connsiteY75" fmla="*/ 4259503 h 6427305"/>
              <a:gd name="connsiteX76" fmla="*/ 5613684 w 8636594"/>
              <a:gd name="connsiteY76" fmla="*/ 4187441 h 6427305"/>
              <a:gd name="connsiteX77" fmla="*/ 5685160 w 8636594"/>
              <a:gd name="connsiteY77" fmla="*/ 4078531 h 6427305"/>
              <a:gd name="connsiteX78" fmla="*/ 5756074 w 8636594"/>
              <a:gd name="connsiteY78" fmla="*/ 3968727 h 6427305"/>
              <a:gd name="connsiteX79" fmla="*/ 5873483 w 8636594"/>
              <a:gd name="connsiteY79" fmla="*/ 3783989 h 6427305"/>
              <a:gd name="connsiteX80" fmla="*/ 6203209 w 8636594"/>
              <a:gd name="connsiteY80" fmla="*/ 3258640 h 6427305"/>
              <a:gd name="connsiteX81" fmla="*/ 6299430 w 8636594"/>
              <a:gd name="connsiteY81" fmla="*/ 3107321 h 6427305"/>
              <a:gd name="connsiteX82" fmla="*/ 6372650 w 8636594"/>
              <a:gd name="connsiteY82" fmla="*/ 2993735 h 6427305"/>
              <a:gd name="connsiteX83" fmla="*/ 6453197 w 8636594"/>
              <a:gd name="connsiteY83" fmla="*/ 2869788 h 6427305"/>
              <a:gd name="connsiteX84" fmla="*/ 6564167 w 8636594"/>
              <a:gd name="connsiteY84" fmla="*/ 2696807 h 6427305"/>
              <a:gd name="connsiteX85" fmla="*/ 6976233 w 8636594"/>
              <a:gd name="connsiteY85" fmla="*/ 2045274 h 6427305"/>
              <a:gd name="connsiteX86" fmla="*/ 7086755 w 8636594"/>
              <a:gd name="connsiteY86" fmla="*/ 1872743 h 6427305"/>
              <a:gd name="connsiteX87" fmla="*/ 7170279 w 8636594"/>
              <a:gd name="connsiteY87" fmla="*/ 1744202 h 6427305"/>
              <a:gd name="connsiteX88" fmla="*/ 7226351 w 8636594"/>
              <a:gd name="connsiteY88" fmla="*/ 1659017 h 6427305"/>
              <a:gd name="connsiteX89" fmla="*/ 7282789 w 8636594"/>
              <a:gd name="connsiteY89" fmla="*/ 1574303 h 6427305"/>
              <a:gd name="connsiteX90" fmla="*/ 7339643 w 8636594"/>
              <a:gd name="connsiteY90" fmla="*/ 1490113 h 6427305"/>
              <a:gd name="connsiteX91" fmla="*/ 7396957 w 8636594"/>
              <a:gd name="connsiteY91" fmla="*/ 1406503 h 6427305"/>
              <a:gd name="connsiteX92" fmla="*/ 7454781 w 8636594"/>
              <a:gd name="connsiteY92" fmla="*/ 1323526 h 6427305"/>
              <a:gd name="connsiteX93" fmla="*/ 7513161 w 8636594"/>
              <a:gd name="connsiteY93" fmla="*/ 1241237 h 6427305"/>
              <a:gd name="connsiteX94" fmla="*/ 7572144 w 8636594"/>
              <a:gd name="connsiteY94" fmla="*/ 1159689 h 6427305"/>
              <a:gd name="connsiteX95" fmla="*/ 7601877 w 8636594"/>
              <a:gd name="connsiteY95" fmla="*/ 1119210 h 6427305"/>
              <a:gd name="connsiteX96" fmla="*/ 7631779 w 8636594"/>
              <a:gd name="connsiteY96" fmla="*/ 1078937 h 6427305"/>
              <a:gd name="connsiteX97" fmla="*/ 7661855 w 8636594"/>
              <a:gd name="connsiteY97" fmla="*/ 1038876 h 6427305"/>
              <a:gd name="connsiteX98" fmla="*/ 7692111 w 8636594"/>
              <a:gd name="connsiteY98" fmla="*/ 999035 h 6427305"/>
              <a:gd name="connsiteX99" fmla="*/ 7722554 w 8636594"/>
              <a:gd name="connsiteY99" fmla="*/ 959419 h 6427305"/>
              <a:gd name="connsiteX100" fmla="*/ 7753190 w 8636594"/>
              <a:gd name="connsiteY100" fmla="*/ 920037 h 6427305"/>
              <a:gd name="connsiteX101" fmla="*/ 7784023 w 8636594"/>
              <a:gd name="connsiteY101" fmla="*/ 880894 h 6427305"/>
              <a:gd name="connsiteX102" fmla="*/ 7815061 w 8636594"/>
              <a:gd name="connsiteY102" fmla="*/ 841997 h 6427305"/>
              <a:gd name="connsiteX103" fmla="*/ 7846308 w 8636594"/>
              <a:gd name="connsiteY103" fmla="*/ 803354 h 6427305"/>
              <a:gd name="connsiteX104" fmla="*/ 7877772 w 8636594"/>
              <a:gd name="connsiteY104" fmla="*/ 764970 h 6427305"/>
              <a:gd name="connsiteX105" fmla="*/ 7909458 w 8636594"/>
              <a:gd name="connsiteY105" fmla="*/ 726853 h 6427305"/>
              <a:gd name="connsiteX106" fmla="*/ 7941371 w 8636594"/>
              <a:gd name="connsiteY106" fmla="*/ 689010 h 6427305"/>
              <a:gd name="connsiteX107" fmla="*/ 7973518 w 8636594"/>
              <a:gd name="connsiteY107" fmla="*/ 651447 h 6427305"/>
              <a:gd name="connsiteX108" fmla="*/ 8005905 w 8636594"/>
              <a:gd name="connsiteY108" fmla="*/ 614171 h 6427305"/>
              <a:gd name="connsiteX109" fmla="*/ 8038538 w 8636594"/>
              <a:gd name="connsiteY109" fmla="*/ 577189 h 6427305"/>
              <a:gd name="connsiteX110" fmla="*/ 8071421 w 8636594"/>
              <a:gd name="connsiteY110" fmla="*/ 540507 h 6427305"/>
              <a:gd name="connsiteX111" fmla="*/ 8104563 w 8636594"/>
              <a:gd name="connsiteY111" fmla="*/ 504132 h 6427305"/>
              <a:gd name="connsiteX112" fmla="*/ 8137967 w 8636594"/>
              <a:gd name="connsiteY112" fmla="*/ 468072 h 6427305"/>
              <a:gd name="connsiteX113" fmla="*/ 8171641 w 8636594"/>
              <a:gd name="connsiteY113" fmla="*/ 432332 h 6427305"/>
              <a:gd name="connsiteX114" fmla="*/ 8205590 w 8636594"/>
              <a:gd name="connsiteY114" fmla="*/ 396920 h 6427305"/>
              <a:gd name="connsiteX115" fmla="*/ 8239820 w 8636594"/>
              <a:gd name="connsiteY115" fmla="*/ 361843 h 6427305"/>
              <a:gd name="connsiteX116" fmla="*/ 8274337 w 8636594"/>
              <a:gd name="connsiteY116" fmla="*/ 327107 h 6427305"/>
              <a:gd name="connsiteX117" fmla="*/ 8309147 w 8636594"/>
              <a:gd name="connsiteY117" fmla="*/ 292718 h 6427305"/>
              <a:gd name="connsiteX118" fmla="*/ 8344256 w 8636594"/>
              <a:gd name="connsiteY118" fmla="*/ 258685 h 6427305"/>
              <a:gd name="connsiteX119" fmla="*/ 8379669 w 8636594"/>
              <a:gd name="connsiteY119" fmla="*/ 225013 h 6427305"/>
              <a:gd name="connsiteX120" fmla="*/ 8415394 w 8636594"/>
              <a:gd name="connsiteY120" fmla="*/ 191709 h 6427305"/>
              <a:gd name="connsiteX121" fmla="*/ 8451434 w 8636594"/>
              <a:gd name="connsiteY121" fmla="*/ 158780 h 6427305"/>
              <a:gd name="connsiteX122" fmla="*/ 8487798 w 8636594"/>
              <a:gd name="connsiteY122" fmla="*/ 126233 h 6427305"/>
              <a:gd name="connsiteX123" fmla="*/ 8524489 w 8636594"/>
              <a:gd name="connsiteY123" fmla="*/ 94075 h 6427305"/>
              <a:gd name="connsiteX124" fmla="*/ 8561515 w 8636594"/>
              <a:gd name="connsiteY124" fmla="*/ 62312 h 6427305"/>
              <a:gd name="connsiteX125" fmla="*/ 8598881 w 8636594"/>
              <a:gd name="connsiteY125" fmla="*/ 30951 h 6427305"/>
              <a:gd name="connsiteX126" fmla="*/ 8636594 w 8636594"/>
              <a:gd name="connsiteY126" fmla="*/ 0 h 6427305"/>
              <a:gd name="connsiteX0" fmla="*/ 8636594 w 8636594"/>
              <a:gd name="connsiteY0" fmla="*/ 0 h 6411004"/>
              <a:gd name="connsiteX1" fmla="*/ 5293 w 8636594"/>
              <a:gd name="connsiteY1" fmla="*/ 0 h 6411004"/>
              <a:gd name="connsiteX2" fmla="*/ 0 w 8636594"/>
              <a:gd name="connsiteY2" fmla="*/ 5587843 h 6411004"/>
              <a:gd name="connsiteX3" fmla="*/ 1594033 w 8636594"/>
              <a:gd name="connsiteY3" fmla="*/ 5600057 h 6411004"/>
              <a:gd name="connsiteX4" fmla="*/ 1686068 w 8636594"/>
              <a:gd name="connsiteY4" fmla="*/ 5599745 h 6411004"/>
              <a:gd name="connsiteX5" fmla="*/ 2947923 w 8636594"/>
              <a:gd name="connsiteY5" fmla="*/ 6411004 h 6411004"/>
              <a:gd name="connsiteX6" fmla="*/ 2997775 w 8636594"/>
              <a:gd name="connsiteY6" fmla="*/ 6394316 h 6411004"/>
              <a:gd name="connsiteX7" fmla="*/ 3047052 w 8636594"/>
              <a:gd name="connsiteY7" fmla="*/ 6377243 h 6411004"/>
              <a:gd name="connsiteX8" fmla="*/ 3095759 w 8636594"/>
              <a:gd name="connsiteY8" fmla="*/ 6359791 h 6411004"/>
              <a:gd name="connsiteX9" fmla="*/ 3143903 w 8636594"/>
              <a:gd name="connsiteY9" fmla="*/ 6341961 h 6411004"/>
              <a:gd name="connsiteX10" fmla="*/ 3191491 w 8636594"/>
              <a:gd name="connsiteY10" fmla="*/ 6323757 h 6411004"/>
              <a:gd name="connsiteX11" fmla="*/ 3238528 w 8636594"/>
              <a:gd name="connsiteY11" fmla="*/ 6305184 h 6411004"/>
              <a:gd name="connsiteX12" fmla="*/ 3285021 w 8636594"/>
              <a:gd name="connsiteY12" fmla="*/ 6286245 h 6411004"/>
              <a:gd name="connsiteX13" fmla="*/ 3330977 w 8636594"/>
              <a:gd name="connsiteY13" fmla="*/ 6266942 h 6411004"/>
              <a:gd name="connsiteX14" fmla="*/ 3376401 w 8636594"/>
              <a:gd name="connsiteY14" fmla="*/ 6247281 h 6411004"/>
              <a:gd name="connsiteX15" fmla="*/ 3421300 w 8636594"/>
              <a:gd name="connsiteY15" fmla="*/ 6227263 h 6411004"/>
              <a:gd name="connsiteX16" fmla="*/ 3465680 w 8636594"/>
              <a:gd name="connsiteY16" fmla="*/ 6206893 h 6411004"/>
              <a:gd name="connsiteX17" fmla="*/ 3509548 w 8636594"/>
              <a:gd name="connsiteY17" fmla="*/ 6186174 h 6411004"/>
              <a:gd name="connsiteX18" fmla="*/ 3552910 w 8636594"/>
              <a:gd name="connsiteY18" fmla="*/ 6165110 h 6411004"/>
              <a:gd name="connsiteX19" fmla="*/ 3595773 w 8636594"/>
              <a:gd name="connsiteY19" fmla="*/ 6143704 h 6411004"/>
              <a:gd name="connsiteX20" fmla="*/ 3638142 w 8636594"/>
              <a:gd name="connsiteY20" fmla="*/ 6121960 h 6411004"/>
              <a:gd name="connsiteX21" fmla="*/ 3680024 w 8636594"/>
              <a:gd name="connsiteY21" fmla="*/ 6099881 h 6411004"/>
              <a:gd name="connsiteX22" fmla="*/ 3721426 w 8636594"/>
              <a:gd name="connsiteY22" fmla="*/ 6077471 h 6411004"/>
              <a:gd name="connsiteX23" fmla="*/ 3762353 w 8636594"/>
              <a:gd name="connsiteY23" fmla="*/ 6054733 h 6411004"/>
              <a:gd name="connsiteX24" fmla="*/ 3802812 w 8636594"/>
              <a:gd name="connsiteY24" fmla="*/ 6031671 h 6411004"/>
              <a:gd name="connsiteX25" fmla="*/ 3842810 w 8636594"/>
              <a:gd name="connsiteY25" fmla="*/ 6008288 h 6411004"/>
              <a:gd name="connsiteX26" fmla="*/ 3882352 w 8636594"/>
              <a:gd name="connsiteY26" fmla="*/ 5984588 h 6411004"/>
              <a:gd name="connsiteX27" fmla="*/ 3921445 w 8636594"/>
              <a:gd name="connsiteY27" fmla="*/ 5960574 h 6411004"/>
              <a:gd name="connsiteX28" fmla="*/ 3960096 w 8636594"/>
              <a:gd name="connsiteY28" fmla="*/ 5936250 h 6411004"/>
              <a:gd name="connsiteX29" fmla="*/ 3998311 w 8636594"/>
              <a:gd name="connsiteY29" fmla="*/ 5911619 h 6411004"/>
              <a:gd name="connsiteX30" fmla="*/ 4036095 w 8636594"/>
              <a:gd name="connsiteY30" fmla="*/ 5886685 h 6411004"/>
              <a:gd name="connsiteX31" fmla="*/ 4073456 w 8636594"/>
              <a:gd name="connsiteY31" fmla="*/ 5861452 h 6411004"/>
              <a:gd name="connsiteX32" fmla="*/ 4110400 w 8636594"/>
              <a:gd name="connsiteY32" fmla="*/ 5835922 h 6411004"/>
              <a:gd name="connsiteX33" fmla="*/ 4146933 w 8636594"/>
              <a:gd name="connsiteY33" fmla="*/ 5810100 h 6411004"/>
              <a:gd name="connsiteX34" fmla="*/ 4183061 w 8636594"/>
              <a:gd name="connsiteY34" fmla="*/ 5783988 h 6411004"/>
              <a:gd name="connsiteX35" fmla="*/ 4218791 w 8636594"/>
              <a:gd name="connsiteY35" fmla="*/ 5757591 h 6411004"/>
              <a:gd name="connsiteX36" fmla="*/ 4254129 w 8636594"/>
              <a:gd name="connsiteY36" fmla="*/ 5730912 h 6411004"/>
              <a:gd name="connsiteX37" fmla="*/ 4289081 w 8636594"/>
              <a:gd name="connsiteY37" fmla="*/ 5703955 h 6411004"/>
              <a:gd name="connsiteX38" fmla="*/ 4323654 w 8636594"/>
              <a:gd name="connsiteY38" fmla="*/ 5676722 h 6411004"/>
              <a:gd name="connsiteX39" fmla="*/ 4357854 w 8636594"/>
              <a:gd name="connsiteY39" fmla="*/ 5649218 h 6411004"/>
              <a:gd name="connsiteX40" fmla="*/ 4391688 w 8636594"/>
              <a:gd name="connsiteY40" fmla="*/ 5621446 h 6411004"/>
              <a:gd name="connsiteX41" fmla="*/ 4425162 w 8636594"/>
              <a:gd name="connsiteY41" fmla="*/ 5593409 h 6411004"/>
              <a:gd name="connsiteX42" fmla="*/ 4458281 w 8636594"/>
              <a:gd name="connsiteY42" fmla="*/ 5565111 h 6411004"/>
              <a:gd name="connsiteX43" fmla="*/ 4491053 w 8636594"/>
              <a:gd name="connsiteY43" fmla="*/ 5536556 h 6411004"/>
              <a:gd name="connsiteX44" fmla="*/ 4523484 w 8636594"/>
              <a:gd name="connsiteY44" fmla="*/ 5507747 h 6411004"/>
              <a:gd name="connsiteX45" fmla="*/ 4555580 w 8636594"/>
              <a:gd name="connsiteY45" fmla="*/ 5478687 h 6411004"/>
              <a:gd name="connsiteX46" fmla="*/ 4587347 w 8636594"/>
              <a:gd name="connsiteY46" fmla="*/ 5449380 h 6411004"/>
              <a:gd name="connsiteX47" fmla="*/ 4618793 w 8636594"/>
              <a:gd name="connsiteY47" fmla="*/ 5419830 h 6411004"/>
              <a:gd name="connsiteX48" fmla="*/ 4649922 w 8636594"/>
              <a:gd name="connsiteY48" fmla="*/ 5390040 h 6411004"/>
              <a:gd name="connsiteX49" fmla="*/ 4680742 w 8636594"/>
              <a:gd name="connsiteY49" fmla="*/ 5360014 h 6411004"/>
              <a:gd name="connsiteX50" fmla="*/ 4711259 w 8636594"/>
              <a:gd name="connsiteY50" fmla="*/ 5329755 h 6411004"/>
              <a:gd name="connsiteX51" fmla="*/ 4741478 w 8636594"/>
              <a:gd name="connsiteY51" fmla="*/ 5299266 h 6411004"/>
              <a:gd name="connsiteX52" fmla="*/ 4771408 w 8636594"/>
              <a:gd name="connsiteY52" fmla="*/ 5268551 h 6411004"/>
              <a:gd name="connsiteX53" fmla="*/ 4801053 w 8636594"/>
              <a:gd name="connsiteY53" fmla="*/ 5237614 h 6411004"/>
              <a:gd name="connsiteX54" fmla="*/ 4830420 w 8636594"/>
              <a:gd name="connsiteY54" fmla="*/ 5206458 h 6411004"/>
              <a:gd name="connsiteX55" fmla="*/ 4859516 w 8636594"/>
              <a:gd name="connsiteY55" fmla="*/ 5175087 h 6411004"/>
              <a:gd name="connsiteX56" fmla="*/ 4888347 w 8636594"/>
              <a:gd name="connsiteY56" fmla="*/ 5143504 h 6411004"/>
              <a:gd name="connsiteX57" fmla="*/ 4916919 w 8636594"/>
              <a:gd name="connsiteY57" fmla="*/ 5111713 h 6411004"/>
              <a:gd name="connsiteX58" fmla="*/ 4945238 w 8636594"/>
              <a:gd name="connsiteY58" fmla="*/ 5079717 h 6411004"/>
              <a:gd name="connsiteX59" fmla="*/ 4973311 w 8636594"/>
              <a:gd name="connsiteY59" fmla="*/ 5047519 h 6411004"/>
              <a:gd name="connsiteX60" fmla="*/ 5001145 w 8636594"/>
              <a:gd name="connsiteY60" fmla="*/ 5015124 h 6411004"/>
              <a:gd name="connsiteX61" fmla="*/ 5028745 w 8636594"/>
              <a:gd name="connsiteY61" fmla="*/ 4982535 h 6411004"/>
              <a:gd name="connsiteX62" fmla="*/ 5056117 w 8636594"/>
              <a:gd name="connsiteY62" fmla="*/ 4949755 h 6411004"/>
              <a:gd name="connsiteX63" fmla="*/ 5083269 w 8636594"/>
              <a:gd name="connsiteY63" fmla="*/ 4916787 h 6411004"/>
              <a:gd name="connsiteX64" fmla="*/ 5110207 w 8636594"/>
              <a:gd name="connsiteY64" fmla="*/ 4883636 h 6411004"/>
              <a:gd name="connsiteX65" fmla="*/ 5136937 w 8636594"/>
              <a:gd name="connsiteY65" fmla="*/ 4850305 h 6411004"/>
              <a:gd name="connsiteX66" fmla="*/ 5163464 w 8636594"/>
              <a:gd name="connsiteY66" fmla="*/ 4816797 h 6411004"/>
              <a:gd name="connsiteX67" fmla="*/ 5215940 w 8636594"/>
              <a:gd name="connsiteY67" fmla="*/ 4749265 h 6411004"/>
              <a:gd name="connsiteX68" fmla="*/ 5267684 w 8636594"/>
              <a:gd name="connsiteY68" fmla="*/ 4681068 h 6411004"/>
              <a:gd name="connsiteX69" fmla="*/ 5318748 w 8636594"/>
              <a:gd name="connsiteY69" fmla="*/ 4612234 h 6411004"/>
              <a:gd name="connsiteX70" fmla="*/ 5369182 w 8636594"/>
              <a:gd name="connsiteY70" fmla="*/ 4542793 h 6411004"/>
              <a:gd name="connsiteX71" fmla="*/ 5419038 w 8636594"/>
              <a:gd name="connsiteY71" fmla="*/ 4472771 h 6411004"/>
              <a:gd name="connsiteX72" fmla="*/ 5468365 w 8636594"/>
              <a:gd name="connsiteY72" fmla="*/ 4402196 h 6411004"/>
              <a:gd name="connsiteX73" fmla="*/ 5517215 w 8636594"/>
              <a:gd name="connsiteY73" fmla="*/ 4331098 h 6411004"/>
              <a:gd name="connsiteX74" fmla="*/ 5565637 w 8636594"/>
              <a:gd name="connsiteY74" fmla="*/ 4259503 h 6411004"/>
              <a:gd name="connsiteX75" fmla="*/ 5613684 w 8636594"/>
              <a:gd name="connsiteY75" fmla="*/ 4187441 h 6411004"/>
              <a:gd name="connsiteX76" fmla="*/ 5685160 w 8636594"/>
              <a:gd name="connsiteY76" fmla="*/ 4078531 h 6411004"/>
              <a:gd name="connsiteX77" fmla="*/ 5756074 w 8636594"/>
              <a:gd name="connsiteY77" fmla="*/ 3968727 h 6411004"/>
              <a:gd name="connsiteX78" fmla="*/ 5873483 w 8636594"/>
              <a:gd name="connsiteY78" fmla="*/ 3783989 h 6411004"/>
              <a:gd name="connsiteX79" fmla="*/ 6203209 w 8636594"/>
              <a:gd name="connsiteY79" fmla="*/ 3258640 h 6411004"/>
              <a:gd name="connsiteX80" fmla="*/ 6299430 w 8636594"/>
              <a:gd name="connsiteY80" fmla="*/ 3107321 h 6411004"/>
              <a:gd name="connsiteX81" fmla="*/ 6372650 w 8636594"/>
              <a:gd name="connsiteY81" fmla="*/ 2993735 h 6411004"/>
              <a:gd name="connsiteX82" fmla="*/ 6453197 w 8636594"/>
              <a:gd name="connsiteY82" fmla="*/ 2869788 h 6411004"/>
              <a:gd name="connsiteX83" fmla="*/ 6564167 w 8636594"/>
              <a:gd name="connsiteY83" fmla="*/ 2696807 h 6411004"/>
              <a:gd name="connsiteX84" fmla="*/ 6976233 w 8636594"/>
              <a:gd name="connsiteY84" fmla="*/ 2045274 h 6411004"/>
              <a:gd name="connsiteX85" fmla="*/ 7086755 w 8636594"/>
              <a:gd name="connsiteY85" fmla="*/ 1872743 h 6411004"/>
              <a:gd name="connsiteX86" fmla="*/ 7170279 w 8636594"/>
              <a:gd name="connsiteY86" fmla="*/ 1744202 h 6411004"/>
              <a:gd name="connsiteX87" fmla="*/ 7226351 w 8636594"/>
              <a:gd name="connsiteY87" fmla="*/ 1659017 h 6411004"/>
              <a:gd name="connsiteX88" fmla="*/ 7282789 w 8636594"/>
              <a:gd name="connsiteY88" fmla="*/ 1574303 h 6411004"/>
              <a:gd name="connsiteX89" fmla="*/ 7339643 w 8636594"/>
              <a:gd name="connsiteY89" fmla="*/ 1490113 h 6411004"/>
              <a:gd name="connsiteX90" fmla="*/ 7396957 w 8636594"/>
              <a:gd name="connsiteY90" fmla="*/ 1406503 h 6411004"/>
              <a:gd name="connsiteX91" fmla="*/ 7454781 w 8636594"/>
              <a:gd name="connsiteY91" fmla="*/ 1323526 h 6411004"/>
              <a:gd name="connsiteX92" fmla="*/ 7513161 w 8636594"/>
              <a:gd name="connsiteY92" fmla="*/ 1241237 h 6411004"/>
              <a:gd name="connsiteX93" fmla="*/ 7572144 w 8636594"/>
              <a:gd name="connsiteY93" fmla="*/ 1159689 h 6411004"/>
              <a:gd name="connsiteX94" fmla="*/ 7601877 w 8636594"/>
              <a:gd name="connsiteY94" fmla="*/ 1119210 h 6411004"/>
              <a:gd name="connsiteX95" fmla="*/ 7631779 w 8636594"/>
              <a:gd name="connsiteY95" fmla="*/ 1078937 h 6411004"/>
              <a:gd name="connsiteX96" fmla="*/ 7661855 w 8636594"/>
              <a:gd name="connsiteY96" fmla="*/ 1038876 h 6411004"/>
              <a:gd name="connsiteX97" fmla="*/ 7692111 w 8636594"/>
              <a:gd name="connsiteY97" fmla="*/ 999035 h 6411004"/>
              <a:gd name="connsiteX98" fmla="*/ 7722554 w 8636594"/>
              <a:gd name="connsiteY98" fmla="*/ 959419 h 6411004"/>
              <a:gd name="connsiteX99" fmla="*/ 7753190 w 8636594"/>
              <a:gd name="connsiteY99" fmla="*/ 920037 h 6411004"/>
              <a:gd name="connsiteX100" fmla="*/ 7784023 w 8636594"/>
              <a:gd name="connsiteY100" fmla="*/ 880894 h 6411004"/>
              <a:gd name="connsiteX101" fmla="*/ 7815061 w 8636594"/>
              <a:gd name="connsiteY101" fmla="*/ 841997 h 6411004"/>
              <a:gd name="connsiteX102" fmla="*/ 7846308 w 8636594"/>
              <a:gd name="connsiteY102" fmla="*/ 803354 h 6411004"/>
              <a:gd name="connsiteX103" fmla="*/ 7877772 w 8636594"/>
              <a:gd name="connsiteY103" fmla="*/ 764970 h 6411004"/>
              <a:gd name="connsiteX104" fmla="*/ 7909458 w 8636594"/>
              <a:gd name="connsiteY104" fmla="*/ 726853 h 6411004"/>
              <a:gd name="connsiteX105" fmla="*/ 7941371 w 8636594"/>
              <a:gd name="connsiteY105" fmla="*/ 689010 h 6411004"/>
              <a:gd name="connsiteX106" fmla="*/ 7973518 w 8636594"/>
              <a:gd name="connsiteY106" fmla="*/ 651447 h 6411004"/>
              <a:gd name="connsiteX107" fmla="*/ 8005905 w 8636594"/>
              <a:gd name="connsiteY107" fmla="*/ 614171 h 6411004"/>
              <a:gd name="connsiteX108" fmla="*/ 8038538 w 8636594"/>
              <a:gd name="connsiteY108" fmla="*/ 577189 h 6411004"/>
              <a:gd name="connsiteX109" fmla="*/ 8071421 w 8636594"/>
              <a:gd name="connsiteY109" fmla="*/ 540507 h 6411004"/>
              <a:gd name="connsiteX110" fmla="*/ 8104563 w 8636594"/>
              <a:gd name="connsiteY110" fmla="*/ 504132 h 6411004"/>
              <a:gd name="connsiteX111" fmla="*/ 8137967 w 8636594"/>
              <a:gd name="connsiteY111" fmla="*/ 468072 h 6411004"/>
              <a:gd name="connsiteX112" fmla="*/ 8171641 w 8636594"/>
              <a:gd name="connsiteY112" fmla="*/ 432332 h 6411004"/>
              <a:gd name="connsiteX113" fmla="*/ 8205590 w 8636594"/>
              <a:gd name="connsiteY113" fmla="*/ 396920 h 6411004"/>
              <a:gd name="connsiteX114" fmla="*/ 8239820 w 8636594"/>
              <a:gd name="connsiteY114" fmla="*/ 361843 h 6411004"/>
              <a:gd name="connsiteX115" fmla="*/ 8274337 w 8636594"/>
              <a:gd name="connsiteY115" fmla="*/ 327107 h 6411004"/>
              <a:gd name="connsiteX116" fmla="*/ 8309147 w 8636594"/>
              <a:gd name="connsiteY116" fmla="*/ 292718 h 6411004"/>
              <a:gd name="connsiteX117" fmla="*/ 8344256 w 8636594"/>
              <a:gd name="connsiteY117" fmla="*/ 258685 h 6411004"/>
              <a:gd name="connsiteX118" fmla="*/ 8379669 w 8636594"/>
              <a:gd name="connsiteY118" fmla="*/ 225013 h 6411004"/>
              <a:gd name="connsiteX119" fmla="*/ 8415394 w 8636594"/>
              <a:gd name="connsiteY119" fmla="*/ 191709 h 6411004"/>
              <a:gd name="connsiteX120" fmla="*/ 8451434 w 8636594"/>
              <a:gd name="connsiteY120" fmla="*/ 158780 h 6411004"/>
              <a:gd name="connsiteX121" fmla="*/ 8487798 w 8636594"/>
              <a:gd name="connsiteY121" fmla="*/ 126233 h 6411004"/>
              <a:gd name="connsiteX122" fmla="*/ 8524489 w 8636594"/>
              <a:gd name="connsiteY122" fmla="*/ 94075 h 6411004"/>
              <a:gd name="connsiteX123" fmla="*/ 8561515 w 8636594"/>
              <a:gd name="connsiteY123" fmla="*/ 62312 h 6411004"/>
              <a:gd name="connsiteX124" fmla="*/ 8598881 w 8636594"/>
              <a:gd name="connsiteY124" fmla="*/ 30951 h 6411004"/>
              <a:gd name="connsiteX125" fmla="*/ 8636594 w 8636594"/>
              <a:gd name="connsiteY125" fmla="*/ 0 h 6411004"/>
              <a:gd name="connsiteX0" fmla="*/ 8636594 w 8636594"/>
              <a:gd name="connsiteY0" fmla="*/ 0 h 6394316"/>
              <a:gd name="connsiteX1" fmla="*/ 5293 w 8636594"/>
              <a:gd name="connsiteY1" fmla="*/ 0 h 6394316"/>
              <a:gd name="connsiteX2" fmla="*/ 0 w 8636594"/>
              <a:gd name="connsiteY2" fmla="*/ 5587843 h 6394316"/>
              <a:gd name="connsiteX3" fmla="*/ 1594033 w 8636594"/>
              <a:gd name="connsiteY3" fmla="*/ 5600057 h 6394316"/>
              <a:gd name="connsiteX4" fmla="*/ 1686068 w 8636594"/>
              <a:gd name="connsiteY4" fmla="*/ 5599745 h 6394316"/>
              <a:gd name="connsiteX5" fmla="*/ 2997775 w 8636594"/>
              <a:gd name="connsiteY5" fmla="*/ 6394316 h 6394316"/>
              <a:gd name="connsiteX6" fmla="*/ 3047052 w 8636594"/>
              <a:gd name="connsiteY6" fmla="*/ 6377243 h 6394316"/>
              <a:gd name="connsiteX7" fmla="*/ 3095759 w 8636594"/>
              <a:gd name="connsiteY7" fmla="*/ 6359791 h 6394316"/>
              <a:gd name="connsiteX8" fmla="*/ 3143903 w 8636594"/>
              <a:gd name="connsiteY8" fmla="*/ 6341961 h 6394316"/>
              <a:gd name="connsiteX9" fmla="*/ 3191491 w 8636594"/>
              <a:gd name="connsiteY9" fmla="*/ 6323757 h 6394316"/>
              <a:gd name="connsiteX10" fmla="*/ 3238528 w 8636594"/>
              <a:gd name="connsiteY10" fmla="*/ 6305184 h 6394316"/>
              <a:gd name="connsiteX11" fmla="*/ 3285021 w 8636594"/>
              <a:gd name="connsiteY11" fmla="*/ 6286245 h 6394316"/>
              <a:gd name="connsiteX12" fmla="*/ 3330977 w 8636594"/>
              <a:gd name="connsiteY12" fmla="*/ 6266942 h 6394316"/>
              <a:gd name="connsiteX13" fmla="*/ 3376401 w 8636594"/>
              <a:gd name="connsiteY13" fmla="*/ 6247281 h 6394316"/>
              <a:gd name="connsiteX14" fmla="*/ 3421300 w 8636594"/>
              <a:gd name="connsiteY14" fmla="*/ 6227263 h 6394316"/>
              <a:gd name="connsiteX15" fmla="*/ 3465680 w 8636594"/>
              <a:gd name="connsiteY15" fmla="*/ 6206893 h 6394316"/>
              <a:gd name="connsiteX16" fmla="*/ 3509548 w 8636594"/>
              <a:gd name="connsiteY16" fmla="*/ 6186174 h 6394316"/>
              <a:gd name="connsiteX17" fmla="*/ 3552910 w 8636594"/>
              <a:gd name="connsiteY17" fmla="*/ 6165110 h 6394316"/>
              <a:gd name="connsiteX18" fmla="*/ 3595773 w 8636594"/>
              <a:gd name="connsiteY18" fmla="*/ 6143704 h 6394316"/>
              <a:gd name="connsiteX19" fmla="*/ 3638142 w 8636594"/>
              <a:gd name="connsiteY19" fmla="*/ 6121960 h 6394316"/>
              <a:gd name="connsiteX20" fmla="*/ 3680024 w 8636594"/>
              <a:gd name="connsiteY20" fmla="*/ 6099881 h 6394316"/>
              <a:gd name="connsiteX21" fmla="*/ 3721426 w 8636594"/>
              <a:gd name="connsiteY21" fmla="*/ 6077471 h 6394316"/>
              <a:gd name="connsiteX22" fmla="*/ 3762353 w 8636594"/>
              <a:gd name="connsiteY22" fmla="*/ 6054733 h 6394316"/>
              <a:gd name="connsiteX23" fmla="*/ 3802812 w 8636594"/>
              <a:gd name="connsiteY23" fmla="*/ 6031671 h 6394316"/>
              <a:gd name="connsiteX24" fmla="*/ 3842810 w 8636594"/>
              <a:gd name="connsiteY24" fmla="*/ 6008288 h 6394316"/>
              <a:gd name="connsiteX25" fmla="*/ 3882352 w 8636594"/>
              <a:gd name="connsiteY25" fmla="*/ 5984588 h 6394316"/>
              <a:gd name="connsiteX26" fmla="*/ 3921445 w 8636594"/>
              <a:gd name="connsiteY26" fmla="*/ 5960574 h 6394316"/>
              <a:gd name="connsiteX27" fmla="*/ 3960096 w 8636594"/>
              <a:gd name="connsiteY27" fmla="*/ 5936250 h 6394316"/>
              <a:gd name="connsiteX28" fmla="*/ 3998311 w 8636594"/>
              <a:gd name="connsiteY28" fmla="*/ 5911619 h 6394316"/>
              <a:gd name="connsiteX29" fmla="*/ 4036095 w 8636594"/>
              <a:gd name="connsiteY29" fmla="*/ 5886685 h 6394316"/>
              <a:gd name="connsiteX30" fmla="*/ 4073456 w 8636594"/>
              <a:gd name="connsiteY30" fmla="*/ 5861452 h 6394316"/>
              <a:gd name="connsiteX31" fmla="*/ 4110400 w 8636594"/>
              <a:gd name="connsiteY31" fmla="*/ 5835922 h 6394316"/>
              <a:gd name="connsiteX32" fmla="*/ 4146933 w 8636594"/>
              <a:gd name="connsiteY32" fmla="*/ 5810100 h 6394316"/>
              <a:gd name="connsiteX33" fmla="*/ 4183061 w 8636594"/>
              <a:gd name="connsiteY33" fmla="*/ 5783988 h 6394316"/>
              <a:gd name="connsiteX34" fmla="*/ 4218791 w 8636594"/>
              <a:gd name="connsiteY34" fmla="*/ 5757591 h 6394316"/>
              <a:gd name="connsiteX35" fmla="*/ 4254129 w 8636594"/>
              <a:gd name="connsiteY35" fmla="*/ 5730912 h 6394316"/>
              <a:gd name="connsiteX36" fmla="*/ 4289081 w 8636594"/>
              <a:gd name="connsiteY36" fmla="*/ 5703955 h 6394316"/>
              <a:gd name="connsiteX37" fmla="*/ 4323654 w 8636594"/>
              <a:gd name="connsiteY37" fmla="*/ 5676722 h 6394316"/>
              <a:gd name="connsiteX38" fmla="*/ 4357854 w 8636594"/>
              <a:gd name="connsiteY38" fmla="*/ 5649218 h 6394316"/>
              <a:gd name="connsiteX39" fmla="*/ 4391688 w 8636594"/>
              <a:gd name="connsiteY39" fmla="*/ 5621446 h 6394316"/>
              <a:gd name="connsiteX40" fmla="*/ 4425162 w 8636594"/>
              <a:gd name="connsiteY40" fmla="*/ 5593409 h 6394316"/>
              <a:gd name="connsiteX41" fmla="*/ 4458281 w 8636594"/>
              <a:gd name="connsiteY41" fmla="*/ 5565111 h 6394316"/>
              <a:gd name="connsiteX42" fmla="*/ 4491053 w 8636594"/>
              <a:gd name="connsiteY42" fmla="*/ 5536556 h 6394316"/>
              <a:gd name="connsiteX43" fmla="*/ 4523484 w 8636594"/>
              <a:gd name="connsiteY43" fmla="*/ 5507747 h 6394316"/>
              <a:gd name="connsiteX44" fmla="*/ 4555580 w 8636594"/>
              <a:gd name="connsiteY44" fmla="*/ 5478687 h 6394316"/>
              <a:gd name="connsiteX45" fmla="*/ 4587347 w 8636594"/>
              <a:gd name="connsiteY45" fmla="*/ 5449380 h 6394316"/>
              <a:gd name="connsiteX46" fmla="*/ 4618793 w 8636594"/>
              <a:gd name="connsiteY46" fmla="*/ 5419830 h 6394316"/>
              <a:gd name="connsiteX47" fmla="*/ 4649922 w 8636594"/>
              <a:gd name="connsiteY47" fmla="*/ 5390040 h 6394316"/>
              <a:gd name="connsiteX48" fmla="*/ 4680742 w 8636594"/>
              <a:gd name="connsiteY48" fmla="*/ 5360014 h 6394316"/>
              <a:gd name="connsiteX49" fmla="*/ 4711259 w 8636594"/>
              <a:gd name="connsiteY49" fmla="*/ 5329755 h 6394316"/>
              <a:gd name="connsiteX50" fmla="*/ 4741478 w 8636594"/>
              <a:gd name="connsiteY50" fmla="*/ 5299266 h 6394316"/>
              <a:gd name="connsiteX51" fmla="*/ 4771408 w 8636594"/>
              <a:gd name="connsiteY51" fmla="*/ 5268551 h 6394316"/>
              <a:gd name="connsiteX52" fmla="*/ 4801053 w 8636594"/>
              <a:gd name="connsiteY52" fmla="*/ 5237614 h 6394316"/>
              <a:gd name="connsiteX53" fmla="*/ 4830420 w 8636594"/>
              <a:gd name="connsiteY53" fmla="*/ 5206458 h 6394316"/>
              <a:gd name="connsiteX54" fmla="*/ 4859516 w 8636594"/>
              <a:gd name="connsiteY54" fmla="*/ 5175087 h 6394316"/>
              <a:gd name="connsiteX55" fmla="*/ 4888347 w 8636594"/>
              <a:gd name="connsiteY55" fmla="*/ 5143504 h 6394316"/>
              <a:gd name="connsiteX56" fmla="*/ 4916919 w 8636594"/>
              <a:gd name="connsiteY56" fmla="*/ 5111713 h 6394316"/>
              <a:gd name="connsiteX57" fmla="*/ 4945238 w 8636594"/>
              <a:gd name="connsiteY57" fmla="*/ 5079717 h 6394316"/>
              <a:gd name="connsiteX58" fmla="*/ 4973311 w 8636594"/>
              <a:gd name="connsiteY58" fmla="*/ 5047519 h 6394316"/>
              <a:gd name="connsiteX59" fmla="*/ 5001145 w 8636594"/>
              <a:gd name="connsiteY59" fmla="*/ 5015124 h 6394316"/>
              <a:gd name="connsiteX60" fmla="*/ 5028745 w 8636594"/>
              <a:gd name="connsiteY60" fmla="*/ 4982535 h 6394316"/>
              <a:gd name="connsiteX61" fmla="*/ 5056117 w 8636594"/>
              <a:gd name="connsiteY61" fmla="*/ 4949755 h 6394316"/>
              <a:gd name="connsiteX62" fmla="*/ 5083269 w 8636594"/>
              <a:gd name="connsiteY62" fmla="*/ 4916787 h 6394316"/>
              <a:gd name="connsiteX63" fmla="*/ 5110207 w 8636594"/>
              <a:gd name="connsiteY63" fmla="*/ 4883636 h 6394316"/>
              <a:gd name="connsiteX64" fmla="*/ 5136937 w 8636594"/>
              <a:gd name="connsiteY64" fmla="*/ 4850305 h 6394316"/>
              <a:gd name="connsiteX65" fmla="*/ 5163464 w 8636594"/>
              <a:gd name="connsiteY65" fmla="*/ 4816797 h 6394316"/>
              <a:gd name="connsiteX66" fmla="*/ 5215940 w 8636594"/>
              <a:gd name="connsiteY66" fmla="*/ 4749265 h 6394316"/>
              <a:gd name="connsiteX67" fmla="*/ 5267684 w 8636594"/>
              <a:gd name="connsiteY67" fmla="*/ 4681068 h 6394316"/>
              <a:gd name="connsiteX68" fmla="*/ 5318748 w 8636594"/>
              <a:gd name="connsiteY68" fmla="*/ 4612234 h 6394316"/>
              <a:gd name="connsiteX69" fmla="*/ 5369182 w 8636594"/>
              <a:gd name="connsiteY69" fmla="*/ 4542793 h 6394316"/>
              <a:gd name="connsiteX70" fmla="*/ 5419038 w 8636594"/>
              <a:gd name="connsiteY70" fmla="*/ 4472771 h 6394316"/>
              <a:gd name="connsiteX71" fmla="*/ 5468365 w 8636594"/>
              <a:gd name="connsiteY71" fmla="*/ 4402196 h 6394316"/>
              <a:gd name="connsiteX72" fmla="*/ 5517215 w 8636594"/>
              <a:gd name="connsiteY72" fmla="*/ 4331098 h 6394316"/>
              <a:gd name="connsiteX73" fmla="*/ 5565637 w 8636594"/>
              <a:gd name="connsiteY73" fmla="*/ 4259503 h 6394316"/>
              <a:gd name="connsiteX74" fmla="*/ 5613684 w 8636594"/>
              <a:gd name="connsiteY74" fmla="*/ 4187441 h 6394316"/>
              <a:gd name="connsiteX75" fmla="*/ 5685160 w 8636594"/>
              <a:gd name="connsiteY75" fmla="*/ 4078531 h 6394316"/>
              <a:gd name="connsiteX76" fmla="*/ 5756074 w 8636594"/>
              <a:gd name="connsiteY76" fmla="*/ 3968727 h 6394316"/>
              <a:gd name="connsiteX77" fmla="*/ 5873483 w 8636594"/>
              <a:gd name="connsiteY77" fmla="*/ 3783989 h 6394316"/>
              <a:gd name="connsiteX78" fmla="*/ 6203209 w 8636594"/>
              <a:gd name="connsiteY78" fmla="*/ 3258640 h 6394316"/>
              <a:gd name="connsiteX79" fmla="*/ 6299430 w 8636594"/>
              <a:gd name="connsiteY79" fmla="*/ 3107321 h 6394316"/>
              <a:gd name="connsiteX80" fmla="*/ 6372650 w 8636594"/>
              <a:gd name="connsiteY80" fmla="*/ 2993735 h 6394316"/>
              <a:gd name="connsiteX81" fmla="*/ 6453197 w 8636594"/>
              <a:gd name="connsiteY81" fmla="*/ 2869788 h 6394316"/>
              <a:gd name="connsiteX82" fmla="*/ 6564167 w 8636594"/>
              <a:gd name="connsiteY82" fmla="*/ 2696807 h 6394316"/>
              <a:gd name="connsiteX83" fmla="*/ 6976233 w 8636594"/>
              <a:gd name="connsiteY83" fmla="*/ 2045274 h 6394316"/>
              <a:gd name="connsiteX84" fmla="*/ 7086755 w 8636594"/>
              <a:gd name="connsiteY84" fmla="*/ 1872743 h 6394316"/>
              <a:gd name="connsiteX85" fmla="*/ 7170279 w 8636594"/>
              <a:gd name="connsiteY85" fmla="*/ 1744202 h 6394316"/>
              <a:gd name="connsiteX86" fmla="*/ 7226351 w 8636594"/>
              <a:gd name="connsiteY86" fmla="*/ 1659017 h 6394316"/>
              <a:gd name="connsiteX87" fmla="*/ 7282789 w 8636594"/>
              <a:gd name="connsiteY87" fmla="*/ 1574303 h 6394316"/>
              <a:gd name="connsiteX88" fmla="*/ 7339643 w 8636594"/>
              <a:gd name="connsiteY88" fmla="*/ 1490113 h 6394316"/>
              <a:gd name="connsiteX89" fmla="*/ 7396957 w 8636594"/>
              <a:gd name="connsiteY89" fmla="*/ 1406503 h 6394316"/>
              <a:gd name="connsiteX90" fmla="*/ 7454781 w 8636594"/>
              <a:gd name="connsiteY90" fmla="*/ 1323526 h 6394316"/>
              <a:gd name="connsiteX91" fmla="*/ 7513161 w 8636594"/>
              <a:gd name="connsiteY91" fmla="*/ 1241237 h 6394316"/>
              <a:gd name="connsiteX92" fmla="*/ 7572144 w 8636594"/>
              <a:gd name="connsiteY92" fmla="*/ 1159689 h 6394316"/>
              <a:gd name="connsiteX93" fmla="*/ 7601877 w 8636594"/>
              <a:gd name="connsiteY93" fmla="*/ 1119210 h 6394316"/>
              <a:gd name="connsiteX94" fmla="*/ 7631779 w 8636594"/>
              <a:gd name="connsiteY94" fmla="*/ 1078937 h 6394316"/>
              <a:gd name="connsiteX95" fmla="*/ 7661855 w 8636594"/>
              <a:gd name="connsiteY95" fmla="*/ 1038876 h 6394316"/>
              <a:gd name="connsiteX96" fmla="*/ 7692111 w 8636594"/>
              <a:gd name="connsiteY96" fmla="*/ 999035 h 6394316"/>
              <a:gd name="connsiteX97" fmla="*/ 7722554 w 8636594"/>
              <a:gd name="connsiteY97" fmla="*/ 959419 h 6394316"/>
              <a:gd name="connsiteX98" fmla="*/ 7753190 w 8636594"/>
              <a:gd name="connsiteY98" fmla="*/ 920037 h 6394316"/>
              <a:gd name="connsiteX99" fmla="*/ 7784023 w 8636594"/>
              <a:gd name="connsiteY99" fmla="*/ 880894 h 6394316"/>
              <a:gd name="connsiteX100" fmla="*/ 7815061 w 8636594"/>
              <a:gd name="connsiteY100" fmla="*/ 841997 h 6394316"/>
              <a:gd name="connsiteX101" fmla="*/ 7846308 w 8636594"/>
              <a:gd name="connsiteY101" fmla="*/ 803354 h 6394316"/>
              <a:gd name="connsiteX102" fmla="*/ 7877772 w 8636594"/>
              <a:gd name="connsiteY102" fmla="*/ 764970 h 6394316"/>
              <a:gd name="connsiteX103" fmla="*/ 7909458 w 8636594"/>
              <a:gd name="connsiteY103" fmla="*/ 726853 h 6394316"/>
              <a:gd name="connsiteX104" fmla="*/ 7941371 w 8636594"/>
              <a:gd name="connsiteY104" fmla="*/ 689010 h 6394316"/>
              <a:gd name="connsiteX105" fmla="*/ 7973518 w 8636594"/>
              <a:gd name="connsiteY105" fmla="*/ 651447 h 6394316"/>
              <a:gd name="connsiteX106" fmla="*/ 8005905 w 8636594"/>
              <a:gd name="connsiteY106" fmla="*/ 614171 h 6394316"/>
              <a:gd name="connsiteX107" fmla="*/ 8038538 w 8636594"/>
              <a:gd name="connsiteY107" fmla="*/ 577189 h 6394316"/>
              <a:gd name="connsiteX108" fmla="*/ 8071421 w 8636594"/>
              <a:gd name="connsiteY108" fmla="*/ 540507 h 6394316"/>
              <a:gd name="connsiteX109" fmla="*/ 8104563 w 8636594"/>
              <a:gd name="connsiteY109" fmla="*/ 504132 h 6394316"/>
              <a:gd name="connsiteX110" fmla="*/ 8137967 w 8636594"/>
              <a:gd name="connsiteY110" fmla="*/ 468072 h 6394316"/>
              <a:gd name="connsiteX111" fmla="*/ 8171641 w 8636594"/>
              <a:gd name="connsiteY111" fmla="*/ 432332 h 6394316"/>
              <a:gd name="connsiteX112" fmla="*/ 8205590 w 8636594"/>
              <a:gd name="connsiteY112" fmla="*/ 396920 h 6394316"/>
              <a:gd name="connsiteX113" fmla="*/ 8239820 w 8636594"/>
              <a:gd name="connsiteY113" fmla="*/ 361843 h 6394316"/>
              <a:gd name="connsiteX114" fmla="*/ 8274337 w 8636594"/>
              <a:gd name="connsiteY114" fmla="*/ 327107 h 6394316"/>
              <a:gd name="connsiteX115" fmla="*/ 8309147 w 8636594"/>
              <a:gd name="connsiteY115" fmla="*/ 292718 h 6394316"/>
              <a:gd name="connsiteX116" fmla="*/ 8344256 w 8636594"/>
              <a:gd name="connsiteY116" fmla="*/ 258685 h 6394316"/>
              <a:gd name="connsiteX117" fmla="*/ 8379669 w 8636594"/>
              <a:gd name="connsiteY117" fmla="*/ 225013 h 6394316"/>
              <a:gd name="connsiteX118" fmla="*/ 8415394 w 8636594"/>
              <a:gd name="connsiteY118" fmla="*/ 191709 h 6394316"/>
              <a:gd name="connsiteX119" fmla="*/ 8451434 w 8636594"/>
              <a:gd name="connsiteY119" fmla="*/ 158780 h 6394316"/>
              <a:gd name="connsiteX120" fmla="*/ 8487798 w 8636594"/>
              <a:gd name="connsiteY120" fmla="*/ 126233 h 6394316"/>
              <a:gd name="connsiteX121" fmla="*/ 8524489 w 8636594"/>
              <a:gd name="connsiteY121" fmla="*/ 94075 h 6394316"/>
              <a:gd name="connsiteX122" fmla="*/ 8561515 w 8636594"/>
              <a:gd name="connsiteY122" fmla="*/ 62312 h 6394316"/>
              <a:gd name="connsiteX123" fmla="*/ 8598881 w 8636594"/>
              <a:gd name="connsiteY123" fmla="*/ 30951 h 6394316"/>
              <a:gd name="connsiteX124" fmla="*/ 8636594 w 8636594"/>
              <a:gd name="connsiteY124" fmla="*/ 0 h 6394316"/>
              <a:gd name="connsiteX0" fmla="*/ 8636594 w 8636594"/>
              <a:gd name="connsiteY0" fmla="*/ 0 h 6377243"/>
              <a:gd name="connsiteX1" fmla="*/ 5293 w 8636594"/>
              <a:gd name="connsiteY1" fmla="*/ 0 h 6377243"/>
              <a:gd name="connsiteX2" fmla="*/ 0 w 8636594"/>
              <a:gd name="connsiteY2" fmla="*/ 5587843 h 6377243"/>
              <a:gd name="connsiteX3" fmla="*/ 1594033 w 8636594"/>
              <a:gd name="connsiteY3" fmla="*/ 5600057 h 6377243"/>
              <a:gd name="connsiteX4" fmla="*/ 1686068 w 8636594"/>
              <a:gd name="connsiteY4" fmla="*/ 5599745 h 6377243"/>
              <a:gd name="connsiteX5" fmla="*/ 3047052 w 8636594"/>
              <a:gd name="connsiteY5" fmla="*/ 6377243 h 6377243"/>
              <a:gd name="connsiteX6" fmla="*/ 3095759 w 8636594"/>
              <a:gd name="connsiteY6" fmla="*/ 6359791 h 6377243"/>
              <a:gd name="connsiteX7" fmla="*/ 3143903 w 8636594"/>
              <a:gd name="connsiteY7" fmla="*/ 6341961 h 6377243"/>
              <a:gd name="connsiteX8" fmla="*/ 3191491 w 8636594"/>
              <a:gd name="connsiteY8" fmla="*/ 6323757 h 6377243"/>
              <a:gd name="connsiteX9" fmla="*/ 3238528 w 8636594"/>
              <a:gd name="connsiteY9" fmla="*/ 6305184 h 6377243"/>
              <a:gd name="connsiteX10" fmla="*/ 3285021 w 8636594"/>
              <a:gd name="connsiteY10" fmla="*/ 6286245 h 6377243"/>
              <a:gd name="connsiteX11" fmla="*/ 3330977 w 8636594"/>
              <a:gd name="connsiteY11" fmla="*/ 6266942 h 6377243"/>
              <a:gd name="connsiteX12" fmla="*/ 3376401 w 8636594"/>
              <a:gd name="connsiteY12" fmla="*/ 6247281 h 6377243"/>
              <a:gd name="connsiteX13" fmla="*/ 3421300 w 8636594"/>
              <a:gd name="connsiteY13" fmla="*/ 6227263 h 6377243"/>
              <a:gd name="connsiteX14" fmla="*/ 3465680 w 8636594"/>
              <a:gd name="connsiteY14" fmla="*/ 6206893 h 6377243"/>
              <a:gd name="connsiteX15" fmla="*/ 3509548 w 8636594"/>
              <a:gd name="connsiteY15" fmla="*/ 6186174 h 6377243"/>
              <a:gd name="connsiteX16" fmla="*/ 3552910 w 8636594"/>
              <a:gd name="connsiteY16" fmla="*/ 6165110 h 6377243"/>
              <a:gd name="connsiteX17" fmla="*/ 3595773 w 8636594"/>
              <a:gd name="connsiteY17" fmla="*/ 6143704 h 6377243"/>
              <a:gd name="connsiteX18" fmla="*/ 3638142 w 8636594"/>
              <a:gd name="connsiteY18" fmla="*/ 6121960 h 6377243"/>
              <a:gd name="connsiteX19" fmla="*/ 3680024 w 8636594"/>
              <a:gd name="connsiteY19" fmla="*/ 6099881 h 6377243"/>
              <a:gd name="connsiteX20" fmla="*/ 3721426 w 8636594"/>
              <a:gd name="connsiteY20" fmla="*/ 6077471 h 6377243"/>
              <a:gd name="connsiteX21" fmla="*/ 3762353 w 8636594"/>
              <a:gd name="connsiteY21" fmla="*/ 6054733 h 6377243"/>
              <a:gd name="connsiteX22" fmla="*/ 3802812 w 8636594"/>
              <a:gd name="connsiteY22" fmla="*/ 6031671 h 6377243"/>
              <a:gd name="connsiteX23" fmla="*/ 3842810 w 8636594"/>
              <a:gd name="connsiteY23" fmla="*/ 6008288 h 6377243"/>
              <a:gd name="connsiteX24" fmla="*/ 3882352 w 8636594"/>
              <a:gd name="connsiteY24" fmla="*/ 5984588 h 6377243"/>
              <a:gd name="connsiteX25" fmla="*/ 3921445 w 8636594"/>
              <a:gd name="connsiteY25" fmla="*/ 5960574 h 6377243"/>
              <a:gd name="connsiteX26" fmla="*/ 3960096 w 8636594"/>
              <a:gd name="connsiteY26" fmla="*/ 5936250 h 6377243"/>
              <a:gd name="connsiteX27" fmla="*/ 3998311 w 8636594"/>
              <a:gd name="connsiteY27" fmla="*/ 5911619 h 6377243"/>
              <a:gd name="connsiteX28" fmla="*/ 4036095 w 8636594"/>
              <a:gd name="connsiteY28" fmla="*/ 5886685 h 6377243"/>
              <a:gd name="connsiteX29" fmla="*/ 4073456 w 8636594"/>
              <a:gd name="connsiteY29" fmla="*/ 5861452 h 6377243"/>
              <a:gd name="connsiteX30" fmla="*/ 4110400 w 8636594"/>
              <a:gd name="connsiteY30" fmla="*/ 5835922 h 6377243"/>
              <a:gd name="connsiteX31" fmla="*/ 4146933 w 8636594"/>
              <a:gd name="connsiteY31" fmla="*/ 5810100 h 6377243"/>
              <a:gd name="connsiteX32" fmla="*/ 4183061 w 8636594"/>
              <a:gd name="connsiteY32" fmla="*/ 5783988 h 6377243"/>
              <a:gd name="connsiteX33" fmla="*/ 4218791 w 8636594"/>
              <a:gd name="connsiteY33" fmla="*/ 5757591 h 6377243"/>
              <a:gd name="connsiteX34" fmla="*/ 4254129 w 8636594"/>
              <a:gd name="connsiteY34" fmla="*/ 5730912 h 6377243"/>
              <a:gd name="connsiteX35" fmla="*/ 4289081 w 8636594"/>
              <a:gd name="connsiteY35" fmla="*/ 5703955 h 6377243"/>
              <a:gd name="connsiteX36" fmla="*/ 4323654 w 8636594"/>
              <a:gd name="connsiteY36" fmla="*/ 5676722 h 6377243"/>
              <a:gd name="connsiteX37" fmla="*/ 4357854 w 8636594"/>
              <a:gd name="connsiteY37" fmla="*/ 5649218 h 6377243"/>
              <a:gd name="connsiteX38" fmla="*/ 4391688 w 8636594"/>
              <a:gd name="connsiteY38" fmla="*/ 5621446 h 6377243"/>
              <a:gd name="connsiteX39" fmla="*/ 4425162 w 8636594"/>
              <a:gd name="connsiteY39" fmla="*/ 5593409 h 6377243"/>
              <a:gd name="connsiteX40" fmla="*/ 4458281 w 8636594"/>
              <a:gd name="connsiteY40" fmla="*/ 5565111 h 6377243"/>
              <a:gd name="connsiteX41" fmla="*/ 4491053 w 8636594"/>
              <a:gd name="connsiteY41" fmla="*/ 5536556 h 6377243"/>
              <a:gd name="connsiteX42" fmla="*/ 4523484 w 8636594"/>
              <a:gd name="connsiteY42" fmla="*/ 5507747 h 6377243"/>
              <a:gd name="connsiteX43" fmla="*/ 4555580 w 8636594"/>
              <a:gd name="connsiteY43" fmla="*/ 5478687 h 6377243"/>
              <a:gd name="connsiteX44" fmla="*/ 4587347 w 8636594"/>
              <a:gd name="connsiteY44" fmla="*/ 5449380 h 6377243"/>
              <a:gd name="connsiteX45" fmla="*/ 4618793 w 8636594"/>
              <a:gd name="connsiteY45" fmla="*/ 5419830 h 6377243"/>
              <a:gd name="connsiteX46" fmla="*/ 4649922 w 8636594"/>
              <a:gd name="connsiteY46" fmla="*/ 5390040 h 6377243"/>
              <a:gd name="connsiteX47" fmla="*/ 4680742 w 8636594"/>
              <a:gd name="connsiteY47" fmla="*/ 5360014 h 6377243"/>
              <a:gd name="connsiteX48" fmla="*/ 4711259 w 8636594"/>
              <a:gd name="connsiteY48" fmla="*/ 5329755 h 6377243"/>
              <a:gd name="connsiteX49" fmla="*/ 4741478 w 8636594"/>
              <a:gd name="connsiteY49" fmla="*/ 5299266 h 6377243"/>
              <a:gd name="connsiteX50" fmla="*/ 4771408 w 8636594"/>
              <a:gd name="connsiteY50" fmla="*/ 5268551 h 6377243"/>
              <a:gd name="connsiteX51" fmla="*/ 4801053 w 8636594"/>
              <a:gd name="connsiteY51" fmla="*/ 5237614 h 6377243"/>
              <a:gd name="connsiteX52" fmla="*/ 4830420 w 8636594"/>
              <a:gd name="connsiteY52" fmla="*/ 5206458 h 6377243"/>
              <a:gd name="connsiteX53" fmla="*/ 4859516 w 8636594"/>
              <a:gd name="connsiteY53" fmla="*/ 5175087 h 6377243"/>
              <a:gd name="connsiteX54" fmla="*/ 4888347 w 8636594"/>
              <a:gd name="connsiteY54" fmla="*/ 5143504 h 6377243"/>
              <a:gd name="connsiteX55" fmla="*/ 4916919 w 8636594"/>
              <a:gd name="connsiteY55" fmla="*/ 5111713 h 6377243"/>
              <a:gd name="connsiteX56" fmla="*/ 4945238 w 8636594"/>
              <a:gd name="connsiteY56" fmla="*/ 5079717 h 6377243"/>
              <a:gd name="connsiteX57" fmla="*/ 4973311 w 8636594"/>
              <a:gd name="connsiteY57" fmla="*/ 5047519 h 6377243"/>
              <a:gd name="connsiteX58" fmla="*/ 5001145 w 8636594"/>
              <a:gd name="connsiteY58" fmla="*/ 5015124 h 6377243"/>
              <a:gd name="connsiteX59" fmla="*/ 5028745 w 8636594"/>
              <a:gd name="connsiteY59" fmla="*/ 4982535 h 6377243"/>
              <a:gd name="connsiteX60" fmla="*/ 5056117 w 8636594"/>
              <a:gd name="connsiteY60" fmla="*/ 4949755 h 6377243"/>
              <a:gd name="connsiteX61" fmla="*/ 5083269 w 8636594"/>
              <a:gd name="connsiteY61" fmla="*/ 4916787 h 6377243"/>
              <a:gd name="connsiteX62" fmla="*/ 5110207 w 8636594"/>
              <a:gd name="connsiteY62" fmla="*/ 4883636 h 6377243"/>
              <a:gd name="connsiteX63" fmla="*/ 5136937 w 8636594"/>
              <a:gd name="connsiteY63" fmla="*/ 4850305 h 6377243"/>
              <a:gd name="connsiteX64" fmla="*/ 5163464 w 8636594"/>
              <a:gd name="connsiteY64" fmla="*/ 4816797 h 6377243"/>
              <a:gd name="connsiteX65" fmla="*/ 5215940 w 8636594"/>
              <a:gd name="connsiteY65" fmla="*/ 4749265 h 6377243"/>
              <a:gd name="connsiteX66" fmla="*/ 5267684 w 8636594"/>
              <a:gd name="connsiteY66" fmla="*/ 4681068 h 6377243"/>
              <a:gd name="connsiteX67" fmla="*/ 5318748 w 8636594"/>
              <a:gd name="connsiteY67" fmla="*/ 4612234 h 6377243"/>
              <a:gd name="connsiteX68" fmla="*/ 5369182 w 8636594"/>
              <a:gd name="connsiteY68" fmla="*/ 4542793 h 6377243"/>
              <a:gd name="connsiteX69" fmla="*/ 5419038 w 8636594"/>
              <a:gd name="connsiteY69" fmla="*/ 4472771 h 6377243"/>
              <a:gd name="connsiteX70" fmla="*/ 5468365 w 8636594"/>
              <a:gd name="connsiteY70" fmla="*/ 4402196 h 6377243"/>
              <a:gd name="connsiteX71" fmla="*/ 5517215 w 8636594"/>
              <a:gd name="connsiteY71" fmla="*/ 4331098 h 6377243"/>
              <a:gd name="connsiteX72" fmla="*/ 5565637 w 8636594"/>
              <a:gd name="connsiteY72" fmla="*/ 4259503 h 6377243"/>
              <a:gd name="connsiteX73" fmla="*/ 5613684 w 8636594"/>
              <a:gd name="connsiteY73" fmla="*/ 4187441 h 6377243"/>
              <a:gd name="connsiteX74" fmla="*/ 5685160 w 8636594"/>
              <a:gd name="connsiteY74" fmla="*/ 4078531 h 6377243"/>
              <a:gd name="connsiteX75" fmla="*/ 5756074 w 8636594"/>
              <a:gd name="connsiteY75" fmla="*/ 3968727 h 6377243"/>
              <a:gd name="connsiteX76" fmla="*/ 5873483 w 8636594"/>
              <a:gd name="connsiteY76" fmla="*/ 3783989 h 6377243"/>
              <a:gd name="connsiteX77" fmla="*/ 6203209 w 8636594"/>
              <a:gd name="connsiteY77" fmla="*/ 3258640 h 6377243"/>
              <a:gd name="connsiteX78" fmla="*/ 6299430 w 8636594"/>
              <a:gd name="connsiteY78" fmla="*/ 3107321 h 6377243"/>
              <a:gd name="connsiteX79" fmla="*/ 6372650 w 8636594"/>
              <a:gd name="connsiteY79" fmla="*/ 2993735 h 6377243"/>
              <a:gd name="connsiteX80" fmla="*/ 6453197 w 8636594"/>
              <a:gd name="connsiteY80" fmla="*/ 2869788 h 6377243"/>
              <a:gd name="connsiteX81" fmla="*/ 6564167 w 8636594"/>
              <a:gd name="connsiteY81" fmla="*/ 2696807 h 6377243"/>
              <a:gd name="connsiteX82" fmla="*/ 6976233 w 8636594"/>
              <a:gd name="connsiteY82" fmla="*/ 2045274 h 6377243"/>
              <a:gd name="connsiteX83" fmla="*/ 7086755 w 8636594"/>
              <a:gd name="connsiteY83" fmla="*/ 1872743 h 6377243"/>
              <a:gd name="connsiteX84" fmla="*/ 7170279 w 8636594"/>
              <a:gd name="connsiteY84" fmla="*/ 1744202 h 6377243"/>
              <a:gd name="connsiteX85" fmla="*/ 7226351 w 8636594"/>
              <a:gd name="connsiteY85" fmla="*/ 1659017 h 6377243"/>
              <a:gd name="connsiteX86" fmla="*/ 7282789 w 8636594"/>
              <a:gd name="connsiteY86" fmla="*/ 1574303 h 6377243"/>
              <a:gd name="connsiteX87" fmla="*/ 7339643 w 8636594"/>
              <a:gd name="connsiteY87" fmla="*/ 1490113 h 6377243"/>
              <a:gd name="connsiteX88" fmla="*/ 7396957 w 8636594"/>
              <a:gd name="connsiteY88" fmla="*/ 1406503 h 6377243"/>
              <a:gd name="connsiteX89" fmla="*/ 7454781 w 8636594"/>
              <a:gd name="connsiteY89" fmla="*/ 1323526 h 6377243"/>
              <a:gd name="connsiteX90" fmla="*/ 7513161 w 8636594"/>
              <a:gd name="connsiteY90" fmla="*/ 1241237 h 6377243"/>
              <a:gd name="connsiteX91" fmla="*/ 7572144 w 8636594"/>
              <a:gd name="connsiteY91" fmla="*/ 1159689 h 6377243"/>
              <a:gd name="connsiteX92" fmla="*/ 7601877 w 8636594"/>
              <a:gd name="connsiteY92" fmla="*/ 1119210 h 6377243"/>
              <a:gd name="connsiteX93" fmla="*/ 7631779 w 8636594"/>
              <a:gd name="connsiteY93" fmla="*/ 1078937 h 6377243"/>
              <a:gd name="connsiteX94" fmla="*/ 7661855 w 8636594"/>
              <a:gd name="connsiteY94" fmla="*/ 1038876 h 6377243"/>
              <a:gd name="connsiteX95" fmla="*/ 7692111 w 8636594"/>
              <a:gd name="connsiteY95" fmla="*/ 999035 h 6377243"/>
              <a:gd name="connsiteX96" fmla="*/ 7722554 w 8636594"/>
              <a:gd name="connsiteY96" fmla="*/ 959419 h 6377243"/>
              <a:gd name="connsiteX97" fmla="*/ 7753190 w 8636594"/>
              <a:gd name="connsiteY97" fmla="*/ 920037 h 6377243"/>
              <a:gd name="connsiteX98" fmla="*/ 7784023 w 8636594"/>
              <a:gd name="connsiteY98" fmla="*/ 880894 h 6377243"/>
              <a:gd name="connsiteX99" fmla="*/ 7815061 w 8636594"/>
              <a:gd name="connsiteY99" fmla="*/ 841997 h 6377243"/>
              <a:gd name="connsiteX100" fmla="*/ 7846308 w 8636594"/>
              <a:gd name="connsiteY100" fmla="*/ 803354 h 6377243"/>
              <a:gd name="connsiteX101" fmla="*/ 7877772 w 8636594"/>
              <a:gd name="connsiteY101" fmla="*/ 764970 h 6377243"/>
              <a:gd name="connsiteX102" fmla="*/ 7909458 w 8636594"/>
              <a:gd name="connsiteY102" fmla="*/ 726853 h 6377243"/>
              <a:gd name="connsiteX103" fmla="*/ 7941371 w 8636594"/>
              <a:gd name="connsiteY103" fmla="*/ 689010 h 6377243"/>
              <a:gd name="connsiteX104" fmla="*/ 7973518 w 8636594"/>
              <a:gd name="connsiteY104" fmla="*/ 651447 h 6377243"/>
              <a:gd name="connsiteX105" fmla="*/ 8005905 w 8636594"/>
              <a:gd name="connsiteY105" fmla="*/ 614171 h 6377243"/>
              <a:gd name="connsiteX106" fmla="*/ 8038538 w 8636594"/>
              <a:gd name="connsiteY106" fmla="*/ 577189 h 6377243"/>
              <a:gd name="connsiteX107" fmla="*/ 8071421 w 8636594"/>
              <a:gd name="connsiteY107" fmla="*/ 540507 h 6377243"/>
              <a:gd name="connsiteX108" fmla="*/ 8104563 w 8636594"/>
              <a:gd name="connsiteY108" fmla="*/ 504132 h 6377243"/>
              <a:gd name="connsiteX109" fmla="*/ 8137967 w 8636594"/>
              <a:gd name="connsiteY109" fmla="*/ 468072 h 6377243"/>
              <a:gd name="connsiteX110" fmla="*/ 8171641 w 8636594"/>
              <a:gd name="connsiteY110" fmla="*/ 432332 h 6377243"/>
              <a:gd name="connsiteX111" fmla="*/ 8205590 w 8636594"/>
              <a:gd name="connsiteY111" fmla="*/ 396920 h 6377243"/>
              <a:gd name="connsiteX112" fmla="*/ 8239820 w 8636594"/>
              <a:gd name="connsiteY112" fmla="*/ 361843 h 6377243"/>
              <a:gd name="connsiteX113" fmla="*/ 8274337 w 8636594"/>
              <a:gd name="connsiteY113" fmla="*/ 327107 h 6377243"/>
              <a:gd name="connsiteX114" fmla="*/ 8309147 w 8636594"/>
              <a:gd name="connsiteY114" fmla="*/ 292718 h 6377243"/>
              <a:gd name="connsiteX115" fmla="*/ 8344256 w 8636594"/>
              <a:gd name="connsiteY115" fmla="*/ 258685 h 6377243"/>
              <a:gd name="connsiteX116" fmla="*/ 8379669 w 8636594"/>
              <a:gd name="connsiteY116" fmla="*/ 225013 h 6377243"/>
              <a:gd name="connsiteX117" fmla="*/ 8415394 w 8636594"/>
              <a:gd name="connsiteY117" fmla="*/ 191709 h 6377243"/>
              <a:gd name="connsiteX118" fmla="*/ 8451434 w 8636594"/>
              <a:gd name="connsiteY118" fmla="*/ 158780 h 6377243"/>
              <a:gd name="connsiteX119" fmla="*/ 8487798 w 8636594"/>
              <a:gd name="connsiteY119" fmla="*/ 126233 h 6377243"/>
              <a:gd name="connsiteX120" fmla="*/ 8524489 w 8636594"/>
              <a:gd name="connsiteY120" fmla="*/ 94075 h 6377243"/>
              <a:gd name="connsiteX121" fmla="*/ 8561515 w 8636594"/>
              <a:gd name="connsiteY121" fmla="*/ 62312 h 6377243"/>
              <a:gd name="connsiteX122" fmla="*/ 8598881 w 8636594"/>
              <a:gd name="connsiteY122" fmla="*/ 30951 h 6377243"/>
              <a:gd name="connsiteX123" fmla="*/ 8636594 w 8636594"/>
              <a:gd name="connsiteY123" fmla="*/ 0 h 6377243"/>
              <a:gd name="connsiteX0" fmla="*/ 8636594 w 8636594"/>
              <a:gd name="connsiteY0" fmla="*/ 0 h 6359791"/>
              <a:gd name="connsiteX1" fmla="*/ 5293 w 8636594"/>
              <a:gd name="connsiteY1" fmla="*/ 0 h 6359791"/>
              <a:gd name="connsiteX2" fmla="*/ 0 w 8636594"/>
              <a:gd name="connsiteY2" fmla="*/ 5587843 h 6359791"/>
              <a:gd name="connsiteX3" fmla="*/ 1594033 w 8636594"/>
              <a:gd name="connsiteY3" fmla="*/ 5600057 h 6359791"/>
              <a:gd name="connsiteX4" fmla="*/ 1686068 w 8636594"/>
              <a:gd name="connsiteY4" fmla="*/ 5599745 h 6359791"/>
              <a:gd name="connsiteX5" fmla="*/ 3095759 w 8636594"/>
              <a:gd name="connsiteY5" fmla="*/ 6359791 h 6359791"/>
              <a:gd name="connsiteX6" fmla="*/ 3143903 w 8636594"/>
              <a:gd name="connsiteY6" fmla="*/ 6341961 h 6359791"/>
              <a:gd name="connsiteX7" fmla="*/ 3191491 w 8636594"/>
              <a:gd name="connsiteY7" fmla="*/ 6323757 h 6359791"/>
              <a:gd name="connsiteX8" fmla="*/ 3238528 w 8636594"/>
              <a:gd name="connsiteY8" fmla="*/ 6305184 h 6359791"/>
              <a:gd name="connsiteX9" fmla="*/ 3285021 w 8636594"/>
              <a:gd name="connsiteY9" fmla="*/ 6286245 h 6359791"/>
              <a:gd name="connsiteX10" fmla="*/ 3330977 w 8636594"/>
              <a:gd name="connsiteY10" fmla="*/ 6266942 h 6359791"/>
              <a:gd name="connsiteX11" fmla="*/ 3376401 w 8636594"/>
              <a:gd name="connsiteY11" fmla="*/ 6247281 h 6359791"/>
              <a:gd name="connsiteX12" fmla="*/ 3421300 w 8636594"/>
              <a:gd name="connsiteY12" fmla="*/ 6227263 h 6359791"/>
              <a:gd name="connsiteX13" fmla="*/ 3465680 w 8636594"/>
              <a:gd name="connsiteY13" fmla="*/ 6206893 h 6359791"/>
              <a:gd name="connsiteX14" fmla="*/ 3509548 w 8636594"/>
              <a:gd name="connsiteY14" fmla="*/ 6186174 h 6359791"/>
              <a:gd name="connsiteX15" fmla="*/ 3552910 w 8636594"/>
              <a:gd name="connsiteY15" fmla="*/ 6165110 h 6359791"/>
              <a:gd name="connsiteX16" fmla="*/ 3595773 w 8636594"/>
              <a:gd name="connsiteY16" fmla="*/ 6143704 h 6359791"/>
              <a:gd name="connsiteX17" fmla="*/ 3638142 w 8636594"/>
              <a:gd name="connsiteY17" fmla="*/ 6121960 h 6359791"/>
              <a:gd name="connsiteX18" fmla="*/ 3680024 w 8636594"/>
              <a:gd name="connsiteY18" fmla="*/ 6099881 h 6359791"/>
              <a:gd name="connsiteX19" fmla="*/ 3721426 w 8636594"/>
              <a:gd name="connsiteY19" fmla="*/ 6077471 h 6359791"/>
              <a:gd name="connsiteX20" fmla="*/ 3762353 w 8636594"/>
              <a:gd name="connsiteY20" fmla="*/ 6054733 h 6359791"/>
              <a:gd name="connsiteX21" fmla="*/ 3802812 w 8636594"/>
              <a:gd name="connsiteY21" fmla="*/ 6031671 h 6359791"/>
              <a:gd name="connsiteX22" fmla="*/ 3842810 w 8636594"/>
              <a:gd name="connsiteY22" fmla="*/ 6008288 h 6359791"/>
              <a:gd name="connsiteX23" fmla="*/ 3882352 w 8636594"/>
              <a:gd name="connsiteY23" fmla="*/ 5984588 h 6359791"/>
              <a:gd name="connsiteX24" fmla="*/ 3921445 w 8636594"/>
              <a:gd name="connsiteY24" fmla="*/ 5960574 h 6359791"/>
              <a:gd name="connsiteX25" fmla="*/ 3960096 w 8636594"/>
              <a:gd name="connsiteY25" fmla="*/ 5936250 h 6359791"/>
              <a:gd name="connsiteX26" fmla="*/ 3998311 w 8636594"/>
              <a:gd name="connsiteY26" fmla="*/ 5911619 h 6359791"/>
              <a:gd name="connsiteX27" fmla="*/ 4036095 w 8636594"/>
              <a:gd name="connsiteY27" fmla="*/ 5886685 h 6359791"/>
              <a:gd name="connsiteX28" fmla="*/ 4073456 w 8636594"/>
              <a:gd name="connsiteY28" fmla="*/ 5861452 h 6359791"/>
              <a:gd name="connsiteX29" fmla="*/ 4110400 w 8636594"/>
              <a:gd name="connsiteY29" fmla="*/ 5835922 h 6359791"/>
              <a:gd name="connsiteX30" fmla="*/ 4146933 w 8636594"/>
              <a:gd name="connsiteY30" fmla="*/ 5810100 h 6359791"/>
              <a:gd name="connsiteX31" fmla="*/ 4183061 w 8636594"/>
              <a:gd name="connsiteY31" fmla="*/ 5783988 h 6359791"/>
              <a:gd name="connsiteX32" fmla="*/ 4218791 w 8636594"/>
              <a:gd name="connsiteY32" fmla="*/ 5757591 h 6359791"/>
              <a:gd name="connsiteX33" fmla="*/ 4254129 w 8636594"/>
              <a:gd name="connsiteY33" fmla="*/ 5730912 h 6359791"/>
              <a:gd name="connsiteX34" fmla="*/ 4289081 w 8636594"/>
              <a:gd name="connsiteY34" fmla="*/ 5703955 h 6359791"/>
              <a:gd name="connsiteX35" fmla="*/ 4323654 w 8636594"/>
              <a:gd name="connsiteY35" fmla="*/ 5676722 h 6359791"/>
              <a:gd name="connsiteX36" fmla="*/ 4357854 w 8636594"/>
              <a:gd name="connsiteY36" fmla="*/ 5649218 h 6359791"/>
              <a:gd name="connsiteX37" fmla="*/ 4391688 w 8636594"/>
              <a:gd name="connsiteY37" fmla="*/ 5621446 h 6359791"/>
              <a:gd name="connsiteX38" fmla="*/ 4425162 w 8636594"/>
              <a:gd name="connsiteY38" fmla="*/ 5593409 h 6359791"/>
              <a:gd name="connsiteX39" fmla="*/ 4458281 w 8636594"/>
              <a:gd name="connsiteY39" fmla="*/ 5565111 h 6359791"/>
              <a:gd name="connsiteX40" fmla="*/ 4491053 w 8636594"/>
              <a:gd name="connsiteY40" fmla="*/ 5536556 h 6359791"/>
              <a:gd name="connsiteX41" fmla="*/ 4523484 w 8636594"/>
              <a:gd name="connsiteY41" fmla="*/ 5507747 h 6359791"/>
              <a:gd name="connsiteX42" fmla="*/ 4555580 w 8636594"/>
              <a:gd name="connsiteY42" fmla="*/ 5478687 h 6359791"/>
              <a:gd name="connsiteX43" fmla="*/ 4587347 w 8636594"/>
              <a:gd name="connsiteY43" fmla="*/ 5449380 h 6359791"/>
              <a:gd name="connsiteX44" fmla="*/ 4618793 w 8636594"/>
              <a:gd name="connsiteY44" fmla="*/ 5419830 h 6359791"/>
              <a:gd name="connsiteX45" fmla="*/ 4649922 w 8636594"/>
              <a:gd name="connsiteY45" fmla="*/ 5390040 h 6359791"/>
              <a:gd name="connsiteX46" fmla="*/ 4680742 w 8636594"/>
              <a:gd name="connsiteY46" fmla="*/ 5360014 h 6359791"/>
              <a:gd name="connsiteX47" fmla="*/ 4711259 w 8636594"/>
              <a:gd name="connsiteY47" fmla="*/ 5329755 h 6359791"/>
              <a:gd name="connsiteX48" fmla="*/ 4741478 w 8636594"/>
              <a:gd name="connsiteY48" fmla="*/ 5299266 h 6359791"/>
              <a:gd name="connsiteX49" fmla="*/ 4771408 w 8636594"/>
              <a:gd name="connsiteY49" fmla="*/ 5268551 h 6359791"/>
              <a:gd name="connsiteX50" fmla="*/ 4801053 w 8636594"/>
              <a:gd name="connsiteY50" fmla="*/ 5237614 h 6359791"/>
              <a:gd name="connsiteX51" fmla="*/ 4830420 w 8636594"/>
              <a:gd name="connsiteY51" fmla="*/ 5206458 h 6359791"/>
              <a:gd name="connsiteX52" fmla="*/ 4859516 w 8636594"/>
              <a:gd name="connsiteY52" fmla="*/ 5175087 h 6359791"/>
              <a:gd name="connsiteX53" fmla="*/ 4888347 w 8636594"/>
              <a:gd name="connsiteY53" fmla="*/ 5143504 h 6359791"/>
              <a:gd name="connsiteX54" fmla="*/ 4916919 w 8636594"/>
              <a:gd name="connsiteY54" fmla="*/ 5111713 h 6359791"/>
              <a:gd name="connsiteX55" fmla="*/ 4945238 w 8636594"/>
              <a:gd name="connsiteY55" fmla="*/ 5079717 h 6359791"/>
              <a:gd name="connsiteX56" fmla="*/ 4973311 w 8636594"/>
              <a:gd name="connsiteY56" fmla="*/ 5047519 h 6359791"/>
              <a:gd name="connsiteX57" fmla="*/ 5001145 w 8636594"/>
              <a:gd name="connsiteY57" fmla="*/ 5015124 h 6359791"/>
              <a:gd name="connsiteX58" fmla="*/ 5028745 w 8636594"/>
              <a:gd name="connsiteY58" fmla="*/ 4982535 h 6359791"/>
              <a:gd name="connsiteX59" fmla="*/ 5056117 w 8636594"/>
              <a:gd name="connsiteY59" fmla="*/ 4949755 h 6359791"/>
              <a:gd name="connsiteX60" fmla="*/ 5083269 w 8636594"/>
              <a:gd name="connsiteY60" fmla="*/ 4916787 h 6359791"/>
              <a:gd name="connsiteX61" fmla="*/ 5110207 w 8636594"/>
              <a:gd name="connsiteY61" fmla="*/ 4883636 h 6359791"/>
              <a:gd name="connsiteX62" fmla="*/ 5136937 w 8636594"/>
              <a:gd name="connsiteY62" fmla="*/ 4850305 h 6359791"/>
              <a:gd name="connsiteX63" fmla="*/ 5163464 w 8636594"/>
              <a:gd name="connsiteY63" fmla="*/ 4816797 h 6359791"/>
              <a:gd name="connsiteX64" fmla="*/ 5215940 w 8636594"/>
              <a:gd name="connsiteY64" fmla="*/ 4749265 h 6359791"/>
              <a:gd name="connsiteX65" fmla="*/ 5267684 w 8636594"/>
              <a:gd name="connsiteY65" fmla="*/ 4681068 h 6359791"/>
              <a:gd name="connsiteX66" fmla="*/ 5318748 w 8636594"/>
              <a:gd name="connsiteY66" fmla="*/ 4612234 h 6359791"/>
              <a:gd name="connsiteX67" fmla="*/ 5369182 w 8636594"/>
              <a:gd name="connsiteY67" fmla="*/ 4542793 h 6359791"/>
              <a:gd name="connsiteX68" fmla="*/ 5419038 w 8636594"/>
              <a:gd name="connsiteY68" fmla="*/ 4472771 h 6359791"/>
              <a:gd name="connsiteX69" fmla="*/ 5468365 w 8636594"/>
              <a:gd name="connsiteY69" fmla="*/ 4402196 h 6359791"/>
              <a:gd name="connsiteX70" fmla="*/ 5517215 w 8636594"/>
              <a:gd name="connsiteY70" fmla="*/ 4331098 h 6359791"/>
              <a:gd name="connsiteX71" fmla="*/ 5565637 w 8636594"/>
              <a:gd name="connsiteY71" fmla="*/ 4259503 h 6359791"/>
              <a:gd name="connsiteX72" fmla="*/ 5613684 w 8636594"/>
              <a:gd name="connsiteY72" fmla="*/ 4187441 h 6359791"/>
              <a:gd name="connsiteX73" fmla="*/ 5685160 w 8636594"/>
              <a:gd name="connsiteY73" fmla="*/ 4078531 h 6359791"/>
              <a:gd name="connsiteX74" fmla="*/ 5756074 w 8636594"/>
              <a:gd name="connsiteY74" fmla="*/ 3968727 h 6359791"/>
              <a:gd name="connsiteX75" fmla="*/ 5873483 w 8636594"/>
              <a:gd name="connsiteY75" fmla="*/ 3783989 h 6359791"/>
              <a:gd name="connsiteX76" fmla="*/ 6203209 w 8636594"/>
              <a:gd name="connsiteY76" fmla="*/ 3258640 h 6359791"/>
              <a:gd name="connsiteX77" fmla="*/ 6299430 w 8636594"/>
              <a:gd name="connsiteY77" fmla="*/ 3107321 h 6359791"/>
              <a:gd name="connsiteX78" fmla="*/ 6372650 w 8636594"/>
              <a:gd name="connsiteY78" fmla="*/ 2993735 h 6359791"/>
              <a:gd name="connsiteX79" fmla="*/ 6453197 w 8636594"/>
              <a:gd name="connsiteY79" fmla="*/ 2869788 h 6359791"/>
              <a:gd name="connsiteX80" fmla="*/ 6564167 w 8636594"/>
              <a:gd name="connsiteY80" fmla="*/ 2696807 h 6359791"/>
              <a:gd name="connsiteX81" fmla="*/ 6976233 w 8636594"/>
              <a:gd name="connsiteY81" fmla="*/ 2045274 h 6359791"/>
              <a:gd name="connsiteX82" fmla="*/ 7086755 w 8636594"/>
              <a:gd name="connsiteY82" fmla="*/ 1872743 h 6359791"/>
              <a:gd name="connsiteX83" fmla="*/ 7170279 w 8636594"/>
              <a:gd name="connsiteY83" fmla="*/ 1744202 h 6359791"/>
              <a:gd name="connsiteX84" fmla="*/ 7226351 w 8636594"/>
              <a:gd name="connsiteY84" fmla="*/ 1659017 h 6359791"/>
              <a:gd name="connsiteX85" fmla="*/ 7282789 w 8636594"/>
              <a:gd name="connsiteY85" fmla="*/ 1574303 h 6359791"/>
              <a:gd name="connsiteX86" fmla="*/ 7339643 w 8636594"/>
              <a:gd name="connsiteY86" fmla="*/ 1490113 h 6359791"/>
              <a:gd name="connsiteX87" fmla="*/ 7396957 w 8636594"/>
              <a:gd name="connsiteY87" fmla="*/ 1406503 h 6359791"/>
              <a:gd name="connsiteX88" fmla="*/ 7454781 w 8636594"/>
              <a:gd name="connsiteY88" fmla="*/ 1323526 h 6359791"/>
              <a:gd name="connsiteX89" fmla="*/ 7513161 w 8636594"/>
              <a:gd name="connsiteY89" fmla="*/ 1241237 h 6359791"/>
              <a:gd name="connsiteX90" fmla="*/ 7572144 w 8636594"/>
              <a:gd name="connsiteY90" fmla="*/ 1159689 h 6359791"/>
              <a:gd name="connsiteX91" fmla="*/ 7601877 w 8636594"/>
              <a:gd name="connsiteY91" fmla="*/ 1119210 h 6359791"/>
              <a:gd name="connsiteX92" fmla="*/ 7631779 w 8636594"/>
              <a:gd name="connsiteY92" fmla="*/ 1078937 h 6359791"/>
              <a:gd name="connsiteX93" fmla="*/ 7661855 w 8636594"/>
              <a:gd name="connsiteY93" fmla="*/ 1038876 h 6359791"/>
              <a:gd name="connsiteX94" fmla="*/ 7692111 w 8636594"/>
              <a:gd name="connsiteY94" fmla="*/ 999035 h 6359791"/>
              <a:gd name="connsiteX95" fmla="*/ 7722554 w 8636594"/>
              <a:gd name="connsiteY95" fmla="*/ 959419 h 6359791"/>
              <a:gd name="connsiteX96" fmla="*/ 7753190 w 8636594"/>
              <a:gd name="connsiteY96" fmla="*/ 920037 h 6359791"/>
              <a:gd name="connsiteX97" fmla="*/ 7784023 w 8636594"/>
              <a:gd name="connsiteY97" fmla="*/ 880894 h 6359791"/>
              <a:gd name="connsiteX98" fmla="*/ 7815061 w 8636594"/>
              <a:gd name="connsiteY98" fmla="*/ 841997 h 6359791"/>
              <a:gd name="connsiteX99" fmla="*/ 7846308 w 8636594"/>
              <a:gd name="connsiteY99" fmla="*/ 803354 h 6359791"/>
              <a:gd name="connsiteX100" fmla="*/ 7877772 w 8636594"/>
              <a:gd name="connsiteY100" fmla="*/ 764970 h 6359791"/>
              <a:gd name="connsiteX101" fmla="*/ 7909458 w 8636594"/>
              <a:gd name="connsiteY101" fmla="*/ 726853 h 6359791"/>
              <a:gd name="connsiteX102" fmla="*/ 7941371 w 8636594"/>
              <a:gd name="connsiteY102" fmla="*/ 689010 h 6359791"/>
              <a:gd name="connsiteX103" fmla="*/ 7973518 w 8636594"/>
              <a:gd name="connsiteY103" fmla="*/ 651447 h 6359791"/>
              <a:gd name="connsiteX104" fmla="*/ 8005905 w 8636594"/>
              <a:gd name="connsiteY104" fmla="*/ 614171 h 6359791"/>
              <a:gd name="connsiteX105" fmla="*/ 8038538 w 8636594"/>
              <a:gd name="connsiteY105" fmla="*/ 577189 h 6359791"/>
              <a:gd name="connsiteX106" fmla="*/ 8071421 w 8636594"/>
              <a:gd name="connsiteY106" fmla="*/ 540507 h 6359791"/>
              <a:gd name="connsiteX107" fmla="*/ 8104563 w 8636594"/>
              <a:gd name="connsiteY107" fmla="*/ 504132 h 6359791"/>
              <a:gd name="connsiteX108" fmla="*/ 8137967 w 8636594"/>
              <a:gd name="connsiteY108" fmla="*/ 468072 h 6359791"/>
              <a:gd name="connsiteX109" fmla="*/ 8171641 w 8636594"/>
              <a:gd name="connsiteY109" fmla="*/ 432332 h 6359791"/>
              <a:gd name="connsiteX110" fmla="*/ 8205590 w 8636594"/>
              <a:gd name="connsiteY110" fmla="*/ 396920 h 6359791"/>
              <a:gd name="connsiteX111" fmla="*/ 8239820 w 8636594"/>
              <a:gd name="connsiteY111" fmla="*/ 361843 h 6359791"/>
              <a:gd name="connsiteX112" fmla="*/ 8274337 w 8636594"/>
              <a:gd name="connsiteY112" fmla="*/ 327107 h 6359791"/>
              <a:gd name="connsiteX113" fmla="*/ 8309147 w 8636594"/>
              <a:gd name="connsiteY113" fmla="*/ 292718 h 6359791"/>
              <a:gd name="connsiteX114" fmla="*/ 8344256 w 8636594"/>
              <a:gd name="connsiteY114" fmla="*/ 258685 h 6359791"/>
              <a:gd name="connsiteX115" fmla="*/ 8379669 w 8636594"/>
              <a:gd name="connsiteY115" fmla="*/ 225013 h 6359791"/>
              <a:gd name="connsiteX116" fmla="*/ 8415394 w 8636594"/>
              <a:gd name="connsiteY116" fmla="*/ 191709 h 6359791"/>
              <a:gd name="connsiteX117" fmla="*/ 8451434 w 8636594"/>
              <a:gd name="connsiteY117" fmla="*/ 158780 h 6359791"/>
              <a:gd name="connsiteX118" fmla="*/ 8487798 w 8636594"/>
              <a:gd name="connsiteY118" fmla="*/ 126233 h 6359791"/>
              <a:gd name="connsiteX119" fmla="*/ 8524489 w 8636594"/>
              <a:gd name="connsiteY119" fmla="*/ 94075 h 6359791"/>
              <a:gd name="connsiteX120" fmla="*/ 8561515 w 8636594"/>
              <a:gd name="connsiteY120" fmla="*/ 62312 h 6359791"/>
              <a:gd name="connsiteX121" fmla="*/ 8598881 w 8636594"/>
              <a:gd name="connsiteY121" fmla="*/ 30951 h 6359791"/>
              <a:gd name="connsiteX122" fmla="*/ 8636594 w 8636594"/>
              <a:gd name="connsiteY122" fmla="*/ 0 h 6359791"/>
              <a:gd name="connsiteX0" fmla="*/ 8636594 w 8636594"/>
              <a:gd name="connsiteY0" fmla="*/ 0 h 6341961"/>
              <a:gd name="connsiteX1" fmla="*/ 5293 w 8636594"/>
              <a:gd name="connsiteY1" fmla="*/ 0 h 6341961"/>
              <a:gd name="connsiteX2" fmla="*/ 0 w 8636594"/>
              <a:gd name="connsiteY2" fmla="*/ 5587843 h 6341961"/>
              <a:gd name="connsiteX3" fmla="*/ 1594033 w 8636594"/>
              <a:gd name="connsiteY3" fmla="*/ 5600057 h 6341961"/>
              <a:gd name="connsiteX4" fmla="*/ 1686068 w 8636594"/>
              <a:gd name="connsiteY4" fmla="*/ 5599745 h 6341961"/>
              <a:gd name="connsiteX5" fmla="*/ 3143903 w 8636594"/>
              <a:gd name="connsiteY5" fmla="*/ 6341961 h 6341961"/>
              <a:gd name="connsiteX6" fmla="*/ 3191491 w 8636594"/>
              <a:gd name="connsiteY6" fmla="*/ 6323757 h 6341961"/>
              <a:gd name="connsiteX7" fmla="*/ 3238528 w 8636594"/>
              <a:gd name="connsiteY7" fmla="*/ 6305184 h 6341961"/>
              <a:gd name="connsiteX8" fmla="*/ 3285021 w 8636594"/>
              <a:gd name="connsiteY8" fmla="*/ 6286245 h 6341961"/>
              <a:gd name="connsiteX9" fmla="*/ 3330977 w 8636594"/>
              <a:gd name="connsiteY9" fmla="*/ 6266942 h 6341961"/>
              <a:gd name="connsiteX10" fmla="*/ 3376401 w 8636594"/>
              <a:gd name="connsiteY10" fmla="*/ 6247281 h 6341961"/>
              <a:gd name="connsiteX11" fmla="*/ 3421300 w 8636594"/>
              <a:gd name="connsiteY11" fmla="*/ 6227263 h 6341961"/>
              <a:gd name="connsiteX12" fmla="*/ 3465680 w 8636594"/>
              <a:gd name="connsiteY12" fmla="*/ 6206893 h 6341961"/>
              <a:gd name="connsiteX13" fmla="*/ 3509548 w 8636594"/>
              <a:gd name="connsiteY13" fmla="*/ 6186174 h 6341961"/>
              <a:gd name="connsiteX14" fmla="*/ 3552910 w 8636594"/>
              <a:gd name="connsiteY14" fmla="*/ 6165110 h 6341961"/>
              <a:gd name="connsiteX15" fmla="*/ 3595773 w 8636594"/>
              <a:gd name="connsiteY15" fmla="*/ 6143704 h 6341961"/>
              <a:gd name="connsiteX16" fmla="*/ 3638142 w 8636594"/>
              <a:gd name="connsiteY16" fmla="*/ 6121960 h 6341961"/>
              <a:gd name="connsiteX17" fmla="*/ 3680024 w 8636594"/>
              <a:gd name="connsiteY17" fmla="*/ 6099881 h 6341961"/>
              <a:gd name="connsiteX18" fmla="*/ 3721426 w 8636594"/>
              <a:gd name="connsiteY18" fmla="*/ 6077471 h 6341961"/>
              <a:gd name="connsiteX19" fmla="*/ 3762353 w 8636594"/>
              <a:gd name="connsiteY19" fmla="*/ 6054733 h 6341961"/>
              <a:gd name="connsiteX20" fmla="*/ 3802812 w 8636594"/>
              <a:gd name="connsiteY20" fmla="*/ 6031671 h 6341961"/>
              <a:gd name="connsiteX21" fmla="*/ 3842810 w 8636594"/>
              <a:gd name="connsiteY21" fmla="*/ 6008288 h 6341961"/>
              <a:gd name="connsiteX22" fmla="*/ 3882352 w 8636594"/>
              <a:gd name="connsiteY22" fmla="*/ 5984588 h 6341961"/>
              <a:gd name="connsiteX23" fmla="*/ 3921445 w 8636594"/>
              <a:gd name="connsiteY23" fmla="*/ 5960574 h 6341961"/>
              <a:gd name="connsiteX24" fmla="*/ 3960096 w 8636594"/>
              <a:gd name="connsiteY24" fmla="*/ 5936250 h 6341961"/>
              <a:gd name="connsiteX25" fmla="*/ 3998311 w 8636594"/>
              <a:gd name="connsiteY25" fmla="*/ 5911619 h 6341961"/>
              <a:gd name="connsiteX26" fmla="*/ 4036095 w 8636594"/>
              <a:gd name="connsiteY26" fmla="*/ 5886685 h 6341961"/>
              <a:gd name="connsiteX27" fmla="*/ 4073456 w 8636594"/>
              <a:gd name="connsiteY27" fmla="*/ 5861452 h 6341961"/>
              <a:gd name="connsiteX28" fmla="*/ 4110400 w 8636594"/>
              <a:gd name="connsiteY28" fmla="*/ 5835922 h 6341961"/>
              <a:gd name="connsiteX29" fmla="*/ 4146933 w 8636594"/>
              <a:gd name="connsiteY29" fmla="*/ 5810100 h 6341961"/>
              <a:gd name="connsiteX30" fmla="*/ 4183061 w 8636594"/>
              <a:gd name="connsiteY30" fmla="*/ 5783988 h 6341961"/>
              <a:gd name="connsiteX31" fmla="*/ 4218791 w 8636594"/>
              <a:gd name="connsiteY31" fmla="*/ 5757591 h 6341961"/>
              <a:gd name="connsiteX32" fmla="*/ 4254129 w 8636594"/>
              <a:gd name="connsiteY32" fmla="*/ 5730912 h 6341961"/>
              <a:gd name="connsiteX33" fmla="*/ 4289081 w 8636594"/>
              <a:gd name="connsiteY33" fmla="*/ 5703955 h 6341961"/>
              <a:gd name="connsiteX34" fmla="*/ 4323654 w 8636594"/>
              <a:gd name="connsiteY34" fmla="*/ 5676722 h 6341961"/>
              <a:gd name="connsiteX35" fmla="*/ 4357854 w 8636594"/>
              <a:gd name="connsiteY35" fmla="*/ 5649218 h 6341961"/>
              <a:gd name="connsiteX36" fmla="*/ 4391688 w 8636594"/>
              <a:gd name="connsiteY36" fmla="*/ 5621446 h 6341961"/>
              <a:gd name="connsiteX37" fmla="*/ 4425162 w 8636594"/>
              <a:gd name="connsiteY37" fmla="*/ 5593409 h 6341961"/>
              <a:gd name="connsiteX38" fmla="*/ 4458281 w 8636594"/>
              <a:gd name="connsiteY38" fmla="*/ 5565111 h 6341961"/>
              <a:gd name="connsiteX39" fmla="*/ 4491053 w 8636594"/>
              <a:gd name="connsiteY39" fmla="*/ 5536556 h 6341961"/>
              <a:gd name="connsiteX40" fmla="*/ 4523484 w 8636594"/>
              <a:gd name="connsiteY40" fmla="*/ 5507747 h 6341961"/>
              <a:gd name="connsiteX41" fmla="*/ 4555580 w 8636594"/>
              <a:gd name="connsiteY41" fmla="*/ 5478687 h 6341961"/>
              <a:gd name="connsiteX42" fmla="*/ 4587347 w 8636594"/>
              <a:gd name="connsiteY42" fmla="*/ 5449380 h 6341961"/>
              <a:gd name="connsiteX43" fmla="*/ 4618793 w 8636594"/>
              <a:gd name="connsiteY43" fmla="*/ 5419830 h 6341961"/>
              <a:gd name="connsiteX44" fmla="*/ 4649922 w 8636594"/>
              <a:gd name="connsiteY44" fmla="*/ 5390040 h 6341961"/>
              <a:gd name="connsiteX45" fmla="*/ 4680742 w 8636594"/>
              <a:gd name="connsiteY45" fmla="*/ 5360014 h 6341961"/>
              <a:gd name="connsiteX46" fmla="*/ 4711259 w 8636594"/>
              <a:gd name="connsiteY46" fmla="*/ 5329755 h 6341961"/>
              <a:gd name="connsiteX47" fmla="*/ 4741478 w 8636594"/>
              <a:gd name="connsiteY47" fmla="*/ 5299266 h 6341961"/>
              <a:gd name="connsiteX48" fmla="*/ 4771408 w 8636594"/>
              <a:gd name="connsiteY48" fmla="*/ 5268551 h 6341961"/>
              <a:gd name="connsiteX49" fmla="*/ 4801053 w 8636594"/>
              <a:gd name="connsiteY49" fmla="*/ 5237614 h 6341961"/>
              <a:gd name="connsiteX50" fmla="*/ 4830420 w 8636594"/>
              <a:gd name="connsiteY50" fmla="*/ 5206458 h 6341961"/>
              <a:gd name="connsiteX51" fmla="*/ 4859516 w 8636594"/>
              <a:gd name="connsiteY51" fmla="*/ 5175087 h 6341961"/>
              <a:gd name="connsiteX52" fmla="*/ 4888347 w 8636594"/>
              <a:gd name="connsiteY52" fmla="*/ 5143504 h 6341961"/>
              <a:gd name="connsiteX53" fmla="*/ 4916919 w 8636594"/>
              <a:gd name="connsiteY53" fmla="*/ 5111713 h 6341961"/>
              <a:gd name="connsiteX54" fmla="*/ 4945238 w 8636594"/>
              <a:gd name="connsiteY54" fmla="*/ 5079717 h 6341961"/>
              <a:gd name="connsiteX55" fmla="*/ 4973311 w 8636594"/>
              <a:gd name="connsiteY55" fmla="*/ 5047519 h 6341961"/>
              <a:gd name="connsiteX56" fmla="*/ 5001145 w 8636594"/>
              <a:gd name="connsiteY56" fmla="*/ 5015124 h 6341961"/>
              <a:gd name="connsiteX57" fmla="*/ 5028745 w 8636594"/>
              <a:gd name="connsiteY57" fmla="*/ 4982535 h 6341961"/>
              <a:gd name="connsiteX58" fmla="*/ 5056117 w 8636594"/>
              <a:gd name="connsiteY58" fmla="*/ 4949755 h 6341961"/>
              <a:gd name="connsiteX59" fmla="*/ 5083269 w 8636594"/>
              <a:gd name="connsiteY59" fmla="*/ 4916787 h 6341961"/>
              <a:gd name="connsiteX60" fmla="*/ 5110207 w 8636594"/>
              <a:gd name="connsiteY60" fmla="*/ 4883636 h 6341961"/>
              <a:gd name="connsiteX61" fmla="*/ 5136937 w 8636594"/>
              <a:gd name="connsiteY61" fmla="*/ 4850305 h 6341961"/>
              <a:gd name="connsiteX62" fmla="*/ 5163464 w 8636594"/>
              <a:gd name="connsiteY62" fmla="*/ 4816797 h 6341961"/>
              <a:gd name="connsiteX63" fmla="*/ 5215940 w 8636594"/>
              <a:gd name="connsiteY63" fmla="*/ 4749265 h 6341961"/>
              <a:gd name="connsiteX64" fmla="*/ 5267684 w 8636594"/>
              <a:gd name="connsiteY64" fmla="*/ 4681068 h 6341961"/>
              <a:gd name="connsiteX65" fmla="*/ 5318748 w 8636594"/>
              <a:gd name="connsiteY65" fmla="*/ 4612234 h 6341961"/>
              <a:gd name="connsiteX66" fmla="*/ 5369182 w 8636594"/>
              <a:gd name="connsiteY66" fmla="*/ 4542793 h 6341961"/>
              <a:gd name="connsiteX67" fmla="*/ 5419038 w 8636594"/>
              <a:gd name="connsiteY67" fmla="*/ 4472771 h 6341961"/>
              <a:gd name="connsiteX68" fmla="*/ 5468365 w 8636594"/>
              <a:gd name="connsiteY68" fmla="*/ 4402196 h 6341961"/>
              <a:gd name="connsiteX69" fmla="*/ 5517215 w 8636594"/>
              <a:gd name="connsiteY69" fmla="*/ 4331098 h 6341961"/>
              <a:gd name="connsiteX70" fmla="*/ 5565637 w 8636594"/>
              <a:gd name="connsiteY70" fmla="*/ 4259503 h 6341961"/>
              <a:gd name="connsiteX71" fmla="*/ 5613684 w 8636594"/>
              <a:gd name="connsiteY71" fmla="*/ 4187441 h 6341961"/>
              <a:gd name="connsiteX72" fmla="*/ 5685160 w 8636594"/>
              <a:gd name="connsiteY72" fmla="*/ 4078531 h 6341961"/>
              <a:gd name="connsiteX73" fmla="*/ 5756074 w 8636594"/>
              <a:gd name="connsiteY73" fmla="*/ 3968727 h 6341961"/>
              <a:gd name="connsiteX74" fmla="*/ 5873483 w 8636594"/>
              <a:gd name="connsiteY74" fmla="*/ 3783989 h 6341961"/>
              <a:gd name="connsiteX75" fmla="*/ 6203209 w 8636594"/>
              <a:gd name="connsiteY75" fmla="*/ 3258640 h 6341961"/>
              <a:gd name="connsiteX76" fmla="*/ 6299430 w 8636594"/>
              <a:gd name="connsiteY76" fmla="*/ 3107321 h 6341961"/>
              <a:gd name="connsiteX77" fmla="*/ 6372650 w 8636594"/>
              <a:gd name="connsiteY77" fmla="*/ 2993735 h 6341961"/>
              <a:gd name="connsiteX78" fmla="*/ 6453197 w 8636594"/>
              <a:gd name="connsiteY78" fmla="*/ 2869788 h 6341961"/>
              <a:gd name="connsiteX79" fmla="*/ 6564167 w 8636594"/>
              <a:gd name="connsiteY79" fmla="*/ 2696807 h 6341961"/>
              <a:gd name="connsiteX80" fmla="*/ 6976233 w 8636594"/>
              <a:gd name="connsiteY80" fmla="*/ 2045274 h 6341961"/>
              <a:gd name="connsiteX81" fmla="*/ 7086755 w 8636594"/>
              <a:gd name="connsiteY81" fmla="*/ 1872743 h 6341961"/>
              <a:gd name="connsiteX82" fmla="*/ 7170279 w 8636594"/>
              <a:gd name="connsiteY82" fmla="*/ 1744202 h 6341961"/>
              <a:gd name="connsiteX83" fmla="*/ 7226351 w 8636594"/>
              <a:gd name="connsiteY83" fmla="*/ 1659017 h 6341961"/>
              <a:gd name="connsiteX84" fmla="*/ 7282789 w 8636594"/>
              <a:gd name="connsiteY84" fmla="*/ 1574303 h 6341961"/>
              <a:gd name="connsiteX85" fmla="*/ 7339643 w 8636594"/>
              <a:gd name="connsiteY85" fmla="*/ 1490113 h 6341961"/>
              <a:gd name="connsiteX86" fmla="*/ 7396957 w 8636594"/>
              <a:gd name="connsiteY86" fmla="*/ 1406503 h 6341961"/>
              <a:gd name="connsiteX87" fmla="*/ 7454781 w 8636594"/>
              <a:gd name="connsiteY87" fmla="*/ 1323526 h 6341961"/>
              <a:gd name="connsiteX88" fmla="*/ 7513161 w 8636594"/>
              <a:gd name="connsiteY88" fmla="*/ 1241237 h 6341961"/>
              <a:gd name="connsiteX89" fmla="*/ 7572144 w 8636594"/>
              <a:gd name="connsiteY89" fmla="*/ 1159689 h 6341961"/>
              <a:gd name="connsiteX90" fmla="*/ 7601877 w 8636594"/>
              <a:gd name="connsiteY90" fmla="*/ 1119210 h 6341961"/>
              <a:gd name="connsiteX91" fmla="*/ 7631779 w 8636594"/>
              <a:gd name="connsiteY91" fmla="*/ 1078937 h 6341961"/>
              <a:gd name="connsiteX92" fmla="*/ 7661855 w 8636594"/>
              <a:gd name="connsiteY92" fmla="*/ 1038876 h 6341961"/>
              <a:gd name="connsiteX93" fmla="*/ 7692111 w 8636594"/>
              <a:gd name="connsiteY93" fmla="*/ 999035 h 6341961"/>
              <a:gd name="connsiteX94" fmla="*/ 7722554 w 8636594"/>
              <a:gd name="connsiteY94" fmla="*/ 959419 h 6341961"/>
              <a:gd name="connsiteX95" fmla="*/ 7753190 w 8636594"/>
              <a:gd name="connsiteY95" fmla="*/ 920037 h 6341961"/>
              <a:gd name="connsiteX96" fmla="*/ 7784023 w 8636594"/>
              <a:gd name="connsiteY96" fmla="*/ 880894 h 6341961"/>
              <a:gd name="connsiteX97" fmla="*/ 7815061 w 8636594"/>
              <a:gd name="connsiteY97" fmla="*/ 841997 h 6341961"/>
              <a:gd name="connsiteX98" fmla="*/ 7846308 w 8636594"/>
              <a:gd name="connsiteY98" fmla="*/ 803354 h 6341961"/>
              <a:gd name="connsiteX99" fmla="*/ 7877772 w 8636594"/>
              <a:gd name="connsiteY99" fmla="*/ 764970 h 6341961"/>
              <a:gd name="connsiteX100" fmla="*/ 7909458 w 8636594"/>
              <a:gd name="connsiteY100" fmla="*/ 726853 h 6341961"/>
              <a:gd name="connsiteX101" fmla="*/ 7941371 w 8636594"/>
              <a:gd name="connsiteY101" fmla="*/ 689010 h 6341961"/>
              <a:gd name="connsiteX102" fmla="*/ 7973518 w 8636594"/>
              <a:gd name="connsiteY102" fmla="*/ 651447 h 6341961"/>
              <a:gd name="connsiteX103" fmla="*/ 8005905 w 8636594"/>
              <a:gd name="connsiteY103" fmla="*/ 614171 h 6341961"/>
              <a:gd name="connsiteX104" fmla="*/ 8038538 w 8636594"/>
              <a:gd name="connsiteY104" fmla="*/ 577189 h 6341961"/>
              <a:gd name="connsiteX105" fmla="*/ 8071421 w 8636594"/>
              <a:gd name="connsiteY105" fmla="*/ 540507 h 6341961"/>
              <a:gd name="connsiteX106" fmla="*/ 8104563 w 8636594"/>
              <a:gd name="connsiteY106" fmla="*/ 504132 h 6341961"/>
              <a:gd name="connsiteX107" fmla="*/ 8137967 w 8636594"/>
              <a:gd name="connsiteY107" fmla="*/ 468072 h 6341961"/>
              <a:gd name="connsiteX108" fmla="*/ 8171641 w 8636594"/>
              <a:gd name="connsiteY108" fmla="*/ 432332 h 6341961"/>
              <a:gd name="connsiteX109" fmla="*/ 8205590 w 8636594"/>
              <a:gd name="connsiteY109" fmla="*/ 396920 h 6341961"/>
              <a:gd name="connsiteX110" fmla="*/ 8239820 w 8636594"/>
              <a:gd name="connsiteY110" fmla="*/ 361843 h 6341961"/>
              <a:gd name="connsiteX111" fmla="*/ 8274337 w 8636594"/>
              <a:gd name="connsiteY111" fmla="*/ 327107 h 6341961"/>
              <a:gd name="connsiteX112" fmla="*/ 8309147 w 8636594"/>
              <a:gd name="connsiteY112" fmla="*/ 292718 h 6341961"/>
              <a:gd name="connsiteX113" fmla="*/ 8344256 w 8636594"/>
              <a:gd name="connsiteY113" fmla="*/ 258685 h 6341961"/>
              <a:gd name="connsiteX114" fmla="*/ 8379669 w 8636594"/>
              <a:gd name="connsiteY114" fmla="*/ 225013 h 6341961"/>
              <a:gd name="connsiteX115" fmla="*/ 8415394 w 8636594"/>
              <a:gd name="connsiteY115" fmla="*/ 191709 h 6341961"/>
              <a:gd name="connsiteX116" fmla="*/ 8451434 w 8636594"/>
              <a:gd name="connsiteY116" fmla="*/ 158780 h 6341961"/>
              <a:gd name="connsiteX117" fmla="*/ 8487798 w 8636594"/>
              <a:gd name="connsiteY117" fmla="*/ 126233 h 6341961"/>
              <a:gd name="connsiteX118" fmla="*/ 8524489 w 8636594"/>
              <a:gd name="connsiteY118" fmla="*/ 94075 h 6341961"/>
              <a:gd name="connsiteX119" fmla="*/ 8561515 w 8636594"/>
              <a:gd name="connsiteY119" fmla="*/ 62312 h 6341961"/>
              <a:gd name="connsiteX120" fmla="*/ 8598881 w 8636594"/>
              <a:gd name="connsiteY120" fmla="*/ 30951 h 6341961"/>
              <a:gd name="connsiteX121" fmla="*/ 8636594 w 8636594"/>
              <a:gd name="connsiteY121" fmla="*/ 0 h 6341961"/>
              <a:gd name="connsiteX0" fmla="*/ 8636594 w 8636594"/>
              <a:gd name="connsiteY0" fmla="*/ 0 h 6323757"/>
              <a:gd name="connsiteX1" fmla="*/ 5293 w 8636594"/>
              <a:gd name="connsiteY1" fmla="*/ 0 h 6323757"/>
              <a:gd name="connsiteX2" fmla="*/ 0 w 8636594"/>
              <a:gd name="connsiteY2" fmla="*/ 5587843 h 6323757"/>
              <a:gd name="connsiteX3" fmla="*/ 1594033 w 8636594"/>
              <a:gd name="connsiteY3" fmla="*/ 5600057 h 6323757"/>
              <a:gd name="connsiteX4" fmla="*/ 1686068 w 8636594"/>
              <a:gd name="connsiteY4" fmla="*/ 5599745 h 6323757"/>
              <a:gd name="connsiteX5" fmla="*/ 3191491 w 8636594"/>
              <a:gd name="connsiteY5" fmla="*/ 6323757 h 6323757"/>
              <a:gd name="connsiteX6" fmla="*/ 3238528 w 8636594"/>
              <a:gd name="connsiteY6" fmla="*/ 6305184 h 6323757"/>
              <a:gd name="connsiteX7" fmla="*/ 3285021 w 8636594"/>
              <a:gd name="connsiteY7" fmla="*/ 6286245 h 6323757"/>
              <a:gd name="connsiteX8" fmla="*/ 3330977 w 8636594"/>
              <a:gd name="connsiteY8" fmla="*/ 6266942 h 6323757"/>
              <a:gd name="connsiteX9" fmla="*/ 3376401 w 8636594"/>
              <a:gd name="connsiteY9" fmla="*/ 6247281 h 6323757"/>
              <a:gd name="connsiteX10" fmla="*/ 3421300 w 8636594"/>
              <a:gd name="connsiteY10" fmla="*/ 6227263 h 6323757"/>
              <a:gd name="connsiteX11" fmla="*/ 3465680 w 8636594"/>
              <a:gd name="connsiteY11" fmla="*/ 6206893 h 6323757"/>
              <a:gd name="connsiteX12" fmla="*/ 3509548 w 8636594"/>
              <a:gd name="connsiteY12" fmla="*/ 6186174 h 6323757"/>
              <a:gd name="connsiteX13" fmla="*/ 3552910 w 8636594"/>
              <a:gd name="connsiteY13" fmla="*/ 6165110 h 6323757"/>
              <a:gd name="connsiteX14" fmla="*/ 3595773 w 8636594"/>
              <a:gd name="connsiteY14" fmla="*/ 6143704 h 6323757"/>
              <a:gd name="connsiteX15" fmla="*/ 3638142 w 8636594"/>
              <a:gd name="connsiteY15" fmla="*/ 6121960 h 6323757"/>
              <a:gd name="connsiteX16" fmla="*/ 3680024 w 8636594"/>
              <a:gd name="connsiteY16" fmla="*/ 6099881 h 6323757"/>
              <a:gd name="connsiteX17" fmla="*/ 3721426 w 8636594"/>
              <a:gd name="connsiteY17" fmla="*/ 6077471 h 6323757"/>
              <a:gd name="connsiteX18" fmla="*/ 3762353 w 8636594"/>
              <a:gd name="connsiteY18" fmla="*/ 6054733 h 6323757"/>
              <a:gd name="connsiteX19" fmla="*/ 3802812 w 8636594"/>
              <a:gd name="connsiteY19" fmla="*/ 6031671 h 6323757"/>
              <a:gd name="connsiteX20" fmla="*/ 3842810 w 8636594"/>
              <a:gd name="connsiteY20" fmla="*/ 6008288 h 6323757"/>
              <a:gd name="connsiteX21" fmla="*/ 3882352 w 8636594"/>
              <a:gd name="connsiteY21" fmla="*/ 5984588 h 6323757"/>
              <a:gd name="connsiteX22" fmla="*/ 3921445 w 8636594"/>
              <a:gd name="connsiteY22" fmla="*/ 5960574 h 6323757"/>
              <a:gd name="connsiteX23" fmla="*/ 3960096 w 8636594"/>
              <a:gd name="connsiteY23" fmla="*/ 5936250 h 6323757"/>
              <a:gd name="connsiteX24" fmla="*/ 3998311 w 8636594"/>
              <a:gd name="connsiteY24" fmla="*/ 5911619 h 6323757"/>
              <a:gd name="connsiteX25" fmla="*/ 4036095 w 8636594"/>
              <a:gd name="connsiteY25" fmla="*/ 5886685 h 6323757"/>
              <a:gd name="connsiteX26" fmla="*/ 4073456 w 8636594"/>
              <a:gd name="connsiteY26" fmla="*/ 5861452 h 6323757"/>
              <a:gd name="connsiteX27" fmla="*/ 4110400 w 8636594"/>
              <a:gd name="connsiteY27" fmla="*/ 5835922 h 6323757"/>
              <a:gd name="connsiteX28" fmla="*/ 4146933 w 8636594"/>
              <a:gd name="connsiteY28" fmla="*/ 5810100 h 6323757"/>
              <a:gd name="connsiteX29" fmla="*/ 4183061 w 8636594"/>
              <a:gd name="connsiteY29" fmla="*/ 5783988 h 6323757"/>
              <a:gd name="connsiteX30" fmla="*/ 4218791 w 8636594"/>
              <a:gd name="connsiteY30" fmla="*/ 5757591 h 6323757"/>
              <a:gd name="connsiteX31" fmla="*/ 4254129 w 8636594"/>
              <a:gd name="connsiteY31" fmla="*/ 5730912 h 6323757"/>
              <a:gd name="connsiteX32" fmla="*/ 4289081 w 8636594"/>
              <a:gd name="connsiteY32" fmla="*/ 5703955 h 6323757"/>
              <a:gd name="connsiteX33" fmla="*/ 4323654 w 8636594"/>
              <a:gd name="connsiteY33" fmla="*/ 5676722 h 6323757"/>
              <a:gd name="connsiteX34" fmla="*/ 4357854 w 8636594"/>
              <a:gd name="connsiteY34" fmla="*/ 5649218 h 6323757"/>
              <a:gd name="connsiteX35" fmla="*/ 4391688 w 8636594"/>
              <a:gd name="connsiteY35" fmla="*/ 5621446 h 6323757"/>
              <a:gd name="connsiteX36" fmla="*/ 4425162 w 8636594"/>
              <a:gd name="connsiteY36" fmla="*/ 5593409 h 6323757"/>
              <a:gd name="connsiteX37" fmla="*/ 4458281 w 8636594"/>
              <a:gd name="connsiteY37" fmla="*/ 5565111 h 6323757"/>
              <a:gd name="connsiteX38" fmla="*/ 4491053 w 8636594"/>
              <a:gd name="connsiteY38" fmla="*/ 5536556 h 6323757"/>
              <a:gd name="connsiteX39" fmla="*/ 4523484 w 8636594"/>
              <a:gd name="connsiteY39" fmla="*/ 5507747 h 6323757"/>
              <a:gd name="connsiteX40" fmla="*/ 4555580 w 8636594"/>
              <a:gd name="connsiteY40" fmla="*/ 5478687 h 6323757"/>
              <a:gd name="connsiteX41" fmla="*/ 4587347 w 8636594"/>
              <a:gd name="connsiteY41" fmla="*/ 5449380 h 6323757"/>
              <a:gd name="connsiteX42" fmla="*/ 4618793 w 8636594"/>
              <a:gd name="connsiteY42" fmla="*/ 5419830 h 6323757"/>
              <a:gd name="connsiteX43" fmla="*/ 4649922 w 8636594"/>
              <a:gd name="connsiteY43" fmla="*/ 5390040 h 6323757"/>
              <a:gd name="connsiteX44" fmla="*/ 4680742 w 8636594"/>
              <a:gd name="connsiteY44" fmla="*/ 5360014 h 6323757"/>
              <a:gd name="connsiteX45" fmla="*/ 4711259 w 8636594"/>
              <a:gd name="connsiteY45" fmla="*/ 5329755 h 6323757"/>
              <a:gd name="connsiteX46" fmla="*/ 4741478 w 8636594"/>
              <a:gd name="connsiteY46" fmla="*/ 5299266 h 6323757"/>
              <a:gd name="connsiteX47" fmla="*/ 4771408 w 8636594"/>
              <a:gd name="connsiteY47" fmla="*/ 5268551 h 6323757"/>
              <a:gd name="connsiteX48" fmla="*/ 4801053 w 8636594"/>
              <a:gd name="connsiteY48" fmla="*/ 5237614 h 6323757"/>
              <a:gd name="connsiteX49" fmla="*/ 4830420 w 8636594"/>
              <a:gd name="connsiteY49" fmla="*/ 5206458 h 6323757"/>
              <a:gd name="connsiteX50" fmla="*/ 4859516 w 8636594"/>
              <a:gd name="connsiteY50" fmla="*/ 5175087 h 6323757"/>
              <a:gd name="connsiteX51" fmla="*/ 4888347 w 8636594"/>
              <a:gd name="connsiteY51" fmla="*/ 5143504 h 6323757"/>
              <a:gd name="connsiteX52" fmla="*/ 4916919 w 8636594"/>
              <a:gd name="connsiteY52" fmla="*/ 5111713 h 6323757"/>
              <a:gd name="connsiteX53" fmla="*/ 4945238 w 8636594"/>
              <a:gd name="connsiteY53" fmla="*/ 5079717 h 6323757"/>
              <a:gd name="connsiteX54" fmla="*/ 4973311 w 8636594"/>
              <a:gd name="connsiteY54" fmla="*/ 5047519 h 6323757"/>
              <a:gd name="connsiteX55" fmla="*/ 5001145 w 8636594"/>
              <a:gd name="connsiteY55" fmla="*/ 5015124 h 6323757"/>
              <a:gd name="connsiteX56" fmla="*/ 5028745 w 8636594"/>
              <a:gd name="connsiteY56" fmla="*/ 4982535 h 6323757"/>
              <a:gd name="connsiteX57" fmla="*/ 5056117 w 8636594"/>
              <a:gd name="connsiteY57" fmla="*/ 4949755 h 6323757"/>
              <a:gd name="connsiteX58" fmla="*/ 5083269 w 8636594"/>
              <a:gd name="connsiteY58" fmla="*/ 4916787 h 6323757"/>
              <a:gd name="connsiteX59" fmla="*/ 5110207 w 8636594"/>
              <a:gd name="connsiteY59" fmla="*/ 4883636 h 6323757"/>
              <a:gd name="connsiteX60" fmla="*/ 5136937 w 8636594"/>
              <a:gd name="connsiteY60" fmla="*/ 4850305 h 6323757"/>
              <a:gd name="connsiteX61" fmla="*/ 5163464 w 8636594"/>
              <a:gd name="connsiteY61" fmla="*/ 4816797 h 6323757"/>
              <a:gd name="connsiteX62" fmla="*/ 5215940 w 8636594"/>
              <a:gd name="connsiteY62" fmla="*/ 4749265 h 6323757"/>
              <a:gd name="connsiteX63" fmla="*/ 5267684 w 8636594"/>
              <a:gd name="connsiteY63" fmla="*/ 4681068 h 6323757"/>
              <a:gd name="connsiteX64" fmla="*/ 5318748 w 8636594"/>
              <a:gd name="connsiteY64" fmla="*/ 4612234 h 6323757"/>
              <a:gd name="connsiteX65" fmla="*/ 5369182 w 8636594"/>
              <a:gd name="connsiteY65" fmla="*/ 4542793 h 6323757"/>
              <a:gd name="connsiteX66" fmla="*/ 5419038 w 8636594"/>
              <a:gd name="connsiteY66" fmla="*/ 4472771 h 6323757"/>
              <a:gd name="connsiteX67" fmla="*/ 5468365 w 8636594"/>
              <a:gd name="connsiteY67" fmla="*/ 4402196 h 6323757"/>
              <a:gd name="connsiteX68" fmla="*/ 5517215 w 8636594"/>
              <a:gd name="connsiteY68" fmla="*/ 4331098 h 6323757"/>
              <a:gd name="connsiteX69" fmla="*/ 5565637 w 8636594"/>
              <a:gd name="connsiteY69" fmla="*/ 4259503 h 6323757"/>
              <a:gd name="connsiteX70" fmla="*/ 5613684 w 8636594"/>
              <a:gd name="connsiteY70" fmla="*/ 4187441 h 6323757"/>
              <a:gd name="connsiteX71" fmla="*/ 5685160 w 8636594"/>
              <a:gd name="connsiteY71" fmla="*/ 4078531 h 6323757"/>
              <a:gd name="connsiteX72" fmla="*/ 5756074 w 8636594"/>
              <a:gd name="connsiteY72" fmla="*/ 3968727 h 6323757"/>
              <a:gd name="connsiteX73" fmla="*/ 5873483 w 8636594"/>
              <a:gd name="connsiteY73" fmla="*/ 3783989 h 6323757"/>
              <a:gd name="connsiteX74" fmla="*/ 6203209 w 8636594"/>
              <a:gd name="connsiteY74" fmla="*/ 3258640 h 6323757"/>
              <a:gd name="connsiteX75" fmla="*/ 6299430 w 8636594"/>
              <a:gd name="connsiteY75" fmla="*/ 3107321 h 6323757"/>
              <a:gd name="connsiteX76" fmla="*/ 6372650 w 8636594"/>
              <a:gd name="connsiteY76" fmla="*/ 2993735 h 6323757"/>
              <a:gd name="connsiteX77" fmla="*/ 6453197 w 8636594"/>
              <a:gd name="connsiteY77" fmla="*/ 2869788 h 6323757"/>
              <a:gd name="connsiteX78" fmla="*/ 6564167 w 8636594"/>
              <a:gd name="connsiteY78" fmla="*/ 2696807 h 6323757"/>
              <a:gd name="connsiteX79" fmla="*/ 6976233 w 8636594"/>
              <a:gd name="connsiteY79" fmla="*/ 2045274 h 6323757"/>
              <a:gd name="connsiteX80" fmla="*/ 7086755 w 8636594"/>
              <a:gd name="connsiteY80" fmla="*/ 1872743 h 6323757"/>
              <a:gd name="connsiteX81" fmla="*/ 7170279 w 8636594"/>
              <a:gd name="connsiteY81" fmla="*/ 1744202 h 6323757"/>
              <a:gd name="connsiteX82" fmla="*/ 7226351 w 8636594"/>
              <a:gd name="connsiteY82" fmla="*/ 1659017 h 6323757"/>
              <a:gd name="connsiteX83" fmla="*/ 7282789 w 8636594"/>
              <a:gd name="connsiteY83" fmla="*/ 1574303 h 6323757"/>
              <a:gd name="connsiteX84" fmla="*/ 7339643 w 8636594"/>
              <a:gd name="connsiteY84" fmla="*/ 1490113 h 6323757"/>
              <a:gd name="connsiteX85" fmla="*/ 7396957 w 8636594"/>
              <a:gd name="connsiteY85" fmla="*/ 1406503 h 6323757"/>
              <a:gd name="connsiteX86" fmla="*/ 7454781 w 8636594"/>
              <a:gd name="connsiteY86" fmla="*/ 1323526 h 6323757"/>
              <a:gd name="connsiteX87" fmla="*/ 7513161 w 8636594"/>
              <a:gd name="connsiteY87" fmla="*/ 1241237 h 6323757"/>
              <a:gd name="connsiteX88" fmla="*/ 7572144 w 8636594"/>
              <a:gd name="connsiteY88" fmla="*/ 1159689 h 6323757"/>
              <a:gd name="connsiteX89" fmla="*/ 7601877 w 8636594"/>
              <a:gd name="connsiteY89" fmla="*/ 1119210 h 6323757"/>
              <a:gd name="connsiteX90" fmla="*/ 7631779 w 8636594"/>
              <a:gd name="connsiteY90" fmla="*/ 1078937 h 6323757"/>
              <a:gd name="connsiteX91" fmla="*/ 7661855 w 8636594"/>
              <a:gd name="connsiteY91" fmla="*/ 1038876 h 6323757"/>
              <a:gd name="connsiteX92" fmla="*/ 7692111 w 8636594"/>
              <a:gd name="connsiteY92" fmla="*/ 999035 h 6323757"/>
              <a:gd name="connsiteX93" fmla="*/ 7722554 w 8636594"/>
              <a:gd name="connsiteY93" fmla="*/ 959419 h 6323757"/>
              <a:gd name="connsiteX94" fmla="*/ 7753190 w 8636594"/>
              <a:gd name="connsiteY94" fmla="*/ 920037 h 6323757"/>
              <a:gd name="connsiteX95" fmla="*/ 7784023 w 8636594"/>
              <a:gd name="connsiteY95" fmla="*/ 880894 h 6323757"/>
              <a:gd name="connsiteX96" fmla="*/ 7815061 w 8636594"/>
              <a:gd name="connsiteY96" fmla="*/ 841997 h 6323757"/>
              <a:gd name="connsiteX97" fmla="*/ 7846308 w 8636594"/>
              <a:gd name="connsiteY97" fmla="*/ 803354 h 6323757"/>
              <a:gd name="connsiteX98" fmla="*/ 7877772 w 8636594"/>
              <a:gd name="connsiteY98" fmla="*/ 764970 h 6323757"/>
              <a:gd name="connsiteX99" fmla="*/ 7909458 w 8636594"/>
              <a:gd name="connsiteY99" fmla="*/ 726853 h 6323757"/>
              <a:gd name="connsiteX100" fmla="*/ 7941371 w 8636594"/>
              <a:gd name="connsiteY100" fmla="*/ 689010 h 6323757"/>
              <a:gd name="connsiteX101" fmla="*/ 7973518 w 8636594"/>
              <a:gd name="connsiteY101" fmla="*/ 651447 h 6323757"/>
              <a:gd name="connsiteX102" fmla="*/ 8005905 w 8636594"/>
              <a:gd name="connsiteY102" fmla="*/ 614171 h 6323757"/>
              <a:gd name="connsiteX103" fmla="*/ 8038538 w 8636594"/>
              <a:gd name="connsiteY103" fmla="*/ 577189 h 6323757"/>
              <a:gd name="connsiteX104" fmla="*/ 8071421 w 8636594"/>
              <a:gd name="connsiteY104" fmla="*/ 540507 h 6323757"/>
              <a:gd name="connsiteX105" fmla="*/ 8104563 w 8636594"/>
              <a:gd name="connsiteY105" fmla="*/ 504132 h 6323757"/>
              <a:gd name="connsiteX106" fmla="*/ 8137967 w 8636594"/>
              <a:gd name="connsiteY106" fmla="*/ 468072 h 6323757"/>
              <a:gd name="connsiteX107" fmla="*/ 8171641 w 8636594"/>
              <a:gd name="connsiteY107" fmla="*/ 432332 h 6323757"/>
              <a:gd name="connsiteX108" fmla="*/ 8205590 w 8636594"/>
              <a:gd name="connsiteY108" fmla="*/ 396920 h 6323757"/>
              <a:gd name="connsiteX109" fmla="*/ 8239820 w 8636594"/>
              <a:gd name="connsiteY109" fmla="*/ 361843 h 6323757"/>
              <a:gd name="connsiteX110" fmla="*/ 8274337 w 8636594"/>
              <a:gd name="connsiteY110" fmla="*/ 327107 h 6323757"/>
              <a:gd name="connsiteX111" fmla="*/ 8309147 w 8636594"/>
              <a:gd name="connsiteY111" fmla="*/ 292718 h 6323757"/>
              <a:gd name="connsiteX112" fmla="*/ 8344256 w 8636594"/>
              <a:gd name="connsiteY112" fmla="*/ 258685 h 6323757"/>
              <a:gd name="connsiteX113" fmla="*/ 8379669 w 8636594"/>
              <a:gd name="connsiteY113" fmla="*/ 225013 h 6323757"/>
              <a:gd name="connsiteX114" fmla="*/ 8415394 w 8636594"/>
              <a:gd name="connsiteY114" fmla="*/ 191709 h 6323757"/>
              <a:gd name="connsiteX115" fmla="*/ 8451434 w 8636594"/>
              <a:gd name="connsiteY115" fmla="*/ 158780 h 6323757"/>
              <a:gd name="connsiteX116" fmla="*/ 8487798 w 8636594"/>
              <a:gd name="connsiteY116" fmla="*/ 126233 h 6323757"/>
              <a:gd name="connsiteX117" fmla="*/ 8524489 w 8636594"/>
              <a:gd name="connsiteY117" fmla="*/ 94075 h 6323757"/>
              <a:gd name="connsiteX118" fmla="*/ 8561515 w 8636594"/>
              <a:gd name="connsiteY118" fmla="*/ 62312 h 6323757"/>
              <a:gd name="connsiteX119" fmla="*/ 8598881 w 8636594"/>
              <a:gd name="connsiteY119" fmla="*/ 30951 h 6323757"/>
              <a:gd name="connsiteX120" fmla="*/ 8636594 w 8636594"/>
              <a:gd name="connsiteY120" fmla="*/ 0 h 6323757"/>
              <a:gd name="connsiteX0" fmla="*/ 8636594 w 8636594"/>
              <a:gd name="connsiteY0" fmla="*/ 0 h 6305184"/>
              <a:gd name="connsiteX1" fmla="*/ 5293 w 8636594"/>
              <a:gd name="connsiteY1" fmla="*/ 0 h 6305184"/>
              <a:gd name="connsiteX2" fmla="*/ 0 w 8636594"/>
              <a:gd name="connsiteY2" fmla="*/ 5587843 h 6305184"/>
              <a:gd name="connsiteX3" fmla="*/ 1594033 w 8636594"/>
              <a:gd name="connsiteY3" fmla="*/ 5600057 h 6305184"/>
              <a:gd name="connsiteX4" fmla="*/ 1686068 w 8636594"/>
              <a:gd name="connsiteY4" fmla="*/ 5599745 h 6305184"/>
              <a:gd name="connsiteX5" fmla="*/ 3238528 w 8636594"/>
              <a:gd name="connsiteY5" fmla="*/ 6305184 h 6305184"/>
              <a:gd name="connsiteX6" fmla="*/ 3285021 w 8636594"/>
              <a:gd name="connsiteY6" fmla="*/ 6286245 h 6305184"/>
              <a:gd name="connsiteX7" fmla="*/ 3330977 w 8636594"/>
              <a:gd name="connsiteY7" fmla="*/ 6266942 h 6305184"/>
              <a:gd name="connsiteX8" fmla="*/ 3376401 w 8636594"/>
              <a:gd name="connsiteY8" fmla="*/ 6247281 h 6305184"/>
              <a:gd name="connsiteX9" fmla="*/ 3421300 w 8636594"/>
              <a:gd name="connsiteY9" fmla="*/ 6227263 h 6305184"/>
              <a:gd name="connsiteX10" fmla="*/ 3465680 w 8636594"/>
              <a:gd name="connsiteY10" fmla="*/ 6206893 h 6305184"/>
              <a:gd name="connsiteX11" fmla="*/ 3509548 w 8636594"/>
              <a:gd name="connsiteY11" fmla="*/ 6186174 h 6305184"/>
              <a:gd name="connsiteX12" fmla="*/ 3552910 w 8636594"/>
              <a:gd name="connsiteY12" fmla="*/ 6165110 h 6305184"/>
              <a:gd name="connsiteX13" fmla="*/ 3595773 w 8636594"/>
              <a:gd name="connsiteY13" fmla="*/ 6143704 h 6305184"/>
              <a:gd name="connsiteX14" fmla="*/ 3638142 w 8636594"/>
              <a:gd name="connsiteY14" fmla="*/ 6121960 h 6305184"/>
              <a:gd name="connsiteX15" fmla="*/ 3680024 w 8636594"/>
              <a:gd name="connsiteY15" fmla="*/ 6099881 h 6305184"/>
              <a:gd name="connsiteX16" fmla="*/ 3721426 w 8636594"/>
              <a:gd name="connsiteY16" fmla="*/ 6077471 h 6305184"/>
              <a:gd name="connsiteX17" fmla="*/ 3762353 w 8636594"/>
              <a:gd name="connsiteY17" fmla="*/ 6054733 h 6305184"/>
              <a:gd name="connsiteX18" fmla="*/ 3802812 w 8636594"/>
              <a:gd name="connsiteY18" fmla="*/ 6031671 h 6305184"/>
              <a:gd name="connsiteX19" fmla="*/ 3842810 w 8636594"/>
              <a:gd name="connsiteY19" fmla="*/ 6008288 h 6305184"/>
              <a:gd name="connsiteX20" fmla="*/ 3882352 w 8636594"/>
              <a:gd name="connsiteY20" fmla="*/ 5984588 h 6305184"/>
              <a:gd name="connsiteX21" fmla="*/ 3921445 w 8636594"/>
              <a:gd name="connsiteY21" fmla="*/ 5960574 h 6305184"/>
              <a:gd name="connsiteX22" fmla="*/ 3960096 w 8636594"/>
              <a:gd name="connsiteY22" fmla="*/ 5936250 h 6305184"/>
              <a:gd name="connsiteX23" fmla="*/ 3998311 w 8636594"/>
              <a:gd name="connsiteY23" fmla="*/ 5911619 h 6305184"/>
              <a:gd name="connsiteX24" fmla="*/ 4036095 w 8636594"/>
              <a:gd name="connsiteY24" fmla="*/ 5886685 h 6305184"/>
              <a:gd name="connsiteX25" fmla="*/ 4073456 w 8636594"/>
              <a:gd name="connsiteY25" fmla="*/ 5861452 h 6305184"/>
              <a:gd name="connsiteX26" fmla="*/ 4110400 w 8636594"/>
              <a:gd name="connsiteY26" fmla="*/ 5835922 h 6305184"/>
              <a:gd name="connsiteX27" fmla="*/ 4146933 w 8636594"/>
              <a:gd name="connsiteY27" fmla="*/ 5810100 h 6305184"/>
              <a:gd name="connsiteX28" fmla="*/ 4183061 w 8636594"/>
              <a:gd name="connsiteY28" fmla="*/ 5783988 h 6305184"/>
              <a:gd name="connsiteX29" fmla="*/ 4218791 w 8636594"/>
              <a:gd name="connsiteY29" fmla="*/ 5757591 h 6305184"/>
              <a:gd name="connsiteX30" fmla="*/ 4254129 w 8636594"/>
              <a:gd name="connsiteY30" fmla="*/ 5730912 h 6305184"/>
              <a:gd name="connsiteX31" fmla="*/ 4289081 w 8636594"/>
              <a:gd name="connsiteY31" fmla="*/ 5703955 h 6305184"/>
              <a:gd name="connsiteX32" fmla="*/ 4323654 w 8636594"/>
              <a:gd name="connsiteY32" fmla="*/ 5676722 h 6305184"/>
              <a:gd name="connsiteX33" fmla="*/ 4357854 w 8636594"/>
              <a:gd name="connsiteY33" fmla="*/ 5649218 h 6305184"/>
              <a:gd name="connsiteX34" fmla="*/ 4391688 w 8636594"/>
              <a:gd name="connsiteY34" fmla="*/ 5621446 h 6305184"/>
              <a:gd name="connsiteX35" fmla="*/ 4425162 w 8636594"/>
              <a:gd name="connsiteY35" fmla="*/ 5593409 h 6305184"/>
              <a:gd name="connsiteX36" fmla="*/ 4458281 w 8636594"/>
              <a:gd name="connsiteY36" fmla="*/ 5565111 h 6305184"/>
              <a:gd name="connsiteX37" fmla="*/ 4491053 w 8636594"/>
              <a:gd name="connsiteY37" fmla="*/ 5536556 h 6305184"/>
              <a:gd name="connsiteX38" fmla="*/ 4523484 w 8636594"/>
              <a:gd name="connsiteY38" fmla="*/ 5507747 h 6305184"/>
              <a:gd name="connsiteX39" fmla="*/ 4555580 w 8636594"/>
              <a:gd name="connsiteY39" fmla="*/ 5478687 h 6305184"/>
              <a:gd name="connsiteX40" fmla="*/ 4587347 w 8636594"/>
              <a:gd name="connsiteY40" fmla="*/ 5449380 h 6305184"/>
              <a:gd name="connsiteX41" fmla="*/ 4618793 w 8636594"/>
              <a:gd name="connsiteY41" fmla="*/ 5419830 h 6305184"/>
              <a:gd name="connsiteX42" fmla="*/ 4649922 w 8636594"/>
              <a:gd name="connsiteY42" fmla="*/ 5390040 h 6305184"/>
              <a:gd name="connsiteX43" fmla="*/ 4680742 w 8636594"/>
              <a:gd name="connsiteY43" fmla="*/ 5360014 h 6305184"/>
              <a:gd name="connsiteX44" fmla="*/ 4711259 w 8636594"/>
              <a:gd name="connsiteY44" fmla="*/ 5329755 h 6305184"/>
              <a:gd name="connsiteX45" fmla="*/ 4741478 w 8636594"/>
              <a:gd name="connsiteY45" fmla="*/ 5299266 h 6305184"/>
              <a:gd name="connsiteX46" fmla="*/ 4771408 w 8636594"/>
              <a:gd name="connsiteY46" fmla="*/ 5268551 h 6305184"/>
              <a:gd name="connsiteX47" fmla="*/ 4801053 w 8636594"/>
              <a:gd name="connsiteY47" fmla="*/ 5237614 h 6305184"/>
              <a:gd name="connsiteX48" fmla="*/ 4830420 w 8636594"/>
              <a:gd name="connsiteY48" fmla="*/ 5206458 h 6305184"/>
              <a:gd name="connsiteX49" fmla="*/ 4859516 w 8636594"/>
              <a:gd name="connsiteY49" fmla="*/ 5175087 h 6305184"/>
              <a:gd name="connsiteX50" fmla="*/ 4888347 w 8636594"/>
              <a:gd name="connsiteY50" fmla="*/ 5143504 h 6305184"/>
              <a:gd name="connsiteX51" fmla="*/ 4916919 w 8636594"/>
              <a:gd name="connsiteY51" fmla="*/ 5111713 h 6305184"/>
              <a:gd name="connsiteX52" fmla="*/ 4945238 w 8636594"/>
              <a:gd name="connsiteY52" fmla="*/ 5079717 h 6305184"/>
              <a:gd name="connsiteX53" fmla="*/ 4973311 w 8636594"/>
              <a:gd name="connsiteY53" fmla="*/ 5047519 h 6305184"/>
              <a:gd name="connsiteX54" fmla="*/ 5001145 w 8636594"/>
              <a:gd name="connsiteY54" fmla="*/ 5015124 h 6305184"/>
              <a:gd name="connsiteX55" fmla="*/ 5028745 w 8636594"/>
              <a:gd name="connsiteY55" fmla="*/ 4982535 h 6305184"/>
              <a:gd name="connsiteX56" fmla="*/ 5056117 w 8636594"/>
              <a:gd name="connsiteY56" fmla="*/ 4949755 h 6305184"/>
              <a:gd name="connsiteX57" fmla="*/ 5083269 w 8636594"/>
              <a:gd name="connsiteY57" fmla="*/ 4916787 h 6305184"/>
              <a:gd name="connsiteX58" fmla="*/ 5110207 w 8636594"/>
              <a:gd name="connsiteY58" fmla="*/ 4883636 h 6305184"/>
              <a:gd name="connsiteX59" fmla="*/ 5136937 w 8636594"/>
              <a:gd name="connsiteY59" fmla="*/ 4850305 h 6305184"/>
              <a:gd name="connsiteX60" fmla="*/ 5163464 w 8636594"/>
              <a:gd name="connsiteY60" fmla="*/ 4816797 h 6305184"/>
              <a:gd name="connsiteX61" fmla="*/ 5215940 w 8636594"/>
              <a:gd name="connsiteY61" fmla="*/ 4749265 h 6305184"/>
              <a:gd name="connsiteX62" fmla="*/ 5267684 w 8636594"/>
              <a:gd name="connsiteY62" fmla="*/ 4681068 h 6305184"/>
              <a:gd name="connsiteX63" fmla="*/ 5318748 w 8636594"/>
              <a:gd name="connsiteY63" fmla="*/ 4612234 h 6305184"/>
              <a:gd name="connsiteX64" fmla="*/ 5369182 w 8636594"/>
              <a:gd name="connsiteY64" fmla="*/ 4542793 h 6305184"/>
              <a:gd name="connsiteX65" fmla="*/ 5419038 w 8636594"/>
              <a:gd name="connsiteY65" fmla="*/ 4472771 h 6305184"/>
              <a:gd name="connsiteX66" fmla="*/ 5468365 w 8636594"/>
              <a:gd name="connsiteY66" fmla="*/ 4402196 h 6305184"/>
              <a:gd name="connsiteX67" fmla="*/ 5517215 w 8636594"/>
              <a:gd name="connsiteY67" fmla="*/ 4331098 h 6305184"/>
              <a:gd name="connsiteX68" fmla="*/ 5565637 w 8636594"/>
              <a:gd name="connsiteY68" fmla="*/ 4259503 h 6305184"/>
              <a:gd name="connsiteX69" fmla="*/ 5613684 w 8636594"/>
              <a:gd name="connsiteY69" fmla="*/ 4187441 h 6305184"/>
              <a:gd name="connsiteX70" fmla="*/ 5685160 w 8636594"/>
              <a:gd name="connsiteY70" fmla="*/ 4078531 h 6305184"/>
              <a:gd name="connsiteX71" fmla="*/ 5756074 w 8636594"/>
              <a:gd name="connsiteY71" fmla="*/ 3968727 h 6305184"/>
              <a:gd name="connsiteX72" fmla="*/ 5873483 w 8636594"/>
              <a:gd name="connsiteY72" fmla="*/ 3783989 h 6305184"/>
              <a:gd name="connsiteX73" fmla="*/ 6203209 w 8636594"/>
              <a:gd name="connsiteY73" fmla="*/ 3258640 h 6305184"/>
              <a:gd name="connsiteX74" fmla="*/ 6299430 w 8636594"/>
              <a:gd name="connsiteY74" fmla="*/ 3107321 h 6305184"/>
              <a:gd name="connsiteX75" fmla="*/ 6372650 w 8636594"/>
              <a:gd name="connsiteY75" fmla="*/ 2993735 h 6305184"/>
              <a:gd name="connsiteX76" fmla="*/ 6453197 w 8636594"/>
              <a:gd name="connsiteY76" fmla="*/ 2869788 h 6305184"/>
              <a:gd name="connsiteX77" fmla="*/ 6564167 w 8636594"/>
              <a:gd name="connsiteY77" fmla="*/ 2696807 h 6305184"/>
              <a:gd name="connsiteX78" fmla="*/ 6976233 w 8636594"/>
              <a:gd name="connsiteY78" fmla="*/ 2045274 h 6305184"/>
              <a:gd name="connsiteX79" fmla="*/ 7086755 w 8636594"/>
              <a:gd name="connsiteY79" fmla="*/ 1872743 h 6305184"/>
              <a:gd name="connsiteX80" fmla="*/ 7170279 w 8636594"/>
              <a:gd name="connsiteY80" fmla="*/ 1744202 h 6305184"/>
              <a:gd name="connsiteX81" fmla="*/ 7226351 w 8636594"/>
              <a:gd name="connsiteY81" fmla="*/ 1659017 h 6305184"/>
              <a:gd name="connsiteX82" fmla="*/ 7282789 w 8636594"/>
              <a:gd name="connsiteY82" fmla="*/ 1574303 h 6305184"/>
              <a:gd name="connsiteX83" fmla="*/ 7339643 w 8636594"/>
              <a:gd name="connsiteY83" fmla="*/ 1490113 h 6305184"/>
              <a:gd name="connsiteX84" fmla="*/ 7396957 w 8636594"/>
              <a:gd name="connsiteY84" fmla="*/ 1406503 h 6305184"/>
              <a:gd name="connsiteX85" fmla="*/ 7454781 w 8636594"/>
              <a:gd name="connsiteY85" fmla="*/ 1323526 h 6305184"/>
              <a:gd name="connsiteX86" fmla="*/ 7513161 w 8636594"/>
              <a:gd name="connsiteY86" fmla="*/ 1241237 h 6305184"/>
              <a:gd name="connsiteX87" fmla="*/ 7572144 w 8636594"/>
              <a:gd name="connsiteY87" fmla="*/ 1159689 h 6305184"/>
              <a:gd name="connsiteX88" fmla="*/ 7601877 w 8636594"/>
              <a:gd name="connsiteY88" fmla="*/ 1119210 h 6305184"/>
              <a:gd name="connsiteX89" fmla="*/ 7631779 w 8636594"/>
              <a:gd name="connsiteY89" fmla="*/ 1078937 h 6305184"/>
              <a:gd name="connsiteX90" fmla="*/ 7661855 w 8636594"/>
              <a:gd name="connsiteY90" fmla="*/ 1038876 h 6305184"/>
              <a:gd name="connsiteX91" fmla="*/ 7692111 w 8636594"/>
              <a:gd name="connsiteY91" fmla="*/ 999035 h 6305184"/>
              <a:gd name="connsiteX92" fmla="*/ 7722554 w 8636594"/>
              <a:gd name="connsiteY92" fmla="*/ 959419 h 6305184"/>
              <a:gd name="connsiteX93" fmla="*/ 7753190 w 8636594"/>
              <a:gd name="connsiteY93" fmla="*/ 920037 h 6305184"/>
              <a:gd name="connsiteX94" fmla="*/ 7784023 w 8636594"/>
              <a:gd name="connsiteY94" fmla="*/ 880894 h 6305184"/>
              <a:gd name="connsiteX95" fmla="*/ 7815061 w 8636594"/>
              <a:gd name="connsiteY95" fmla="*/ 841997 h 6305184"/>
              <a:gd name="connsiteX96" fmla="*/ 7846308 w 8636594"/>
              <a:gd name="connsiteY96" fmla="*/ 803354 h 6305184"/>
              <a:gd name="connsiteX97" fmla="*/ 7877772 w 8636594"/>
              <a:gd name="connsiteY97" fmla="*/ 764970 h 6305184"/>
              <a:gd name="connsiteX98" fmla="*/ 7909458 w 8636594"/>
              <a:gd name="connsiteY98" fmla="*/ 726853 h 6305184"/>
              <a:gd name="connsiteX99" fmla="*/ 7941371 w 8636594"/>
              <a:gd name="connsiteY99" fmla="*/ 689010 h 6305184"/>
              <a:gd name="connsiteX100" fmla="*/ 7973518 w 8636594"/>
              <a:gd name="connsiteY100" fmla="*/ 651447 h 6305184"/>
              <a:gd name="connsiteX101" fmla="*/ 8005905 w 8636594"/>
              <a:gd name="connsiteY101" fmla="*/ 614171 h 6305184"/>
              <a:gd name="connsiteX102" fmla="*/ 8038538 w 8636594"/>
              <a:gd name="connsiteY102" fmla="*/ 577189 h 6305184"/>
              <a:gd name="connsiteX103" fmla="*/ 8071421 w 8636594"/>
              <a:gd name="connsiteY103" fmla="*/ 540507 h 6305184"/>
              <a:gd name="connsiteX104" fmla="*/ 8104563 w 8636594"/>
              <a:gd name="connsiteY104" fmla="*/ 504132 h 6305184"/>
              <a:gd name="connsiteX105" fmla="*/ 8137967 w 8636594"/>
              <a:gd name="connsiteY105" fmla="*/ 468072 h 6305184"/>
              <a:gd name="connsiteX106" fmla="*/ 8171641 w 8636594"/>
              <a:gd name="connsiteY106" fmla="*/ 432332 h 6305184"/>
              <a:gd name="connsiteX107" fmla="*/ 8205590 w 8636594"/>
              <a:gd name="connsiteY107" fmla="*/ 396920 h 6305184"/>
              <a:gd name="connsiteX108" fmla="*/ 8239820 w 8636594"/>
              <a:gd name="connsiteY108" fmla="*/ 361843 h 6305184"/>
              <a:gd name="connsiteX109" fmla="*/ 8274337 w 8636594"/>
              <a:gd name="connsiteY109" fmla="*/ 327107 h 6305184"/>
              <a:gd name="connsiteX110" fmla="*/ 8309147 w 8636594"/>
              <a:gd name="connsiteY110" fmla="*/ 292718 h 6305184"/>
              <a:gd name="connsiteX111" fmla="*/ 8344256 w 8636594"/>
              <a:gd name="connsiteY111" fmla="*/ 258685 h 6305184"/>
              <a:gd name="connsiteX112" fmla="*/ 8379669 w 8636594"/>
              <a:gd name="connsiteY112" fmla="*/ 225013 h 6305184"/>
              <a:gd name="connsiteX113" fmla="*/ 8415394 w 8636594"/>
              <a:gd name="connsiteY113" fmla="*/ 191709 h 6305184"/>
              <a:gd name="connsiteX114" fmla="*/ 8451434 w 8636594"/>
              <a:gd name="connsiteY114" fmla="*/ 158780 h 6305184"/>
              <a:gd name="connsiteX115" fmla="*/ 8487798 w 8636594"/>
              <a:gd name="connsiteY115" fmla="*/ 126233 h 6305184"/>
              <a:gd name="connsiteX116" fmla="*/ 8524489 w 8636594"/>
              <a:gd name="connsiteY116" fmla="*/ 94075 h 6305184"/>
              <a:gd name="connsiteX117" fmla="*/ 8561515 w 8636594"/>
              <a:gd name="connsiteY117" fmla="*/ 62312 h 6305184"/>
              <a:gd name="connsiteX118" fmla="*/ 8598881 w 8636594"/>
              <a:gd name="connsiteY118" fmla="*/ 30951 h 6305184"/>
              <a:gd name="connsiteX119" fmla="*/ 8636594 w 8636594"/>
              <a:gd name="connsiteY119" fmla="*/ 0 h 6305184"/>
              <a:gd name="connsiteX0" fmla="*/ 8636594 w 8636594"/>
              <a:gd name="connsiteY0" fmla="*/ 0 h 6286245"/>
              <a:gd name="connsiteX1" fmla="*/ 5293 w 8636594"/>
              <a:gd name="connsiteY1" fmla="*/ 0 h 6286245"/>
              <a:gd name="connsiteX2" fmla="*/ 0 w 8636594"/>
              <a:gd name="connsiteY2" fmla="*/ 5587843 h 6286245"/>
              <a:gd name="connsiteX3" fmla="*/ 1594033 w 8636594"/>
              <a:gd name="connsiteY3" fmla="*/ 5600057 h 6286245"/>
              <a:gd name="connsiteX4" fmla="*/ 1686068 w 8636594"/>
              <a:gd name="connsiteY4" fmla="*/ 5599745 h 6286245"/>
              <a:gd name="connsiteX5" fmla="*/ 3285021 w 8636594"/>
              <a:gd name="connsiteY5" fmla="*/ 6286245 h 6286245"/>
              <a:gd name="connsiteX6" fmla="*/ 3330977 w 8636594"/>
              <a:gd name="connsiteY6" fmla="*/ 6266942 h 6286245"/>
              <a:gd name="connsiteX7" fmla="*/ 3376401 w 8636594"/>
              <a:gd name="connsiteY7" fmla="*/ 6247281 h 6286245"/>
              <a:gd name="connsiteX8" fmla="*/ 3421300 w 8636594"/>
              <a:gd name="connsiteY8" fmla="*/ 6227263 h 6286245"/>
              <a:gd name="connsiteX9" fmla="*/ 3465680 w 8636594"/>
              <a:gd name="connsiteY9" fmla="*/ 6206893 h 6286245"/>
              <a:gd name="connsiteX10" fmla="*/ 3509548 w 8636594"/>
              <a:gd name="connsiteY10" fmla="*/ 6186174 h 6286245"/>
              <a:gd name="connsiteX11" fmla="*/ 3552910 w 8636594"/>
              <a:gd name="connsiteY11" fmla="*/ 6165110 h 6286245"/>
              <a:gd name="connsiteX12" fmla="*/ 3595773 w 8636594"/>
              <a:gd name="connsiteY12" fmla="*/ 6143704 h 6286245"/>
              <a:gd name="connsiteX13" fmla="*/ 3638142 w 8636594"/>
              <a:gd name="connsiteY13" fmla="*/ 6121960 h 6286245"/>
              <a:gd name="connsiteX14" fmla="*/ 3680024 w 8636594"/>
              <a:gd name="connsiteY14" fmla="*/ 6099881 h 6286245"/>
              <a:gd name="connsiteX15" fmla="*/ 3721426 w 8636594"/>
              <a:gd name="connsiteY15" fmla="*/ 6077471 h 6286245"/>
              <a:gd name="connsiteX16" fmla="*/ 3762353 w 8636594"/>
              <a:gd name="connsiteY16" fmla="*/ 6054733 h 6286245"/>
              <a:gd name="connsiteX17" fmla="*/ 3802812 w 8636594"/>
              <a:gd name="connsiteY17" fmla="*/ 6031671 h 6286245"/>
              <a:gd name="connsiteX18" fmla="*/ 3842810 w 8636594"/>
              <a:gd name="connsiteY18" fmla="*/ 6008288 h 6286245"/>
              <a:gd name="connsiteX19" fmla="*/ 3882352 w 8636594"/>
              <a:gd name="connsiteY19" fmla="*/ 5984588 h 6286245"/>
              <a:gd name="connsiteX20" fmla="*/ 3921445 w 8636594"/>
              <a:gd name="connsiteY20" fmla="*/ 5960574 h 6286245"/>
              <a:gd name="connsiteX21" fmla="*/ 3960096 w 8636594"/>
              <a:gd name="connsiteY21" fmla="*/ 5936250 h 6286245"/>
              <a:gd name="connsiteX22" fmla="*/ 3998311 w 8636594"/>
              <a:gd name="connsiteY22" fmla="*/ 5911619 h 6286245"/>
              <a:gd name="connsiteX23" fmla="*/ 4036095 w 8636594"/>
              <a:gd name="connsiteY23" fmla="*/ 5886685 h 6286245"/>
              <a:gd name="connsiteX24" fmla="*/ 4073456 w 8636594"/>
              <a:gd name="connsiteY24" fmla="*/ 5861452 h 6286245"/>
              <a:gd name="connsiteX25" fmla="*/ 4110400 w 8636594"/>
              <a:gd name="connsiteY25" fmla="*/ 5835922 h 6286245"/>
              <a:gd name="connsiteX26" fmla="*/ 4146933 w 8636594"/>
              <a:gd name="connsiteY26" fmla="*/ 5810100 h 6286245"/>
              <a:gd name="connsiteX27" fmla="*/ 4183061 w 8636594"/>
              <a:gd name="connsiteY27" fmla="*/ 5783988 h 6286245"/>
              <a:gd name="connsiteX28" fmla="*/ 4218791 w 8636594"/>
              <a:gd name="connsiteY28" fmla="*/ 5757591 h 6286245"/>
              <a:gd name="connsiteX29" fmla="*/ 4254129 w 8636594"/>
              <a:gd name="connsiteY29" fmla="*/ 5730912 h 6286245"/>
              <a:gd name="connsiteX30" fmla="*/ 4289081 w 8636594"/>
              <a:gd name="connsiteY30" fmla="*/ 5703955 h 6286245"/>
              <a:gd name="connsiteX31" fmla="*/ 4323654 w 8636594"/>
              <a:gd name="connsiteY31" fmla="*/ 5676722 h 6286245"/>
              <a:gd name="connsiteX32" fmla="*/ 4357854 w 8636594"/>
              <a:gd name="connsiteY32" fmla="*/ 5649218 h 6286245"/>
              <a:gd name="connsiteX33" fmla="*/ 4391688 w 8636594"/>
              <a:gd name="connsiteY33" fmla="*/ 5621446 h 6286245"/>
              <a:gd name="connsiteX34" fmla="*/ 4425162 w 8636594"/>
              <a:gd name="connsiteY34" fmla="*/ 5593409 h 6286245"/>
              <a:gd name="connsiteX35" fmla="*/ 4458281 w 8636594"/>
              <a:gd name="connsiteY35" fmla="*/ 5565111 h 6286245"/>
              <a:gd name="connsiteX36" fmla="*/ 4491053 w 8636594"/>
              <a:gd name="connsiteY36" fmla="*/ 5536556 h 6286245"/>
              <a:gd name="connsiteX37" fmla="*/ 4523484 w 8636594"/>
              <a:gd name="connsiteY37" fmla="*/ 5507747 h 6286245"/>
              <a:gd name="connsiteX38" fmla="*/ 4555580 w 8636594"/>
              <a:gd name="connsiteY38" fmla="*/ 5478687 h 6286245"/>
              <a:gd name="connsiteX39" fmla="*/ 4587347 w 8636594"/>
              <a:gd name="connsiteY39" fmla="*/ 5449380 h 6286245"/>
              <a:gd name="connsiteX40" fmla="*/ 4618793 w 8636594"/>
              <a:gd name="connsiteY40" fmla="*/ 5419830 h 6286245"/>
              <a:gd name="connsiteX41" fmla="*/ 4649922 w 8636594"/>
              <a:gd name="connsiteY41" fmla="*/ 5390040 h 6286245"/>
              <a:gd name="connsiteX42" fmla="*/ 4680742 w 8636594"/>
              <a:gd name="connsiteY42" fmla="*/ 5360014 h 6286245"/>
              <a:gd name="connsiteX43" fmla="*/ 4711259 w 8636594"/>
              <a:gd name="connsiteY43" fmla="*/ 5329755 h 6286245"/>
              <a:gd name="connsiteX44" fmla="*/ 4741478 w 8636594"/>
              <a:gd name="connsiteY44" fmla="*/ 5299266 h 6286245"/>
              <a:gd name="connsiteX45" fmla="*/ 4771408 w 8636594"/>
              <a:gd name="connsiteY45" fmla="*/ 5268551 h 6286245"/>
              <a:gd name="connsiteX46" fmla="*/ 4801053 w 8636594"/>
              <a:gd name="connsiteY46" fmla="*/ 5237614 h 6286245"/>
              <a:gd name="connsiteX47" fmla="*/ 4830420 w 8636594"/>
              <a:gd name="connsiteY47" fmla="*/ 5206458 h 6286245"/>
              <a:gd name="connsiteX48" fmla="*/ 4859516 w 8636594"/>
              <a:gd name="connsiteY48" fmla="*/ 5175087 h 6286245"/>
              <a:gd name="connsiteX49" fmla="*/ 4888347 w 8636594"/>
              <a:gd name="connsiteY49" fmla="*/ 5143504 h 6286245"/>
              <a:gd name="connsiteX50" fmla="*/ 4916919 w 8636594"/>
              <a:gd name="connsiteY50" fmla="*/ 5111713 h 6286245"/>
              <a:gd name="connsiteX51" fmla="*/ 4945238 w 8636594"/>
              <a:gd name="connsiteY51" fmla="*/ 5079717 h 6286245"/>
              <a:gd name="connsiteX52" fmla="*/ 4973311 w 8636594"/>
              <a:gd name="connsiteY52" fmla="*/ 5047519 h 6286245"/>
              <a:gd name="connsiteX53" fmla="*/ 5001145 w 8636594"/>
              <a:gd name="connsiteY53" fmla="*/ 5015124 h 6286245"/>
              <a:gd name="connsiteX54" fmla="*/ 5028745 w 8636594"/>
              <a:gd name="connsiteY54" fmla="*/ 4982535 h 6286245"/>
              <a:gd name="connsiteX55" fmla="*/ 5056117 w 8636594"/>
              <a:gd name="connsiteY55" fmla="*/ 4949755 h 6286245"/>
              <a:gd name="connsiteX56" fmla="*/ 5083269 w 8636594"/>
              <a:gd name="connsiteY56" fmla="*/ 4916787 h 6286245"/>
              <a:gd name="connsiteX57" fmla="*/ 5110207 w 8636594"/>
              <a:gd name="connsiteY57" fmla="*/ 4883636 h 6286245"/>
              <a:gd name="connsiteX58" fmla="*/ 5136937 w 8636594"/>
              <a:gd name="connsiteY58" fmla="*/ 4850305 h 6286245"/>
              <a:gd name="connsiteX59" fmla="*/ 5163464 w 8636594"/>
              <a:gd name="connsiteY59" fmla="*/ 4816797 h 6286245"/>
              <a:gd name="connsiteX60" fmla="*/ 5215940 w 8636594"/>
              <a:gd name="connsiteY60" fmla="*/ 4749265 h 6286245"/>
              <a:gd name="connsiteX61" fmla="*/ 5267684 w 8636594"/>
              <a:gd name="connsiteY61" fmla="*/ 4681068 h 6286245"/>
              <a:gd name="connsiteX62" fmla="*/ 5318748 w 8636594"/>
              <a:gd name="connsiteY62" fmla="*/ 4612234 h 6286245"/>
              <a:gd name="connsiteX63" fmla="*/ 5369182 w 8636594"/>
              <a:gd name="connsiteY63" fmla="*/ 4542793 h 6286245"/>
              <a:gd name="connsiteX64" fmla="*/ 5419038 w 8636594"/>
              <a:gd name="connsiteY64" fmla="*/ 4472771 h 6286245"/>
              <a:gd name="connsiteX65" fmla="*/ 5468365 w 8636594"/>
              <a:gd name="connsiteY65" fmla="*/ 4402196 h 6286245"/>
              <a:gd name="connsiteX66" fmla="*/ 5517215 w 8636594"/>
              <a:gd name="connsiteY66" fmla="*/ 4331098 h 6286245"/>
              <a:gd name="connsiteX67" fmla="*/ 5565637 w 8636594"/>
              <a:gd name="connsiteY67" fmla="*/ 4259503 h 6286245"/>
              <a:gd name="connsiteX68" fmla="*/ 5613684 w 8636594"/>
              <a:gd name="connsiteY68" fmla="*/ 4187441 h 6286245"/>
              <a:gd name="connsiteX69" fmla="*/ 5685160 w 8636594"/>
              <a:gd name="connsiteY69" fmla="*/ 4078531 h 6286245"/>
              <a:gd name="connsiteX70" fmla="*/ 5756074 w 8636594"/>
              <a:gd name="connsiteY70" fmla="*/ 3968727 h 6286245"/>
              <a:gd name="connsiteX71" fmla="*/ 5873483 w 8636594"/>
              <a:gd name="connsiteY71" fmla="*/ 3783989 h 6286245"/>
              <a:gd name="connsiteX72" fmla="*/ 6203209 w 8636594"/>
              <a:gd name="connsiteY72" fmla="*/ 3258640 h 6286245"/>
              <a:gd name="connsiteX73" fmla="*/ 6299430 w 8636594"/>
              <a:gd name="connsiteY73" fmla="*/ 3107321 h 6286245"/>
              <a:gd name="connsiteX74" fmla="*/ 6372650 w 8636594"/>
              <a:gd name="connsiteY74" fmla="*/ 2993735 h 6286245"/>
              <a:gd name="connsiteX75" fmla="*/ 6453197 w 8636594"/>
              <a:gd name="connsiteY75" fmla="*/ 2869788 h 6286245"/>
              <a:gd name="connsiteX76" fmla="*/ 6564167 w 8636594"/>
              <a:gd name="connsiteY76" fmla="*/ 2696807 h 6286245"/>
              <a:gd name="connsiteX77" fmla="*/ 6976233 w 8636594"/>
              <a:gd name="connsiteY77" fmla="*/ 2045274 h 6286245"/>
              <a:gd name="connsiteX78" fmla="*/ 7086755 w 8636594"/>
              <a:gd name="connsiteY78" fmla="*/ 1872743 h 6286245"/>
              <a:gd name="connsiteX79" fmla="*/ 7170279 w 8636594"/>
              <a:gd name="connsiteY79" fmla="*/ 1744202 h 6286245"/>
              <a:gd name="connsiteX80" fmla="*/ 7226351 w 8636594"/>
              <a:gd name="connsiteY80" fmla="*/ 1659017 h 6286245"/>
              <a:gd name="connsiteX81" fmla="*/ 7282789 w 8636594"/>
              <a:gd name="connsiteY81" fmla="*/ 1574303 h 6286245"/>
              <a:gd name="connsiteX82" fmla="*/ 7339643 w 8636594"/>
              <a:gd name="connsiteY82" fmla="*/ 1490113 h 6286245"/>
              <a:gd name="connsiteX83" fmla="*/ 7396957 w 8636594"/>
              <a:gd name="connsiteY83" fmla="*/ 1406503 h 6286245"/>
              <a:gd name="connsiteX84" fmla="*/ 7454781 w 8636594"/>
              <a:gd name="connsiteY84" fmla="*/ 1323526 h 6286245"/>
              <a:gd name="connsiteX85" fmla="*/ 7513161 w 8636594"/>
              <a:gd name="connsiteY85" fmla="*/ 1241237 h 6286245"/>
              <a:gd name="connsiteX86" fmla="*/ 7572144 w 8636594"/>
              <a:gd name="connsiteY86" fmla="*/ 1159689 h 6286245"/>
              <a:gd name="connsiteX87" fmla="*/ 7601877 w 8636594"/>
              <a:gd name="connsiteY87" fmla="*/ 1119210 h 6286245"/>
              <a:gd name="connsiteX88" fmla="*/ 7631779 w 8636594"/>
              <a:gd name="connsiteY88" fmla="*/ 1078937 h 6286245"/>
              <a:gd name="connsiteX89" fmla="*/ 7661855 w 8636594"/>
              <a:gd name="connsiteY89" fmla="*/ 1038876 h 6286245"/>
              <a:gd name="connsiteX90" fmla="*/ 7692111 w 8636594"/>
              <a:gd name="connsiteY90" fmla="*/ 999035 h 6286245"/>
              <a:gd name="connsiteX91" fmla="*/ 7722554 w 8636594"/>
              <a:gd name="connsiteY91" fmla="*/ 959419 h 6286245"/>
              <a:gd name="connsiteX92" fmla="*/ 7753190 w 8636594"/>
              <a:gd name="connsiteY92" fmla="*/ 920037 h 6286245"/>
              <a:gd name="connsiteX93" fmla="*/ 7784023 w 8636594"/>
              <a:gd name="connsiteY93" fmla="*/ 880894 h 6286245"/>
              <a:gd name="connsiteX94" fmla="*/ 7815061 w 8636594"/>
              <a:gd name="connsiteY94" fmla="*/ 841997 h 6286245"/>
              <a:gd name="connsiteX95" fmla="*/ 7846308 w 8636594"/>
              <a:gd name="connsiteY95" fmla="*/ 803354 h 6286245"/>
              <a:gd name="connsiteX96" fmla="*/ 7877772 w 8636594"/>
              <a:gd name="connsiteY96" fmla="*/ 764970 h 6286245"/>
              <a:gd name="connsiteX97" fmla="*/ 7909458 w 8636594"/>
              <a:gd name="connsiteY97" fmla="*/ 726853 h 6286245"/>
              <a:gd name="connsiteX98" fmla="*/ 7941371 w 8636594"/>
              <a:gd name="connsiteY98" fmla="*/ 689010 h 6286245"/>
              <a:gd name="connsiteX99" fmla="*/ 7973518 w 8636594"/>
              <a:gd name="connsiteY99" fmla="*/ 651447 h 6286245"/>
              <a:gd name="connsiteX100" fmla="*/ 8005905 w 8636594"/>
              <a:gd name="connsiteY100" fmla="*/ 614171 h 6286245"/>
              <a:gd name="connsiteX101" fmla="*/ 8038538 w 8636594"/>
              <a:gd name="connsiteY101" fmla="*/ 577189 h 6286245"/>
              <a:gd name="connsiteX102" fmla="*/ 8071421 w 8636594"/>
              <a:gd name="connsiteY102" fmla="*/ 540507 h 6286245"/>
              <a:gd name="connsiteX103" fmla="*/ 8104563 w 8636594"/>
              <a:gd name="connsiteY103" fmla="*/ 504132 h 6286245"/>
              <a:gd name="connsiteX104" fmla="*/ 8137967 w 8636594"/>
              <a:gd name="connsiteY104" fmla="*/ 468072 h 6286245"/>
              <a:gd name="connsiteX105" fmla="*/ 8171641 w 8636594"/>
              <a:gd name="connsiteY105" fmla="*/ 432332 h 6286245"/>
              <a:gd name="connsiteX106" fmla="*/ 8205590 w 8636594"/>
              <a:gd name="connsiteY106" fmla="*/ 396920 h 6286245"/>
              <a:gd name="connsiteX107" fmla="*/ 8239820 w 8636594"/>
              <a:gd name="connsiteY107" fmla="*/ 361843 h 6286245"/>
              <a:gd name="connsiteX108" fmla="*/ 8274337 w 8636594"/>
              <a:gd name="connsiteY108" fmla="*/ 327107 h 6286245"/>
              <a:gd name="connsiteX109" fmla="*/ 8309147 w 8636594"/>
              <a:gd name="connsiteY109" fmla="*/ 292718 h 6286245"/>
              <a:gd name="connsiteX110" fmla="*/ 8344256 w 8636594"/>
              <a:gd name="connsiteY110" fmla="*/ 258685 h 6286245"/>
              <a:gd name="connsiteX111" fmla="*/ 8379669 w 8636594"/>
              <a:gd name="connsiteY111" fmla="*/ 225013 h 6286245"/>
              <a:gd name="connsiteX112" fmla="*/ 8415394 w 8636594"/>
              <a:gd name="connsiteY112" fmla="*/ 191709 h 6286245"/>
              <a:gd name="connsiteX113" fmla="*/ 8451434 w 8636594"/>
              <a:gd name="connsiteY113" fmla="*/ 158780 h 6286245"/>
              <a:gd name="connsiteX114" fmla="*/ 8487798 w 8636594"/>
              <a:gd name="connsiteY114" fmla="*/ 126233 h 6286245"/>
              <a:gd name="connsiteX115" fmla="*/ 8524489 w 8636594"/>
              <a:gd name="connsiteY115" fmla="*/ 94075 h 6286245"/>
              <a:gd name="connsiteX116" fmla="*/ 8561515 w 8636594"/>
              <a:gd name="connsiteY116" fmla="*/ 62312 h 6286245"/>
              <a:gd name="connsiteX117" fmla="*/ 8598881 w 8636594"/>
              <a:gd name="connsiteY117" fmla="*/ 30951 h 6286245"/>
              <a:gd name="connsiteX118" fmla="*/ 8636594 w 8636594"/>
              <a:gd name="connsiteY118" fmla="*/ 0 h 6286245"/>
              <a:gd name="connsiteX0" fmla="*/ 8636594 w 8636594"/>
              <a:gd name="connsiteY0" fmla="*/ 0 h 6266942"/>
              <a:gd name="connsiteX1" fmla="*/ 5293 w 8636594"/>
              <a:gd name="connsiteY1" fmla="*/ 0 h 6266942"/>
              <a:gd name="connsiteX2" fmla="*/ 0 w 8636594"/>
              <a:gd name="connsiteY2" fmla="*/ 5587843 h 6266942"/>
              <a:gd name="connsiteX3" fmla="*/ 1594033 w 8636594"/>
              <a:gd name="connsiteY3" fmla="*/ 5600057 h 6266942"/>
              <a:gd name="connsiteX4" fmla="*/ 1686068 w 8636594"/>
              <a:gd name="connsiteY4" fmla="*/ 5599745 h 6266942"/>
              <a:gd name="connsiteX5" fmla="*/ 3330977 w 8636594"/>
              <a:gd name="connsiteY5" fmla="*/ 6266942 h 6266942"/>
              <a:gd name="connsiteX6" fmla="*/ 3376401 w 8636594"/>
              <a:gd name="connsiteY6" fmla="*/ 6247281 h 6266942"/>
              <a:gd name="connsiteX7" fmla="*/ 3421300 w 8636594"/>
              <a:gd name="connsiteY7" fmla="*/ 6227263 h 6266942"/>
              <a:gd name="connsiteX8" fmla="*/ 3465680 w 8636594"/>
              <a:gd name="connsiteY8" fmla="*/ 6206893 h 6266942"/>
              <a:gd name="connsiteX9" fmla="*/ 3509548 w 8636594"/>
              <a:gd name="connsiteY9" fmla="*/ 6186174 h 6266942"/>
              <a:gd name="connsiteX10" fmla="*/ 3552910 w 8636594"/>
              <a:gd name="connsiteY10" fmla="*/ 6165110 h 6266942"/>
              <a:gd name="connsiteX11" fmla="*/ 3595773 w 8636594"/>
              <a:gd name="connsiteY11" fmla="*/ 6143704 h 6266942"/>
              <a:gd name="connsiteX12" fmla="*/ 3638142 w 8636594"/>
              <a:gd name="connsiteY12" fmla="*/ 6121960 h 6266942"/>
              <a:gd name="connsiteX13" fmla="*/ 3680024 w 8636594"/>
              <a:gd name="connsiteY13" fmla="*/ 6099881 h 6266942"/>
              <a:gd name="connsiteX14" fmla="*/ 3721426 w 8636594"/>
              <a:gd name="connsiteY14" fmla="*/ 6077471 h 6266942"/>
              <a:gd name="connsiteX15" fmla="*/ 3762353 w 8636594"/>
              <a:gd name="connsiteY15" fmla="*/ 6054733 h 6266942"/>
              <a:gd name="connsiteX16" fmla="*/ 3802812 w 8636594"/>
              <a:gd name="connsiteY16" fmla="*/ 6031671 h 6266942"/>
              <a:gd name="connsiteX17" fmla="*/ 3842810 w 8636594"/>
              <a:gd name="connsiteY17" fmla="*/ 6008288 h 6266942"/>
              <a:gd name="connsiteX18" fmla="*/ 3882352 w 8636594"/>
              <a:gd name="connsiteY18" fmla="*/ 5984588 h 6266942"/>
              <a:gd name="connsiteX19" fmla="*/ 3921445 w 8636594"/>
              <a:gd name="connsiteY19" fmla="*/ 5960574 h 6266942"/>
              <a:gd name="connsiteX20" fmla="*/ 3960096 w 8636594"/>
              <a:gd name="connsiteY20" fmla="*/ 5936250 h 6266942"/>
              <a:gd name="connsiteX21" fmla="*/ 3998311 w 8636594"/>
              <a:gd name="connsiteY21" fmla="*/ 5911619 h 6266942"/>
              <a:gd name="connsiteX22" fmla="*/ 4036095 w 8636594"/>
              <a:gd name="connsiteY22" fmla="*/ 5886685 h 6266942"/>
              <a:gd name="connsiteX23" fmla="*/ 4073456 w 8636594"/>
              <a:gd name="connsiteY23" fmla="*/ 5861452 h 6266942"/>
              <a:gd name="connsiteX24" fmla="*/ 4110400 w 8636594"/>
              <a:gd name="connsiteY24" fmla="*/ 5835922 h 6266942"/>
              <a:gd name="connsiteX25" fmla="*/ 4146933 w 8636594"/>
              <a:gd name="connsiteY25" fmla="*/ 5810100 h 6266942"/>
              <a:gd name="connsiteX26" fmla="*/ 4183061 w 8636594"/>
              <a:gd name="connsiteY26" fmla="*/ 5783988 h 6266942"/>
              <a:gd name="connsiteX27" fmla="*/ 4218791 w 8636594"/>
              <a:gd name="connsiteY27" fmla="*/ 5757591 h 6266942"/>
              <a:gd name="connsiteX28" fmla="*/ 4254129 w 8636594"/>
              <a:gd name="connsiteY28" fmla="*/ 5730912 h 6266942"/>
              <a:gd name="connsiteX29" fmla="*/ 4289081 w 8636594"/>
              <a:gd name="connsiteY29" fmla="*/ 5703955 h 6266942"/>
              <a:gd name="connsiteX30" fmla="*/ 4323654 w 8636594"/>
              <a:gd name="connsiteY30" fmla="*/ 5676722 h 6266942"/>
              <a:gd name="connsiteX31" fmla="*/ 4357854 w 8636594"/>
              <a:gd name="connsiteY31" fmla="*/ 5649218 h 6266942"/>
              <a:gd name="connsiteX32" fmla="*/ 4391688 w 8636594"/>
              <a:gd name="connsiteY32" fmla="*/ 5621446 h 6266942"/>
              <a:gd name="connsiteX33" fmla="*/ 4425162 w 8636594"/>
              <a:gd name="connsiteY33" fmla="*/ 5593409 h 6266942"/>
              <a:gd name="connsiteX34" fmla="*/ 4458281 w 8636594"/>
              <a:gd name="connsiteY34" fmla="*/ 5565111 h 6266942"/>
              <a:gd name="connsiteX35" fmla="*/ 4491053 w 8636594"/>
              <a:gd name="connsiteY35" fmla="*/ 5536556 h 6266942"/>
              <a:gd name="connsiteX36" fmla="*/ 4523484 w 8636594"/>
              <a:gd name="connsiteY36" fmla="*/ 5507747 h 6266942"/>
              <a:gd name="connsiteX37" fmla="*/ 4555580 w 8636594"/>
              <a:gd name="connsiteY37" fmla="*/ 5478687 h 6266942"/>
              <a:gd name="connsiteX38" fmla="*/ 4587347 w 8636594"/>
              <a:gd name="connsiteY38" fmla="*/ 5449380 h 6266942"/>
              <a:gd name="connsiteX39" fmla="*/ 4618793 w 8636594"/>
              <a:gd name="connsiteY39" fmla="*/ 5419830 h 6266942"/>
              <a:gd name="connsiteX40" fmla="*/ 4649922 w 8636594"/>
              <a:gd name="connsiteY40" fmla="*/ 5390040 h 6266942"/>
              <a:gd name="connsiteX41" fmla="*/ 4680742 w 8636594"/>
              <a:gd name="connsiteY41" fmla="*/ 5360014 h 6266942"/>
              <a:gd name="connsiteX42" fmla="*/ 4711259 w 8636594"/>
              <a:gd name="connsiteY42" fmla="*/ 5329755 h 6266942"/>
              <a:gd name="connsiteX43" fmla="*/ 4741478 w 8636594"/>
              <a:gd name="connsiteY43" fmla="*/ 5299266 h 6266942"/>
              <a:gd name="connsiteX44" fmla="*/ 4771408 w 8636594"/>
              <a:gd name="connsiteY44" fmla="*/ 5268551 h 6266942"/>
              <a:gd name="connsiteX45" fmla="*/ 4801053 w 8636594"/>
              <a:gd name="connsiteY45" fmla="*/ 5237614 h 6266942"/>
              <a:gd name="connsiteX46" fmla="*/ 4830420 w 8636594"/>
              <a:gd name="connsiteY46" fmla="*/ 5206458 h 6266942"/>
              <a:gd name="connsiteX47" fmla="*/ 4859516 w 8636594"/>
              <a:gd name="connsiteY47" fmla="*/ 5175087 h 6266942"/>
              <a:gd name="connsiteX48" fmla="*/ 4888347 w 8636594"/>
              <a:gd name="connsiteY48" fmla="*/ 5143504 h 6266942"/>
              <a:gd name="connsiteX49" fmla="*/ 4916919 w 8636594"/>
              <a:gd name="connsiteY49" fmla="*/ 5111713 h 6266942"/>
              <a:gd name="connsiteX50" fmla="*/ 4945238 w 8636594"/>
              <a:gd name="connsiteY50" fmla="*/ 5079717 h 6266942"/>
              <a:gd name="connsiteX51" fmla="*/ 4973311 w 8636594"/>
              <a:gd name="connsiteY51" fmla="*/ 5047519 h 6266942"/>
              <a:gd name="connsiteX52" fmla="*/ 5001145 w 8636594"/>
              <a:gd name="connsiteY52" fmla="*/ 5015124 h 6266942"/>
              <a:gd name="connsiteX53" fmla="*/ 5028745 w 8636594"/>
              <a:gd name="connsiteY53" fmla="*/ 4982535 h 6266942"/>
              <a:gd name="connsiteX54" fmla="*/ 5056117 w 8636594"/>
              <a:gd name="connsiteY54" fmla="*/ 4949755 h 6266942"/>
              <a:gd name="connsiteX55" fmla="*/ 5083269 w 8636594"/>
              <a:gd name="connsiteY55" fmla="*/ 4916787 h 6266942"/>
              <a:gd name="connsiteX56" fmla="*/ 5110207 w 8636594"/>
              <a:gd name="connsiteY56" fmla="*/ 4883636 h 6266942"/>
              <a:gd name="connsiteX57" fmla="*/ 5136937 w 8636594"/>
              <a:gd name="connsiteY57" fmla="*/ 4850305 h 6266942"/>
              <a:gd name="connsiteX58" fmla="*/ 5163464 w 8636594"/>
              <a:gd name="connsiteY58" fmla="*/ 4816797 h 6266942"/>
              <a:gd name="connsiteX59" fmla="*/ 5215940 w 8636594"/>
              <a:gd name="connsiteY59" fmla="*/ 4749265 h 6266942"/>
              <a:gd name="connsiteX60" fmla="*/ 5267684 w 8636594"/>
              <a:gd name="connsiteY60" fmla="*/ 4681068 h 6266942"/>
              <a:gd name="connsiteX61" fmla="*/ 5318748 w 8636594"/>
              <a:gd name="connsiteY61" fmla="*/ 4612234 h 6266942"/>
              <a:gd name="connsiteX62" fmla="*/ 5369182 w 8636594"/>
              <a:gd name="connsiteY62" fmla="*/ 4542793 h 6266942"/>
              <a:gd name="connsiteX63" fmla="*/ 5419038 w 8636594"/>
              <a:gd name="connsiteY63" fmla="*/ 4472771 h 6266942"/>
              <a:gd name="connsiteX64" fmla="*/ 5468365 w 8636594"/>
              <a:gd name="connsiteY64" fmla="*/ 4402196 h 6266942"/>
              <a:gd name="connsiteX65" fmla="*/ 5517215 w 8636594"/>
              <a:gd name="connsiteY65" fmla="*/ 4331098 h 6266942"/>
              <a:gd name="connsiteX66" fmla="*/ 5565637 w 8636594"/>
              <a:gd name="connsiteY66" fmla="*/ 4259503 h 6266942"/>
              <a:gd name="connsiteX67" fmla="*/ 5613684 w 8636594"/>
              <a:gd name="connsiteY67" fmla="*/ 4187441 h 6266942"/>
              <a:gd name="connsiteX68" fmla="*/ 5685160 w 8636594"/>
              <a:gd name="connsiteY68" fmla="*/ 4078531 h 6266942"/>
              <a:gd name="connsiteX69" fmla="*/ 5756074 w 8636594"/>
              <a:gd name="connsiteY69" fmla="*/ 3968727 h 6266942"/>
              <a:gd name="connsiteX70" fmla="*/ 5873483 w 8636594"/>
              <a:gd name="connsiteY70" fmla="*/ 3783989 h 6266942"/>
              <a:gd name="connsiteX71" fmla="*/ 6203209 w 8636594"/>
              <a:gd name="connsiteY71" fmla="*/ 3258640 h 6266942"/>
              <a:gd name="connsiteX72" fmla="*/ 6299430 w 8636594"/>
              <a:gd name="connsiteY72" fmla="*/ 3107321 h 6266942"/>
              <a:gd name="connsiteX73" fmla="*/ 6372650 w 8636594"/>
              <a:gd name="connsiteY73" fmla="*/ 2993735 h 6266942"/>
              <a:gd name="connsiteX74" fmla="*/ 6453197 w 8636594"/>
              <a:gd name="connsiteY74" fmla="*/ 2869788 h 6266942"/>
              <a:gd name="connsiteX75" fmla="*/ 6564167 w 8636594"/>
              <a:gd name="connsiteY75" fmla="*/ 2696807 h 6266942"/>
              <a:gd name="connsiteX76" fmla="*/ 6976233 w 8636594"/>
              <a:gd name="connsiteY76" fmla="*/ 2045274 h 6266942"/>
              <a:gd name="connsiteX77" fmla="*/ 7086755 w 8636594"/>
              <a:gd name="connsiteY77" fmla="*/ 1872743 h 6266942"/>
              <a:gd name="connsiteX78" fmla="*/ 7170279 w 8636594"/>
              <a:gd name="connsiteY78" fmla="*/ 1744202 h 6266942"/>
              <a:gd name="connsiteX79" fmla="*/ 7226351 w 8636594"/>
              <a:gd name="connsiteY79" fmla="*/ 1659017 h 6266942"/>
              <a:gd name="connsiteX80" fmla="*/ 7282789 w 8636594"/>
              <a:gd name="connsiteY80" fmla="*/ 1574303 h 6266942"/>
              <a:gd name="connsiteX81" fmla="*/ 7339643 w 8636594"/>
              <a:gd name="connsiteY81" fmla="*/ 1490113 h 6266942"/>
              <a:gd name="connsiteX82" fmla="*/ 7396957 w 8636594"/>
              <a:gd name="connsiteY82" fmla="*/ 1406503 h 6266942"/>
              <a:gd name="connsiteX83" fmla="*/ 7454781 w 8636594"/>
              <a:gd name="connsiteY83" fmla="*/ 1323526 h 6266942"/>
              <a:gd name="connsiteX84" fmla="*/ 7513161 w 8636594"/>
              <a:gd name="connsiteY84" fmla="*/ 1241237 h 6266942"/>
              <a:gd name="connsiteX85" fmla="*/ 7572144 w 8636594"/>
              <a:gd name="connsiteY85" fmla="*/ 1159689 h 6266942"/>
              <a:gd name="connsiteX86" fmla="*/ 7601877 w 8636594"/>
              <a:gd name="connsiteY86" fmla="*/ 1119210 h 6266942"/>
              <a:gd name="connsiteX87" fmla="*/ 7631779 w 8636594"/>
              <a:gd name="connsiteY87" fmla="*/ 1078937 h 6266942"/>
              <a:gd name="connsiteX88" fmla="*/ 7661855 w 8636594"/>
              <a:gd name="connsiteY88" fmla="*/ 1038876 h 6266942"/>
              <a:gd name="connsiteX89" fmla="*/ 7692111 w 8636594"/>
              <a:gd name="connsiteY89" fmla="*/ 999035 h 6266942"/>
              <a:gd name="connsiteX90" fmla="*/ 7722554 w 8636594"/>
              <a:gd name="connsiteY90" fmla="*/ 959419 h 6266942"/>
              <a:gd name="connsiteX91" fmla="*/ 7753190 w 8636594"/>
              <a:gd name="connsiteY91" fmla="*/ 920037 h 6266942"/>
              <a:gd name="connsiteX92" fmla="*/ 7784023 w 8636594"/>
              <a:gd name="connsiteY92" fmla="*/ 880894 h 6266942"/>
              <a:gd name="connsiteX93" fmla="*/ 7815061 w 8636594"/>
              <a:gd name="connsiteY93" fmla="*/ 841997 h 6266942"/>
              <a:gd name="connsiteX94" fmla="*/ 7846308 w 8636594"/>
              <a:gd name="connsiteY94" fmla="*/ 803354 h 6266942"/>
              <a:gd name="connsiteX95" fmla="*/ 7877772 w 8636594"/>
              <a:gd name="connsiteY95" fmla="*/ 764970 h 6266942"/>
              <a:gd name="connsiteX96" fmla="*/ 7909458 w 8636594"/>
              <a:gd name="connsiteY96" fmla="*/ 726853 h 6266942"/>
              <a:gd name="connsiteX97" fmla="*/ 7941371 w 8636594"/>
              <a:gd name="connsiteY97" fmla="*/ 689010 h 6266942"/>
              <a:gd name="connsiteX98" fmla="*/ 7973518 w 8636594"/>
              <a:gd name="connsiteY98" fmla="*/ 651447 h 6266942"/>
              <a:gd name="connsiteX99" fmla="*/ 8005905 w 8636594"/>
              <a:gd name="connsiteY99" fmla="*/ 614171 h 6266942"/>
              <a:gd name="connsiteX100" fmla="*/ 8038538 w 8636594"/>
              <a:gd name="connsiteY100" fmla="*/ 577189 h 6266942"/>
              <a:gd name="connsiteX101" fmla="*/ 8071421 w 8636594"/>
              <a:gd name="connsiteY101" fmla="*/ 540507 h 6266942"/>
              <a:gd name="connsiteX102" fmla="*/ 8104563 w 8636594"/>
              <a:gd name="connsiteY102" fmla="*/ 504132 h 6266942"/>
              <a:gd name="connsiteX103" fmla="*/ 8137967 w 8636594"/>
              <a:gd name="connsiteY103" fmla="*/ 468072 h 6266942"/>
              <a:gd name="connsiteX104" fmla="*/ 8171641 w 8636594"/>
              <a:gd name="connsiteY104" fmla="*/ 432332 h 6266942"/>
              <a:gd name="connsiteX105" fmla="*/ 8205590 w 8636594"/>
              <a:gd name="connsiteY105" fmla="*/ 396920 h 6266942"/>
              <a:gd name="connsiteX106" fmla="*/ 8239820 w 8636594"/>
              <a:gd name="connsiteY106" fmla="*/ 361843 h 6266942"/>
              <a:gd name="connsiteX107" fmla="*/ 8274337 w 8636594"/>
              <a:gd name="connsiteY107" fmla="*/ 327107 h 6266942"/>
              <a:gd name="connsiteX108" fmla="*/ 8309147 w 8636594"/>
              <a:gd name="connsiteY108" fmla="*/ 292718 h 6266942"/>
              <a:gd name="connsiteX109" fmla="*/ 8344256 w 8636594"/>
              <a:gd name="connsiteY109" fmla="*/ 258685 h 6266942"/>
              <a:gd name="connsiteX110" fmla="*/ 8379669 w 8636594"/>
              <a:gd name="connsiteY110" fmla="*/ 225013 h 6266942"/>
              <a:gd name="connsiteX111" fmla="*/ 8415394 w 8636594"/>
              <a:gd name="connsiteY111" fmla="*/ 191709 h 6266942"/>
              <a:gd name="connsiteX112" fmla="*/ 8451434 w 8636594"/>
              <a:gd name="connsiteY112" fmla="*/ 158780 h 6266942"/>
              <a:gd name="connsiteX113" fmla="*/ 8487798 w 8636594"/>
              <a:gd name="connsiteY113" fmla="*/ 126233 h 6266942"/>
              <a:gd name="connsiteX114" fmla="*/ 8524489 w 8636594"/>
              <a:gd name="connsiteY114" fmla="*/ 94075 h 6266942"/>
              <a:gd name="connsiteX115" fmla="*/ 8561515 w 8636594"/>
              <a:gd name="connsiteY115" fmla="*/ 62312 h 6266942"/>
              <a:gd name="connsiteX116" fmla="*/ 8598881 w 8636594"/>
              <a:gd name="connsiteY116" fmla="*/ 30951 h 6266942"/>
              <a:gd name="connsiteX117" fmla="*/ 8636594 w 8636594"/>
              <a:gd name="connsiteY117" fmla="*/ 0 h 6266942"/>
              <a:gd name="connsiteX0" fmla="*/ 8636594 w 8636594"/>
              <a:gd name="connsiteY0" fmla="*/ 0 h 6247281"/>
              <a:gd name="connsiteX1" fmla="*/ 5293 w 8636594"/>
              <a:gd name="connsiteY1" fmla="*/ 0 h 6247281"/>
              <a:gd name="connsiteX2" fmla="*/ 0 w 8636594"/>
              <a:gd name="connsiteY2" fmla="*/ 5587843 h 6247281"/>
              <a:gd name="connsiteX3" fmla="*/ 1594033 w 8636594"/>
              <a:gd name="connsiteY3" fmla="*/ 5600057 h 6247281"/>
              <a:gd name="connsiteX4" fmla="*/ 1686068 w 8636594"/>
              <a:gd name="connsiteY4" fmla="*/ 5599745 h 6247281"/>
              <a:gd name="connsiteX5" fmla="*/ 3376401 w 8636594"/>
              <a:gd name="connsiteY5" fmla="*/ 6247281 h 6247281"/>
              <a:gd name="connsiteX6" fmla="*/ 3421300 w 8636594"/>
              <a:gd name="connsiteY6" fmla="*/ 6227263 h 6247281"/>
              <a:gd name="connsiteX7" fmla="*/ 3465680 w 8636594"/>
              <a:gd name="connsiteY7" fmla="*/ 6206893 h 6247281"/>
              <a:gd name="connsiteX8" fmla="*/ 3509548 w 8636594"/>
              <a:gd name="connsiteY8" fmla="*/ 6186174 h 6247281"/>
              <a:gd name="connsiteX9" fmla="*/ 3552910 w 8636594"/>
              <a:gd name="connsiteY9" fmla="*/ 6165110 h 6247281"/>
              <a:gd name="connsiteX10" fmla="*/ 3595773 w 8636594"/>
              <a:gd name="connsiteY10" fmla="*/ 6143704 h 6247281"/>
              <a:gd name="connsiteX11" fmla="*/ 3638142 w 8636594"/>
              <a:gd name="connsiteY11" fmla="*/ 6121960 h 6247281"/>
              <a:gd name="connsiteX12" fmla="*/ 3680024 w 8636594"/>
              <a:gd name="connsiteY12" fmla="*/ 6099881 h 6247281"/>
              <a:gd name="connsiteX13" fmla="*/ 3721426 w 8636594"/>
              <a:gd name="connsiteY13" fmla="*/ 6077471 h 6247281"/>
              <a:gd name="connsiteX14" fmla="*/ 3762353 w 8636594"/>
              <a:gd name="connsiteY14" fmla="*/ 6054733 h 6247281"/>
              <a:gd name="connsiteX15" fmla="*/ 3802812 w 8636594"/>
              <a:gd name="connsiteY15" fmla="*/ 6031671 h 6247281"/>
              <a:gd name="connsiteX16" fmla="*/ 3842810 w 8636594"/>
              <a:gd name="connsiteY16" fmla="*/ 6008288 h 6247281"/>
              <a:gd name="connsiteX17" fmla="*/ 3882352 w 8636594"/>
              <a:gd name="connsiteY17" fmla="*/ 5984588 h 6247281"/>
              <a:gd name="connsiteX18" fmla="*/ 3921445 w 8636594"/>
              <a:gd name="connsiteY18" fmla="*/ 5960574 h 6247281"/>
              <a:gd name="connsiteX19" fmla="*/ 3960096 w 8636594"/>
              <a:gd name="connsiteY19" fmla="*/ 5936250 h 6247281"/>
              <a:gd name="connsiteX20" fmla="*/ 3998311 w 8636594"/>
              <a:gd name="connsiteY20" fmla="*/ 5911619 h 6247281"/>
              <a:gd name="connsiteX21" fmla="*/ 4036095 w 8636594"/>
              <a:gd name="connsiteY21" fmla="*/ 5886685 h 6247281"/>
              <a:gd name="connsiteX22" fmla="*/ 4073456 w 8636594"/>
              <a:gd name="connsiteY22" fmla="*/ 5861452 h 6247281"/>
              <a:gd name="connsiteX23" fmla="*/ 4110400 w 8636594"/>
              <a:gd name="connsiteY23" fmla="*/ 5835922 h 6247281"/>
              <a:gd name="connsiteX24" fmla="*/ 4146933 w 8636594"/>
              <a:gd name="connsiteY24" fmla="*/ 5810100 h 6247281"/>
              <a:gd name="connsiteX25" fmla="*/ 4183061 w 8636594"/>
              <a:gd name="connsiteY25" fmla="*/ 5783988 h 6247281"/>
              <a:gd name="connsiteX26" fmla="*/ 4218791 w 8636594"/>
              <a:gd name="connsiteY26" fmla="*/ 5757591 h 6247281"/>
              <a:gd name="connsiteX27" fmla="*/ 4254129 w 8636594"/>
              <a:gd name="connsiteY27" fmla="*/ 5730912 h 6247281"/>
              <a:gd name="connsiteX28" fmla="*/ 4289081 w 8636594"/>
              <a:gd name="connsiteY28" fmla="*/ 5703955 h 6247281"/>
              <a:gd name="connsiteX29" fmla="*/ 4323654 w 8636594"/>
              <a:gd name="connsiteY29" fmla="*/ 5676722 h 6247281"/>
              <a:gd name="connsiteX30" fmla="*/ 4357854 w 8636594"/>
              <a:gd name="connsiteY30" fmla="*/ 5649218 h 6247281"/>
              <a:gd name="connsiteX31" fmla="*/ 4391688 w 8636594"/>
              <a:gd name="connsiteY31" fmla="*/ 5621446 h 6247281"/>
              <a:gd name="connsiteX32" fmla="*/ 4425162 w 8636594"/>
              <a:gd name="connsiteY32" fmla="*/ 5593409 h 6247281"/>
              <a:gd name="connsiteX33" fmla="*/ 4458281 w 8636594"/>
              <a:gd name="connsiteY33" fmla="*/ 5565111 h 6247281"/>
              <a:gd name="connsiteX34" fmla="*/ 4491053 w 8636594"/>
              <a:gd name="connsiteY34" fmla="*/ 5536556 h 6247281"/>
              <a:gd name="connsiteX35" fmla="*/ 4523484 w 8636594"/>
              <a:gd name="connsiteY35" fmla="*/ 5507747 h 6247281"/>
              <a:gd name="connsiteX36" fmla="*/ 4555580 w 8636594"/>
              <a:gd name="connsiteY36" fmla="*/ 5478687 h 6247281"/>
              <a:gd name="connsiteX37" fmla="*/ 4587347 w 8636594"/>
              <a:gd name="connsiteY37" fmla="*/ 5449380 h 6247281"/>
              <a:gd name="connsiteX38" fmla="*/ 4618793 w 8636594"/>
              <a:gd name="connsiteY38" fmla="*/ 5419830 h 6247281"/>
              <a:gd name="connsiteX39" fmla="*/ 4649922 w 8636594"/>
              <a:gd name="connsiteY39" fmla="*/ 5390040 h 6247281"/>
              <a:gd name="connsiteX40" fmla="*/ 4680742 w 8636594"/>
              <a:gd name="connsiteY40" fmla="*/ 5360014 h 6247281"/>
              <a:gd name="connsiteX41" fmla="*/ 4711259 w 8636594"/>
              <a:gd name="connsiteY41" fmla="*/ 5329755 h 6247281"/>
              <a:gd name="connsiteX42" fmla="*/ 4741478 w 8636594"/>
              <a:gd name="connsiteY42" fmla="*/ 5299266 h 6247281"/>
              <a:gd name="connsiteX43" fmla="*/ 4771408 w 8636594"/>
              <a:gd name="connsiteY43" fmla="*/ 5268551 h 6247281"/>
              <a:gd name="connsiteX44" fmla="*/ 4801053 w 8636594"/>
              <a:gd name="connsiteY44" fmla="*/ 5237614 h 6247281"/>
              <a:gd name="connsiteX45" fmla="*/ 4830420 w 8636594"/>
              <a:gd name="connsiteY45" fmla="*/ 5206458 h 6247281"/>
              <a:gd name="connsiteX46" fmla="*/ 4859516 w 8636594"/>
              <a:gd name="connsiteY46" fmla="*/ 5175087 h 6247281"/>
              <a:gd name="connsiteX47" fmla="*/ 4888347 w 8636594"/>
              <a:gd name="connsiteY47" fmla="*/ 5143504 h 6247281"/>
              <a:gd name="connsiteX48" fmla="*/ 4916919 w 8636594"/>
              <a:gd name="connsiteY48" fmla="*/ 5111713 h 6247281"/>
              <a:gd name="connsiteX49" fmla="*/ 4945238 w 8636594"/>
              <a:gd name="connsiteY49" fmla="*/ 5079717 h 6247281"/>
              <a:gd name="connsiteX50" fmla="*/ 4973311 w 8636594"/>
              <a:gd name="connsiteY50" fmla="*/ 5047519 h 6247281"/>
              <a:gd name="connsiteX51" fmla="*/ 5001145 w 8636594"/>
              <a:gd name="connsiteY51" fmla="*/ 5015124 h 6247281"/>
              <a:gd name="connsiteX52" fmla="*/ 5028745 w 8636594"/>
              <a:gd name="connsiteY52" fmla="*/ 4982535 h 6247281"/>
              <a:gd name="connsiteX53" fmla="*/ 5056117 w 8636594"/>
              <a:gd name="connsiteY53" fmla="*/ 4949755 h 6247281"/>
              <a:gd name="connsiteX54" fmla="*/ 5083269 w 8636594"/>
              <a:gd name="connsiteY54" fmla="*/ 4916787 h 6247281"/>
              <a:gd name="connsiteX55" fmla="*/ 5110207 w 8636594"/>
              <a:gd name="connsiteY55" fmla="*/ 4883636 h 6247281"/>
              <a:gd name="connsiteX56" fmla="*/ 5136937 w 8636594"/>
              <a:gd name="connsiteY56" fmla="*/ 4850305 h 6247281"/>
              <a:gd name="connsiteX57" fmla="*/ 5163464 w 8636594"/>
              <a:gd name="connsiteY57" fmla="*/ 4816797 h 6247281"/>
              <a:gd name="connsiteX58" fmla="*/ 5215940 w 8636594"/>
              <a:gd name="connsiteY58" fmla="*/ 4749265 h 6247281"/>
              <a:gd name="connsiteX59" fmla="*/ 5267684 w 8636594"/>
              <a:gd name="connsiteY59" fmla="*/ 4681068 h 6247281"/>
              <a:gd name="connsiteX60" fmla="*/ 5318748 w 8636594"/>
              <a:gd name="connsiteY60" fmla="*/ 4612234 h 6247281"/>
              <a:gd name="connsiteX61" fmla="*/ 5369182 w 8636594"/>
              <a:gd name="connsiteY61" fmla="*/ 4542793 h 6247281"/>
              <a:gd name="connsiteX62" fmla="*/ 5419038 w 8636594"/>
              <a:gd name="connsiteY62" fmla="*/ 4472771 h 6247281"/>
              <a:gd name="connsiteX63" fmla="*/ 5468365 w 8636594"/>
              <a:gd name="connsiteY63" fmla="*/ 4402196 h 6247281"/>
              <a:gd name="connsiteX64" fmla="*/ 5517215 w 8636594"/>
              <a:gd name="connsiteY64" fmla="*/ 4331098 h 6247281"/>
              <a:gd name="connsiteX65" fmla="*/ 5565637 w 8636594"/>
              <a:gd name="connsiteY65" fmla="*/ 4259503 h 6247281"/>
              <a:gd name="connsiteX66" fmla="*/ 5613684 w 8636594"/>
              <a:gd name="connsiteY66" fmla="*/ 4187441 h 6247281"/>
              <a:gd name="connsiteX67" fmla="*/ 5685160 w 8636594"/>
              <a:gd name="connsiteY67" fmla="*/ 4078531 h 6247281"/>
              <a:gd name="connsiteX68" fmla="*/ 5756074 w 8636594"/>
              <a:gd name="connsiteY68" fmla="*/ 3968727 h 6247281"/>
              <a:gd name="connsiteX69" fmla="*/ 5873483 w 8636594"/>
              <a:gd name="connsiteY69" fmla="*/ 3783989 h 6247281"/>
              <a:gd name="connsiteX70" fmla="*/ 6203209 w 8636594"/>
              <a:gd name="connsiteY70" fmla="*/ 3258640 h 6247281"/>
              <a:gd name="connsiteX71" fmla="*/ 6299430 w 8636594"/>
              <a:gd name="connsiteY71" fmla="*/ 3107321 h 6247281"/>
              <a:gd name="connsiteX72" fmla="*/ 6372650 w 8636594"/>
              <a:gd name="connsiteY72" fmla="*/ 2993735 h 6247281"/>
              <a:gd name="connsiteX73" fmla="*/ 6453197 w 8636594"/>
              <a:gd name="connsiteY73" fmla="*/ 2869788 h 6247281"/>
              <a:gd name="connsiteX74" fmla="*/ 6564167 w 8636594"/>
              <a:gd name="connsiteY74" fmla="*/ 2696807 h 6247281"/>
              <a:gd name="connsiteX75" fmla="*/ 6976233 w 8636594"/>
              <a:gd name="connsiteY75" fmla="*/ 2045274 h 6247281"/>
              <a:gd name="connsiteX76" fmla="*/ 7086755 w 8636594"/>
              <a:gd name="connsiteY76" fmla="*/ 1872743 h 6247281"/>
              <a:gd name="connsiteX77" fmla="*/ 7170279 w 8636594"/>
              <a:gd name="connsiteY77" fmla="*/ 1744202 h 6247281"/>
              <a:gd name="connsiteX78" fmla="*/ 7226351 w 8636594"/>
              <a:gd name="connsiteY78" fmla="*/ 1659017 h 6247281"/>
              <a:gd name="connsiteX79" fmla="*/ 7282789 w 8636594"/>
              <a:gd name="connsiteY79" fmla="*/ 1574303 h 6247281"/>
              <a:gd name="connsiteX80" fmla="*/ 7339643 w 8636594"/>
              <a:gd name="connsiteY80" fmla="*/ 1490113 h 6247281"/>
              <a:gd name="connsiteX81" fmla="*/ 7396957 w 8636594"/>
              <a:gd name="connsiteY81" fmla="*/ 1406503 h 6247281"/>
              <a:gd name="connsiteX82" fmla="*/ 7454781 w 8636594"/>
              <a:gd name="connsiteY82" fmla="*/ 1323526 h 6247281"/>
              <a:gd name="connsiteX83" fmla="*/ 7513161 w 8636594"/>
              <a:gd name="connsiteY83" fmla="*/ 1241237 h 6247281"/>
              <a:gd name="connsiteX84" fmla="*/ 7572144 w 8636594"/>
              <a:gd name="connsiteY84" fmla="*/ 1159689 h 6247281"/>
              <a:gd name="connsiteX85" fmla="*/ 7601877 w 8636594"/>
              <a:gd name="connsiteY85" fmla="*/ 1119210 h 6247281"/>
              <a:gd name="connsiteX86" fmla="*/ 7631779 w 8636594"/>
              <a:gd name="connsiteY86" fmla="*/ 1078937 h 6247281"/>
              <a:gd name="connsiteX87" fmla="*/ 7661855 w 8636594"/>
              <a:gd name="connsiteY87" fmla="*/ 1038876 h 6247281"/>
              <a:gd name="connsiteX88" fmla="*/ 7692111 w 8636594"/>
              <a:gd name="connsiteY88" fmla="*/ 999035 h 6247281"/>
              <a:gd name="connsiteX89" fmla="*/ 7722554 w 8636594"/>
              <a:gd name="connsiteY89" fmla="*/ 959419 h 6247281"/>
              <a:gd name="connsiteX90" fmla="*/ 7753190 w 8636594"/>
              <a:gd name="connsiteY90" fmla="*/ 920037 h 6247281"/>
              <a:gd name="connsiteX91" fmla="*/ 7784023 w 8636594"/>
              <a:gd name="connsiteY91" fmla="*/ 880894 h 6247281"/>
              <a:gd name="connsiteX92" fmla="*/ 7815061 w 8636594"/>
              <a:gd name="connsiteY92" fmla="*/ 841997 h 6247281"/>
              <a:gd name="connsiteX93" fmla="*/ 7846308 w 8636594"/>
              <a:gd name="connsiteY93" fmla="*/ 803354 h 6247281"/>
              <a:gd name="connsiteX94" fmla="*/ 7877772 w 8636594"/>
              <a:gd name="connsiteY94" fmla="*/ 764970 h 6247281"/>
              <a:gd name="connsiteX95" fmla="*/ 7909458 w 8636594"/>
              <a:gd name="connsiteY95" fmla="*/ 726853 h 6247281"/>
              <a:gd name="connsiteX96" fmla="*/ 7941371 w 8636594"/>
              <a:gd name="connsiteY96" fmla="*/ 689010 h 6247281"/>
              <a:gd name="connsiteX97" fmla="*/ 7973518 w 8636594"/>
              <a:gd name="connsiteY97" fmla="*/ 651447 h 6247281"/>
              <a:gd name="connsiteX98" fmla="*/ 8005905 w 8636594"/>
              <a:gd name="connsiteY98" fmla="*/ 614171 h 6247281"/>
              <a:gd name="connsiteX99" fmla="*/ 8038538 w 8636594"/>
              <a:gd name="connsiteY99" fmla="*/ 577189 h 6247281"/>
              <a:gd name="connsiteX100" fmla="*/ 8071421 w 8636594"/>
              <a:gd name="connsiteY100" fmla="*/ 540507 h 6247281"/>
              <a:gd name="connsiteX101" fmla="*/ 8104563 w 8636594"/>
              <a:gd name="connsiteY101" fmla="*/ 504132 h 6247281"/>
              <a:gd name="connsiteX102" fmla="*/ 8137967 w 8636594"/>
              <a:gd name="connsiteY102" fmla="*/ 468072 h 6247281"/>
              <a:gd name="connsiteX103" fmla="*/ 8171641 w 8636594"/>
              <a:gd name="connsiteY103" fmla="*/ 432332 h 6247281"/>
              <a:gd name="connsiteX104" fmla="*/ 8205590 w 8636594"/>
              <a:gd name="connsiteY104" fmla="*/ 396920 h 6247281"/>
              <a:gd name="connsiteX105" fmla="*/ 8239820 w 8636594"/>
              <a:gd name="connsiteY105" fmla="*/ 361843 h 6247281"/>
              <a:gd name="connsiteX106" fmla="*/ 8274337 w 8636594"/>
              <a:gd name="connsiteY106" fmla="*/ 327107 h 6247281"/>
              <a:gd name="connsiteX107" fmla="*/ 8309147 w 8636594"/>
              <a:gd name="connsiteY107" fmla="*/ 292718 h 6247281"/>
              <a:gd name="connsiteX108" fmla="*/ 8344256 w 8636594"/>
              <a:gd name="connsiteY108" fmla="*/ 258685 h 6247281"/>
              <a:gd name="connsiteX109" fmla="*/ 8379669 w 8636594"/>
              <a:gd name="connsiteY109" fmla="*/ 225013 h 6247281"/>
              <a:gd name="connsiteX110" fmla="*/ 8415394 w 8636594"/>
              <a:gd name="connsiteY110" fmla="*/ 191709 h 6247281"/>
              <a:gd name="connsiteX111" fmla="*/ 8451434 w 8636594"/>
              <a:gd name="connsiteY111" fmla="*/ 158780 h 6247281"/>
              <a:gd name="connsiteX112" fmla="*/ 8487798 w 8636594"/>
              <a:gd name="connsiteY112" fmla="*/ 126233 h 6247281"/>
              <a:gd name="connsiteX113" fmla="*/ 8524489 w 8636594"/>
              <a:gd name="connsiteY113" fmla="*/ 94075 h 6247281"/>
              <a:gd name="connsiteX114" fmla="*/ 8561515 w 8636594"/>
              <a:gd name="connsiteY114" fmla="*/ 62312 h 6247281"/>
              <a:gd name="connsiteX115" fmla="*/ 8598881 w 8636594"/>
              <a:gd name="connsiteY115" fmla="*/ 30951 h 6247281"/>
              <a:gd name="connsiteX116" fmla="*/ 8636594 w 8636594"/>
              <a:gd name="connsiteY116" fmla="*/ 0 h 6247281"/>
              <a:gd name="connsiteX0" fmla="*/ 8636594 w 8636594"/>
              <a:gd name="connsiteY0" fmla="*/ 0 h 6227263"/>
              <a:gd name="connsiteX1" fmla="*/ 5293 w 8636594"/>
              <a:gd name="connsiteY1" fmla="*/ 0 h 6227263"/>
              <a:gd name="connsiteX2" fmla="*/ 0 w 8636594"/>
              <a:gd name="connsiteY2" fmla="*/ 5587843 h 6227263"/>
              <a:gd name="connsiteX3" fmla="*/ 1594033 w 8636594"/>
              <a:gd name="connsiteY3" fmla="*/ 5600057 h 6227263"/>
              <a:gd name="connsiteX4" fmla="*/ 1686068 w 8636594"/>
              <a:gd name="connsiteY4" fmla="*/ 5599745 h 6227263"/>
              <a:gd name="connsiteX5" fmla="*/ 3421300 w 8636594"/>
              <a:gd name="connsiteY5" fmla="*/ 6227263 h 6227263"/>
              <a:gd name="connsiteX6" fmla="*/ 3465680 w 8636594"/>
              <a:gd name="connsiteY6" fmla="*/ 6206893 h 6227263"/>
              <a:gd name="connsiteX7" fmla="*/ 3509548 w 8636594"/>
              <a:gd name="connsiteY7" fmla="*/ 6186174 h 6227263"/>
              <a:gd name="connsiteX8" fmla="*/ 3552910 w 8636594"/>
              <a:gd name="connsiteY8" fmla="*/ 6165110 h 6227263"/>
              <a:gd name="connsiteX9" fmla="*/ 3595773 w 8636594"/>
              <a:gd name="connsiteY9" fmla="*/ 6143704 h 6227263"/>
              <a:gd name="connsiteX10" fmla="*/ 3638142 w 8636594"/>
              <a:gd name="connsiteY10" fmla="*/ 6121960 h 6227263"/>
              <a:gd name="connsiteX11" fmla="*/ 3680024 w 8636594"/>
              <a:gd name="connsiteY11" fmla="*/ 6099881 h 6227263"/>
              <a:gd name="connsiteX12" fmla="*/ 3721426 w 8636594"/>
              <a:gd name="connsiteY12" fmla="*/ 6077471 h 6227263"/>
              <a:gd name="connsiteX13" fmla="*/ 3762353 w 8636594"/>
              <a:gd name="connsiteY13" fmla="*/ 6054733 h 6227263"/>
              <a:gd name="connsiteX14" fmla="*/ 3802812 w 8636594"/>
              <a:gd name="connsiteY14" fmla="*/ 6031671 h 6227263"/>
              <a:gd name="connsiteX15" fmla="*/ 3842810 w 8636594"/>
              <a:gd name="connsiteY15" fmla="*/ 6008288 h 6227263"/>
              <a:gd name="connsiteX16" fmla="*/ 3882352 w 8636594"/>
              <a:gd name="connsiteY16" fmla="*/ 5984588 h 6227263"/>
              <a:gd name="connsiteX17" fmla="*/ 3921445 w 8636594"/>
              <a:gd name="connsiteY17" fmla="*/ 5960574 h 6227263"/>
              <a:gd name="connsiteX18" fmla="*/ 3960096 w 8636594"/>
              <a:gd name="connsiteY18" fmla="*/ 5936250 h 6227263"/>
              <a:gd name="connsiteX19" fmla="*/ 3998311 w 8636594"/>
              <a:gd name="connsiteY19" fmla="*/ 5911619 h 6227263"/>
              <a:gd name="connsiteX20" fmla="*/ 4036095 w 8636594"/>
              <a:gd name="connsiteY20" fmla="*/ 5886685 h 6227263"/>
              <a:gd name="connsiteX21" fmla="*/ 4073456 w 8636594"/>
              <a:gd name="connsiteY21" fmla="*/ 5861452 h 6227263"/>
              <a:gd name="connsiteX22" fmla="*/ 4110400 w 8636594"/>
              <a:gd name="connsiteY22" fmla="*/ 5835922 h 6227263"/>
              <a:gd name="connsiteX23" fmla="*/ 4146933 w 8636594"/>
              <a:gd name="connsiteY23" fmla="*/ 5810100 h 6227263"/>
              <a:gd name="connsiteX24" fmla="*/ 4183061 w 8636594"/>
              <a:gd name="connsiteY24" fmla="*/ 5783988 h 6227263"/>
              <a:gd name="connsiteX25" fmla="*/ 4218791 w 8636594"/>
              <a:gd name="connsiteY25" fmla="*/ 5757591 h 6227263"/>
              <a:gd name="connsiteX26" fmla="*/ 4254129 w 8636594"/>
              <a:gd name="connsiteY26" fmla="*/ 5730912 h 6227263"/>
              <a:gd name="connsiteX27" fmla="*/ 4289081 w 8636594"/>
              <a:gd name="connsiteY27" fmla="*/ 5703955 h 6227263"/>
              <a:gd name="connsiteX28" fmla="*/ 4323654 w 8636594"/>
              <a:gd name="connsiteY28" fmla="*/ 5676722 h 6227263"/>
              <a:gd name="connsiteX29" fmla="*/ 4357854 w 8636594"/>
              <a:gd name="connsiteY29" fmla="*/ 5649218 h 6227263"/>
              <a:gd name="connsiteX30" fmla="*/ 4391688 w 8636594"/>
              <a:gd name="connsiteY30" fmla="*/ 5621446 h 6227263"/>
              <a:gd name="connsiteX31" fmla="*/ 4425162 w 8636594"/>
              <a:gd name="connsiteY31" fmla="*/ 5593409 h 6227263"/>
              <a:gd name="connsiteX32" fmla="*/ 4458281 w 8636594"/>
              <a:gd name="connsiteY32" fmla="*/ 5565111 h 6227263"/>
              <a:gd name="connsiteX33" fmla="*/ 4491053 w 8636594"/>
              <a:gd name="connsiteY33" fmla="*/ 5536556 h 6227263"/>
              <a:gd name="connsiteX34" fmla="*/ 4523484 w 8636594"/>
              <a:gd name="connsiteY34" fmla="*/ 5507747 h 6227263"/>
              <a:gd name="connsiteX35" fmla="*/ 4555580 w 8636594"/>
              <a:gd name="connsiteY35" fmla="*/ 5478687 h 6227263"/>
              <a:gd name="connsiteX36" fmla="*/ 4587347 w 8636594"/>
              <a:gd name="connsiteY36" fmla="*/ 5449380 h 6227263"/>
              <a:gd name="connsiteX37" fmla="*/ 4618793 w 8636594"/>
              <a:gd name="connsiteY37" fmla="*/ 5419830 h 6227263"/>
              <a:gd name="connsiteX38" fmla="*/ 4649922 w 8636594"/>
              <a:gd name="connsiteY38" fmla="*/ 5390040 h 6227263"/>
              <a:gd name="connsiteX39" fmla="*/ 4680742 w 8636594"/>
              <a:gd name="connsiteY39" fmla="*/ 5360014 h 6227263"/>
              <a:gd name="connsiteX40" fmla="*/ 4711259 w 8636594"/>
              <a:gd name="connsiteY40" fmla="*/ 5329755 h 6227263"/>
              <a:gd name="connsiteX41" fmla="*/ 4741478 w 8636594"/>
              <a:gd name="connsiteY41" fmla="*/ 5299266 h 6227263"/>
              <a:gd name="connsiteX42" fmla="*/ 4771408 w 8636594"/>
              <a:gd name="connsiteY42" fmla="*/ 5268551 h 6227263"/>
              <a:gd name="connsiteX43" fmla="*/ 4801053 w 8636594"/>
              <a:gd name="connsiteY43" fmla="*/ 5237614 h 6227263"/>
              <a:gd name="connsiteX44" fmla="*/ 4830420 w 8636594"/>
              <a:gd name="connsiteY44" fmla="*/ 5206458 h 6227263"/>
              <a:gd name="connsiteX45" fmla="*/ 4859516 w 8636594"/>
              <a:gd name="connsiteY45" fmla="*/ 5175087 h 6227263"/>
              <a:gd name="connsiteX46" fmla="*/ 4888347 w 8636594"/>
              <a:gd name="connsiteY46" fmla="*/ 5143504 h 6227263"/>
              <a:gd name="connsiteX47" fmla="*/ 4916919 w 8636594"/>
              <a:gd name="connsiteY47" fmla="*/ 5111713 h 6227263"/>
              <a:gd name="connsiteX48" fmla="*/ 4945238 w 8636594"/>
              <a:gd name="connsiteY48" fmla="*/ 5079717 h 6227263"/>
              <a:gd name="connsiteX49" fmla="*/ 4973311 w 8636594"/>
              <a:gd name="connsiteY49" fmla="*/ 5047519 h 6227263"/>
              <a:gd name="connsiteX50" fmla="*/ 5001145 w 8636594"/>
              <a:gd name="connsiteY50" fmla="*/ 5015124 h 6227263"/>
              <a:gd name="connsiteX51" fmla="*/ 5028745 w 8636594"/>
              <a:gd name="connsiteY51" fmla="*/ 4982535 h 6227263"/>
              <a:gd name="connsiteX52" fmla="*/ 5056117 w 8636594"/>
              <a:gd name="connsiteY52" fmla="*/ 4949755 h 6227263"/>
              <a:gd name="connsiteX53" fmla="*/ 5083269 w 8636594"/>
              <a:gd name="connsiteY53" fmla="*/ 4916787 h 6227263"/>
              <a:gd name="connsiteX54" fmla="*/ 5110207 w 8636594"/>
              <a:gd name="connsiteY54" fmla="*/ 4883636 h 6227263"/>
              <a:gd name="connsiteX55" fmla="*/ 5136937 w 8636594"/>
              <a:gd name="connsiteY55" fmla="*/ 4850305 h 6227263"/>
              <a:gd name="connsiteX56" fmla="*/ 5163464 w 8636594"/>
              <a:gd name="connsiteY56" fmla="*/ 4816797 h 6227263"/>
              <a:gd name="connsiteX57" fmla="*/ 5215940 w 8636594"/>
              <a:gd name="connsiteY57" fmla="*/ 4749265 h 6227263"/>
              <a:gd name="connsiteX58" fmla="*/ 5267684 w 8636594"/>
              <a:gd name="connsiteY58" fmla="*/ 4681068 h 6227263"/>
              <a:gd name="connsiteX59" fmla="*/ 5318748 w 8636594"/>
              <a:gd name="connsiteY59" fmla="*/ 4612234 h 6227263"/>
              <a:gd name="connsiteX60" fmla="*/ 5369182 w 8636594"/>
              <a:gd name="connsiteY60" fmla="*/ 4542793 h 6227263"/>
              <a:gd name="connsiteX61" fmla="*/ 5419038 w 8636594"/>
              <a:gd name="connsiteY61" fmla="*/ 4472771 h 6227263"/>
              <a:gd name="connsiteX62" fmla="*/ 5468365 w 8636594"/>
              <a:gd name="connsiteY62" fmla="*/ 4402196 h 6227263"/>
              <a:gd name="connsiteX63" fmla="*/ 5517215 w 8636594"/>
              <a:gd name="connsiteY63" fmla="*/ 4331098 h 6227263"/>
              <a:gd name="connsiteX64" fmla="*/ 5565637 w 8636594"/>
              <a:gd name="connsiteY64" fmla="*/ 4259503 h 6227263"/>
              <a:gd name="connsiteX65" fmla="*/ 5613684 w 8636594"/>
              <a:gd name="connsiteY65" fmla="*/ 4187441 h 6227263"/>
              <a:gd name="connsiteX66" fmla="*/ 5685160 w 8636594"/>
              <a:gd name="connsiteY66" fmla="*/ 4078531 h 6227263"/>
              <a:gd name="connsiteX67" fmla="*/ 5756074 w 8636594"/>
              <a:gd name="connsiteY67" fmla="*/ 3968727 h 6227263"/>
              <a:gd name="connsiteX68" fmla="*/ 5873483 w 8636594"/>
              <a:gd name="connsiteY68" fmla="*/ 3783989 h 6227263"/>
              <a:gd name="connsiteX69" fmla="*/ 6203209 w 8636594"/>
              <a:gd name="connsiteY69" fmla="*/ 3258640 h 6227263"/>
              <a:gd name="connsiteX70" fmla="*/ 6299430 w 8636594"/>
              <a:gd name="connsiteY70" fmla="*/ 3107321 h 6227263"/>
              <a:gd name="connsiteX71" fmla="*/ 6372650 w 8636594"/>
              <a:gd name="connsiteY71" fmla="*/ 2993735 h 6227263"/>
              <a:gd name="connsiteX72" fmla="*/ 6453197 w 8636594"/>
              <a:gd name="connsiteY72" fmla="*/ 2869788 h 6227263"/>
              <a:gd name="connsiteX73" fmla="*/ 6564167 w 8636594"/>
              <a:gd name="connsiteY73" fmla="*/ 2696807 h 6227263"/>
              <a:gd name="connsiteX74" fmla="*/ 6976233 w 8636594"/>
              <a:gd name="connsiteY74" fmla="*/ 2045274 h 6227263"/>
              <a:gd name="connsiteX75" fmla="*/ 7086755 w 8636594"/>
              <a:gd name="connsiteY75" fmla="*/ 1872743 h 6227263"/>
              <a:gd name="connsiteX76" fmla="*/ 7170279 w 8636594"/>
              <a:gd name="connsiteY76" fmla="*/ 1744202 h 6227263"/>
              <a:gd name="connsiteX77" fmla="*/ 7226351 w 8636594"/>
              <a:gd name="connsiteY77" fmla="*/ 1659017 h 6227263"/>
              <a:gd name="connsiteX78" fmla="*/ 7282789 w 8636594"/>
              <a:gd name="connsiteY78" fmla="*/ 1574303 h 6227263"/>
              <a:gd name="connsiteX79" fmla="*/ 7339643 w 8636594"/>
              <a:gd name="connsiteY79" fmla="*/ 1490113 h 6227263"/>
              <a:gd name="connsiteX80" fmla="*/ 7396957 w 8636594"/>
              <a:gd name="connsiteY80" fmla="*/ 1406503 h 6227263"/>
              <a:gd name="connsiteX81" fmla="*/ 7454781 w 8636594"/>
              <a:gd name="connsiteY81" fmla="*/ 1323526 h 6227263"/>
              <a:gd name="connsiteX82" fmla="*/ 7513161 w 8636594"/>
              <a:gd name="connsiteY82" fmla="*/ 1241237 h 6227263"/>
              <a:gd name="connsiteX83" fmla="*/ 7572144 w 8636594"/>
              <a:gd name="connsiteY83" fmla="*/ 1159689 h 6227263"/>
              <a:gd name="connsiteX84" fmla="*/ 7601877 w 8636594"/>
              <a:gd name="connsiteY84" fmla="*/ 1119210 h 6227263"/>
              <a:gd name="connsiteX85" fmla="*/ 7631779 w 8636594"/>
              <a:gd name="connsiteY85" fmla="*/ 1078937 h 6227263"/>
              <a:gd name="connsiteX86" fmla="*/ 7661855 w 8636594"/>
              <a:gd name="connsiteY86" fmla="*/ 1038876 h 6227263"/>
              <a:gd name="connsiteX87" fmla="*/ 7692111 w 8636594"/>
              <a:gd name="connsiteY87" fmla="*/ 999035 h 6227263"/>
              <a:gd name="connsiteX88" fmla="*/ 7722554 w 8636594"/>
              <a:gd name="connsiteY88" fmla="*/ 959419 h 6227263"/>
              <a:gd name="connsiteX89" fmla="*/ 7753190 w 8636594"/>
              <a:gd name="connsiteY89" fmla="*/ 920037 h 6227263"/>
              <a:gd name="connsiteX90" fmla="*/ 7784023 w 8636594"/>
              <a:gd name="connsiteY90" fmla="*/ 880894 h 6227263"/>
              <a:gd name="connsiteX91" fmla="*/ 7815061 w 8636594"/>
              <a:gd name="connsiteY91" fmla="*/ 841997 h 6227263"/>
              <a:gd name="connsiteX92" fmla="*/ 7846308 w 8636594"/>
              <a:gd name="connsiteY92" fmla="*/ 803354 h 6227263"/>
              <a:gd name="connsiteX93" fmla="*/ 7877772 w 8636594"/>
              <a:gd name="connsiteY93" fmla="*/ 764970 h 6227263"/>
              <a:gd name="connsiteX94" fmla="*/ 7909458 w 8636594"/>
              <a:gd name="connsiteY94" fmla="*/ 726853 h 6227263"/>
              <a:gd name="connsiteX95" fmla="*/ 7941371 w 8636594"/>
              <a:gd name="connsiteY95" fmla="*/ 689010 h 6227263"/>
              <a:gd name="connsiteX96" fmla="*/ 7973518 w 8636594"/>
              <a:gd name="connsiteY96" fmla="*/ 651447 h 6227263"/>
              <a:gd name="connsiteX97" fmla="*/ 8005905 w 8636594"/>
              <a:gd name="connsiteY97" fmla="*/ 614171 h 6227263"/>
              <a:gd name="connsiteX98" fmla="*/ 8038538 w 8636594"/>
              <a:gd name="connsiteY98" fmla="*/ 577189 h 6227263"/>
              <a:gd name="connsiteX99" fmla="*/ 8071421 w 8636594"/>
              <a:gd name="connsiteY99" fmla="*/ 540507 h 6227263"/>
              <a:gd name="connsiteX100" fmla="*/ 8104563 w 8636594"/>
              <a:gd name="connsiteY100" fmla="*/ 504132 h 6227263"/>
              <a:gd name="connsiteX101" fmla="*/ 8137967 w 8636594"/>
              <a:gd name="connsiteY101" fmla="*/ 468072 h 6227263"/>
              <a:gd name="connsiteX102" fmla="*/ 8171641 w 8636594"/>
              <a:gd name="connsiteY102" fmla="*/ 432332 h 6227263"/>
              <a:gd name="connsiteX103" fmla="*/ 8205590 w 8636594"/>
              <a:gd name="connsiteY103" fmla="*/ 396920 h 6227263"/>
              <a:gd name="connsiteX104" fmla="*/ 8239820 w 8636594"/>
              <a:gd name="connsiteY104" fmla="*/ 361843 h 6227263"/>
              <a:gd name="connsiteX105" fmla="*/ 8274337 w 8636594"/>
              <a:gd name="connsiteY105" fmla="*/ 327107 h 6227263"/>
              <a:gd name="connsiteX106" fmla="*/ 8309147 w 8636594"/>
              <a:gd name="connsiteY106" fmla="*/ 292718 h 6227263"/>
              <a:gd name="connsiteX107" fmla="*/ 8344256 w 8636594"/>
              <a:gd name="connsiteY107" fmla="*/ 258685 h 6227263"/>
              <a:gd name="connsiteX108" fmla="*/ 8379669 w 8636594"/>
              <a:gd name="connsiteY108" fmla="*/ 225013 h 6227263"/>
              <a:gd name="connsiteX109" fmla="*/ 8415394 w 8636594"/>
              <a:gd name="connsiteY109" fmla="*/ 191709 h 6227263"/>
              <a:gd name="connsiteX110" fmla="*/ 8451434 w 8636594"/>
              <a:gd name="connsiteY110" fmla="*/ 158780 h 6227263"/>
              <a:gd name="connsiteX111" fmla="*/ 8487798 w 8636594"/>
              <a:gd name="connsiteY111" fmla="*/ 126233 h 6227263"/>
              <a:gd name="connsiteX112" fmla="*/ 8524489 w 8636594"/>
              <a:gd name="connsiteY112" fmla="*/ 94075 h 6227263"/>
              <a:gd name="connsiteX113" fmla="*/ 8561515 w 8636594"/>
              <a:gd name="connsiteY113" fmla="*/ 62312 h 6227263"/>
              <a:gd name="connsiteX114" fmla="*/ 8598881 w 8636594"/>
              <a:gd name="connsiteY114" fmla="*/ 30951 h 6227263"/>
              <a:gd name="connsiteX115" fmla="*/ 8636594 w 8636594"/>
              <a:gd name="connsiteY115" fmla="*/ 0 h 6227263"/>
              <a:gd name="connsiteX0" fmla="*/ 8636594 w 8636594"/>
              <a:gd name="connsiteY0" fmla="*/ 0 h 6206893"/>
              <a:gd name="connsiteX1" fmla="*/ 5293 w 8636594"/>
              <a:gd name="connsiteY1" fmla="*/ 0 h 6206893"/>
              <a:gd name="connsiteX2" fmla="*/ 0 w 8636594"/>
              <a:gd name="connsiteY2" fmla="*/ 5587843 h 6206893"/>
              <a:gd name="connsiteX3" fmla="*/ 1594033 w 8636594"/>
              <a:gd name="connsiteY3" fmla="*/ 5600057 h 6206893"/>
              <a:gd name="connsiteX4" fmla="*/ 1686068 w 8636594"/>
              <a:gd name="connsiteY4" fmla="*/ 5599745 h 6206893"/>
              <a:gd name="connsiteX5" fmla="*/ 3465680 w 8636594"/>
              <a:gd name="connsiteY5" fmla="*/ 6206893 h 6206893"/>
              <a:gd name="connsiteX6" fmla="*/ 3509548 w 8636594"/>
              <a:gd name="connsiteY6" fmla="*/ 6186174 h 6206893"/>
              <a:gd name="connsiteX7" fmla="*/ 3552910 w 8636594"/>
              <a:gd name="connsiteY7" fmla="*/ 6165110 h 6206893"/>
              <a:gd name="connsiteX8" fmla="*/ 3595773 w 8636594"/>
              <a:gd name="connsiteY8" fmla="*/ 6143704 h 6206893"/>
              <a:gd name="connsiteX9" fmla="*/ 3638142 w 8636594"/>
              <a:gd name="connsiteY9" fmla="*/ 6121960 h 6206893"/>
              <a:gd name="connsiteX10" fmla="*/ 3680024 w 8636594"/>
              <a:gd name="connsiteY10" fmla="*/ 6099881 h 6206893"/>
              <a:gd name="connsiteX11" fmla="*/ 3721426 w 8636594"/>
              <a:gd name="connsiteY11" fmla="*/ 6077471 h 6206893"/>
              <a:gd name="connsiteX12" fmla="*/ 3762353 w 8636594"/>
              <a:gd name="connsiteY12" fmla="*/ 6054733 h 6206893"/>
              <a:gd name="connsiteX13" fmla="*/ 3802812 w 8636594"/>
              <a:gd name="connsiteY13" fmla="*/ 6031671 h 6206893"/>
              <a:gd name="connsiteX14" fmla="*/ 3842810 w 8636594"/>
              <a:gd name="connsiteY14" fmla="*/ 6008288 h 6206893"/>
              <a:gd name="connsiteX15" fmla="*/ 3882352 w 8636594"/>
              <a:gd name="connsiteY15" fmla="*/ 5984588 h 6206893"/>
              <a:gd name="connsiteX16" fmla="*/ 3921445 w 8636594"/>
              <a:gd name="connsiteY16" fmla="*/ 5960574 h 6206893"/>
              <a:gd name="connsiteX17" fmla="*/ 3960096 w 8636594"/>
              <a:gd name="connsiteY17" fmla="*/ 5936250 h 6206893"/>
              <a:gd name="connsiteX18" fmla="*/ 3998311 w 8636594"/>
              <a:gd name="connsiteY18" fmla="*/ 5911619 h 6206893"/>
              <a:gd name="connsiteX19" fmla="*/ 4036095 w 8636594"/>
              <a:gd name="connsiteY19" fmla="*/ 5886685 h 6206893"/>
              <a:gd name="connsiteX20" fmla="*/ 4073456 w 8636594"/>
              <a:gd name="connsiteY20" fmla="*/ 5861452 h 6206893"/>
              <a:gd name="connsiteX21" fmla="*/ 4110400 w 8636594"/>
              <a:gd name="connsiteY21" fmla="*/ 5835922 h 6206893"/>
              <a:gd name="connsiteX22" fmla="*/ 4146933 w 8636594"/>
              <a:gd name="connsiteY22" fmla="*/ 5810100 h 6206893"/>
              <a:gd name="connsiteX23" fmla="*/ 4183061 w 8636594"/>
              <a:gd name="connsiteY23" fmla="*/ 5783988 h 6206893"/>
              <a:gd name="connsiteX24" fmla="*/ 4218791 w 8636594"/>
              <a:gd name="connsiteY24" fmla="*/ 5757591 h 6206893"/>
              <a:gd name="connsiteX25" fmla="*/ 4254129 w 8636594"/>
              <a:gd name="connsiteY25" fmla="*/ 5730912 h 6206893"/>
              <a:gd name="connsiteX26" fmla="*/ 4289081 w 8636594"/>
              <a:gd name="connsiteY26" fmla="*/ 5703955 h 6206893"/>
              <a:gd name="connsiteX27" fmla="*/ 4323654 w 8636594"/>
              <a:gd name="connsiteY27" fmla="*/ 5676722 h 6206893"/>
              <a:gd name="connsiteX28" fmla="*/ 4357854 w 8636594"/>
              <a:gd name="connsiteY28" fmla="*/ 5649218 h 6206893"/>
              <a:gd name="connsiteX29" fmla="*/ 4391688 w 8636594"/>
              <a:gd name="connsiteY29" fmla="*/ 5621446 h 6206893"/>
              <a:gd name="connsiteX30" fmla="*/ 4425162 w 8636594"/>
              <a:gd name="connsiteY30" fmla="*/ 5593409 h 6206893"/>
              <a:gd name="connsiteX31" fmla="*/ 4458281 w 8636594"/>
              <a:gd name="connsiteY31" fmla="*/ 5565111 h 6206893"/>
              <a:gd name="connsiteX32" fmla="*/ 4491053 w 8636594"/>
              <a:gd name="connsiteY32" fmla="*/ 5536556 h 6206893"/>
              <a:gd name="connsiteX33" fmla="*/ 4523484 w 8636594"/>
              <a:gd name="connsiteY33" fmla="*/ 5507747 h 6206893"/>
              <a:gd name="connsiteX34" fmla="*/ 4555580 w 8636594"/>
              <a:gd name="connsiteY34" fmla="*/ 5478687 h 6206893"/>
              <a:gd name="connsiteX35" fmla="*/ 4587347 w 8636594"/>
              <a:gd name="connsiteY35" fmla="*/ 5449380 h 6206893"/>
              <a:gd name="connsiteX36" fmla="*/ 4618793 w 8636594"/>
              <a:gd name="connsiteY36" fmla="*/ 5419830 h 6206893"/>
              <a:gd name="connsiteX37" fmla="*/ 4649922 w 8636594"/>
              <a:gd name="connsiteY37" fmla="*/ 5390040 h 6206893"/>
              <a:gd name="connsiteX38" fmla="*/ 4680742 w 8636594"/>
              <a:gd name="connsiteY38" fmla="*/ 5360014 h 6206893"/>
              <a:gd name="connsiteX39" fmla="*/ 4711259 w 8636594"/>
              <a:gd name="connsiteY39" fmla="*/ 5329755 h 6206893"/>
              <a:gd name="connsiteX40" fmla="*/ 4741478 w 8636594"/>
              <a:gd name="connsiteY40" fmla="*/ 5299266 h 6206893"/>
              <a:gd name="connsiteX41" fmla="*/ 4771408 w 8636594"/>
              <a:gd name="connsiteY41" fmla="*/ 5268551 h 6206893"/>
              <a:gd name="connsiteX42" fmla="*/ 4801053 w 8636594"/>
              <a:gd name="connsiteY42" fmla="*/ 5237614 h 6206893"/>
              <a:gd name="connsiteX43" fmla="*/ 4830420 w 8636594"/>
              <a:gd name="connsiteY43" fmla="*/ 5206458 h 6206893"/>
              <a:gd name="connsiteX44" fmla="*/ 4859516 w 8636594"/>
              <a:gd name="connsiteY44" fmla="*/ 5175087 h 6206893"/>
              <a:gd name="connsiteX45" fmla="*/ 4888347 w 8636594"/>
              <a:gd name="connsiteY45" fmla="*/ 5143504 h 6206893"/>
              <a:gd name="connsiteX46" fmla="*/ 4916919 w 8636594"/>
              <a:gd name="connsiteY46" fmla="*/ 5111713 h 6206893"/>
              <a:gd name="connsiteX47" fmla="*/ 4945238 w 8636594"/>
              <a:gd name="connsiteY47" fmla="*/ 5079717 h 6206893"/>
              <a:gd name="connsiteX48" fmla="*/ 4973311 w 8636594"/>
              <a:gd name="connsiteY48" fmla="*/ 5047519 h 6206893"/>
              <a:gd name="connsiteX49" fmla="*/ 5001145 w 8636594"/>
              <a:gd name="connsiteY49" fmla="*/ 5015124 h 6206893"/>
              <a:gd name="connsiteX50" fmla="*/ 5028745 w 8636594"/>
              <a:gd name="connsiteY50" fmla="*/ 4982535 h 6206893"/>
              <a:gd name="connsiteX51" fmla="*/ 5056117 w 8636594"/>
              <a:gd name="connsiteY51" fmla="*/ 4949755 h 6206893"/>
              <a:gd name="connsiteX52" fmla="*/ 5083269 w 8636594"/>
              <a:gd name="connsiteY52" fmla="*/ 4916787 h 6206893"/>
              <a:gd name="connsiteX53" fmla="*/ 5110207 w 8636594"/>
              <a:gd name="connsiteY53" fmla="*/ 4883636 h 6206893"/>
              <a:gd name="connsiteX54" fmla="*/ 5136937 w 8636594"/>
              <a:gd name="connsiteY54" fmla="*/ 4850305 h 6206893"/>
              <a:gd name="connsiteX55" fmla="*/ 5163464 w 8636594"/>
              <a:gd name="connsiteY55" fmla="*/ 4816797 h 6206893"/>
              <a:gd name="connsiteX56" fmla="*/ 5215940 w 8636594"/>
              <a:gd name="connsiteY56" fmla="*/ 4749265 h 6206893"/>
              <a:gd name="connsiteX57" fmla="*/ 5267684 w 8636594"/>
              <a:gd name="connsiteY57" fmla="*/ 4681068 h 6206893"/>
              <a:gd name="connsiteX58" fmla="*/ 5318748 w 8636594"/>
              <a:gd name="connsiteY58" fmla="*/ 4612234 h 6206893"/>
              <a:gd name="connsiteX59" fmla="*/ 5369182 w 8636594"/>
              <a:gd name="connsiteY59" fmla="*/ 4542793 h 6206893"/>
              <a:gd name="connsiteX60" fmla="*/ 5419038 w 8636594"/>
              <a:gd name="connsiteY60" fmla="*/ 4472771 h 6206893"/>
              <a:gd name="connsiteX61" fmla="*/ 5468365 w 8636594"/>
              <a:gd name="connsiteY61" fmla="*/ 4402196 h 6206893"/>
              <a:gd name="connsiteX62" fmla="*/ 5517215 w 8636594"/>
              <a:gd name="connsiteY62" fmla="*/ 4331098 h 6206893"/>
              <a:gd name="connsiteX63" fmla="*/ 5565637 w 8636594"/>
              <a:gd name="connsiteY63" fmla="*/ 4259503 h 6206893"/>
              <a:gd name="connsiteX64" fmla="*/ 5613684 w 8636594"/>
              <a:gd name="connsiteY64" fmla="*/ 4187441 h 6206893"/>
              <a:gd name="connsiteX65" fmla="*/ 5685160 w 8636594"/>
              <a:gd name="connsiteY65" fmla="*/ 4078531 h 6206893"/>
              <a:gd name="connsiteX66" fmla="*/ 5756074 w 8636594"/>
              <a:gd name="connsiteY66" fmla="*/ 3968727 h 6206893"/>
              <a:gd name="connsiteX67" fmla="*/ 5873483 w 8636594"/>
              <a:gd name="connsiteY67" fmla="*/ 3783989 h 6206893"/>
              <a:gd name="connsiteX68" fmla="*/ 6203209 w 8636594"/>
              <a:gd name="connsiteY68" fmla="*/ 3258640 h 6206893"/>
              <a:gd name="connsiteX69" fmla="*/ 6299430 w 8636594"/>
              <a:gd name="connsiteY69" fmla="*/ 3107321 h 6206893"/>
              <a:gd name="connsiteX70" fmla="*/ 6372650 w 8636594"/>
              <a:gd name="connsiteY70" fmla="*/ 2993735 h 6206893"/>
              <a:gd name="connsiteX71" fmla="*/ 6453197 w 8636594"/>
              <a:gd name="connsiteY71" fmla="*/ 2869788 h 6206893"/>
              <a:gd name="connsiteX72" fmla="*/ 6564167 w 8636594"/>
              <a:gd name="connsiteY72" fmla="*/ 2696807 h 6206893"/>
              <a:gd name="connsiteX73" fmla="*/ 6976233 w 8636594"/>
              <a:gd name="connsiteY73" fmla="*/ 2045274 h 6206893"/>
              <a:gd name="connsiteX74" fmla="*/ 7086755 w 8636594"/>
              <a:gd name="connsiteY74" fmla="*/ 1872743 h 6206893"/>
              <a:gd name="connsiteX75" fmla="*/ 7170279 w 8636594"/>
              <a:gd name="connsiteY75" fmla="*/ 1744202 h 6206893"/>
              <a:gd name="connsiteX76" fmla="*/ 7226351 w 8636594"/>
              <a:gd name="connsiteY76" fmla="*/ 1659017 h 6206893"/>
              <a:gd name="connsiteX77" fmla="*/ 7282789 w 8636594"/>
              <a:gd name="connsiteY77" fmla="*/ 1574303 h 6206893"/>
              <a:gd name="connsiteX78" fmla="*/ 7339643 w 8636594"/>
              <a:gd name="connsiteY78" fmla="*/ 1490113 h 6206893"/>
              <a:gd name="connsiteX79" fmla="*/ 7396957 w 8636594"/>
              <a:gd name="connsiteY79" fmla="*/ 1406503 h 6206893"/>
              <a:gd name="connsiteX80" fmla="*/ 7454781 w 8636594"/>
              <a:gd name="connsiteY80" fmla="*/ 1323526 h 6206893"/>
              <a:gd name="connsiteX81" fmla="*/ 7513161 w 8636594"/>
              <a:gd name="connsiteY81" fmla="*/ 1241237 h 6206893"/>
              <a:gd name="connsiteX82" fmla="*/ 7572144 w 8636594"/>
              <a:gd name="connsiteY82" fmla="*/ 1159689 h 6206893"/>
              <a:gd name="connsiteX83" fmla="*/ 7601877 w 8636594"/>
              <a:gd name="connsiteY83" fmla="*/ 1119210 h 6206893"/>
              <a:gd name="connsiteX84" fmla="*/ 7631779 w 8636594"/>
              <a:gd name="connsiteY84" fmla="*/ 1078937 h 6206893"/>
              <a:gd name="connsiteX85" fmla="*/ 7661855 w 8636594"/>
              <a:gd name="connsiteY85" fmla="*/ 1038876 h 6206893"/>
              <a:gd name="connsiteX86" fmla="*/ 7692111 w 8636594"/>
              <a:gd name="connsiteY86" fmla="*/ 999035 h 6206893"/>
              <a:gd name="connsiteX87" fmla="*/ 7722554 w 8636594"/>
              <a:gd name="connsiteY87" fmla="*/ 959419 h 6206893"/>
              <a:gd name="connsiteX88" fmla="*/ 7753190 w 8636594"/>
              <a:gd name="connsiteY88" fmla="*/ 920037 h 6206893"/>
              <a:gd name="connsiteX89" fmla="*/ 7784023 w 8636594"/>
              <a:gd name="connsiteY89" fmla="*/ 880894 h 6206893"/>
              <a:gd name="connsiteX90" fmla="*/ 7815061 w 8636594"/>
              <a:gd name="connsiteY90" fmla="*/ 841997 h 6206893"/>
              <a:gd name="connsiteX91" fmla="*/ 7846308 w 8636594"/>
              <a:gd name="connsiteY91" fmla="*/ 803354 h 6206893"/>
              <a:gd name="connsiteX92" fmla="*/ 7877772 w 8636594"/>
              <a:gd name="connsiteY92" fmla="*/ 764970 h 6206893"/>
              <a:gd name="connsiteX93" fmla="*/ 7909458 w 8636594"/>
              <a:gd name="connsiteY93" fmla="*/ 726853 h 6206893"/>
              <a:gd name="connsiteX94" fmla="*/ 7941371 w 8636594"/>
              <a:gd name="connsiteY94" fmla="*/ 689010 h 6206893"/>
              <a:gd name="connsiteX95" fmla="*/ 7973518 w 8636594"/>
              <a:gd name="connsiteY95" fmla="*/ 651447 h 6206893"/>
              <a:gd name="connsiteX96" fmla="*/ 8005905 w 8636594"/>
              <a:gd name="connsiteY96" fmla="*/ 614171 h 6206893"/>
              <a:gd name="connsiteX97" fmla="*/ 8038538 w 8636594"/>
              <a:gd name="connsiteY97" fmla="*/ 577189 h 6206893"/>
              <a:gd name="connsiteX98" fmla="*/ 8071421 w 8636594"/>
              <a:gd name="connsiteY98" fmla="*/ 540507 h 6206893"/>
              <a:gd name="connsiteX99" fmla="*/ 8104563 w 8636594"/>
              <a:gd name="connsiteY99" fmla="*/ 504132 h 6206893"/>
              <a:gd name="connsiteX100" fmla="*/ 8137967 w 8636594"/>
              <a:gd name="connsiteY100" fmla="*/ 468072 h 6206893"/>
              <a:gd name="connsiteX101" fmla="*/ 8171641 w 8636594"/>
              <a:gd name="connsiteY101" fmla="*/ 432332 h 6206893"/>
              <a:gd name="connsiteX102" fmla="*/ 8205590 w 8636594"/>
              <a:gd name="connsiteY102" fmla="*/ 396920 h 6206893"/>
              <a:gd name="connsiteX103" fmla="*/ 8239820 w 8636594"/>
              <a:gd name="connsiteY103" fmla="*/ 361843 h 6206893"/>
              <a:gd name="connsiteX104" fmla="*/ 8274337 w 8636594"/>
              <a:gd name="connsiteY104" fmla="*/ 327107 h 6206893"/>
              <a:gd name="connsiteX105" fmla="*/ 8309147 w 8636594"/>
              <a:gd name="connsiteY105" fmla="*/ 292718 h 6206893"/>
              <a:gd name="connsiteX106" fmla="*/ 8344256 w 8636594"/>
              <a:gd name="connsiteY106" fmla="*/ 258685 h 6206893"/>
              <a:gd name="connsiteX107" fmla="*/ 8379669 w 8636594"/>
              <a:gd name="connsiteY107" fmla="*/ 225013 h 6206893"/>
              <a:gd name="connsiteX108" fmla="*/ 8415394 w 8636594"/>
              <a:gd name="connsiteY108" fmla="*/ 191709 h 6206893"/>
              <a:gd name="connsiteX109" fmla="*/ 8451434 w 8636594"/>
              <a:gd name="connsiteY109" fmla="*/ 158780 h 6206893"/>
              <a:gd name="connsiteX110" fmla="*/ 8487798 w 8636594"/>
              <a:gd name="connsiteY110" fmla="*/ 126233 h 6206893"/>
              <a:gd name="connsiteX111" fmla="*/ 8524489 w 8636594"/>
              <a:gd name="connsiteY111" fmla="*/ 94075 h 6206893"/>
              <a:gd name="connsiteX112" fmla="*/ 8561515 w 8636594"/>
              <a:gd name="connsiteY112" fmla="*/ 62312 h 6206893"/>
              <a:gd name="connsiteX113" fmla="*/ 8598881 w 8636594"/>
              <a:gd name="connsiteY113" fmla="*/ 30951 h 6206893"/>
              <a:gd name="connsiteX114" fmla="*/ 8636594 w 8636594"/>
              <a:gd name="connsiteY114" fmla="*/ 0 h 6206893"/>
              <a:gd name="connsiteX0" fmla="*/ 8636594 w 8636594"/>
              <a:gd name="connsiteY0" fmla="*/ 0 h 6186174"/>
              <a:gd name="connsiteX1" fmla="*/ 5293 w 8636594"/>
              <a:gd name="connsiteY1" fmla="*/ 0 h 6186174"/>
              <a:gd name="connsiteX2" fmla="*/ 0 w 8636594"/>
              <a:gd name="connsiteY2" fmla="*/ 5587843 h 6186174"/>
              <a:gd name="connsiteX3" fmla="*/ 1594033 w 8636594"/>
              <a:gd name="connsiteY3" fmla="*/ 5600057 h 6186174"/>
              <a:gd name="connsiteX4" fmla="*/ 1686068 w 8636594"/>
              <a:gd name="connsiteY4" fmla="*/ 5599745 h 6186174"/>
              <a:gd name="connsiteX5" fmla="*/ 3509548 w 8636594"/>
              <a:gd name="connsiteY5" fmla="*/ 6186174 h 6186174"/>
              <a:gd name="connsiteX6" fmla="*/ 3552910 w 8636594"/>
              <a:gd name="connsiteY6" fmla="*/ 6165110 h 6186174"/>
              <a:gd name="connsiteX7" fmla="*/ 3595773 w 8636594"/>
              <a:gd name="connsiteY7" fmla="*/ 6143704 h 6186174"/>
              <a:gd name="connsiteX8" fmla="*/ 3638142 w 8636594"/>
              <a:gd name="connsiteY8" fmla="*/ 6121960 h 6186174"/>
              <a:gd name="connsiteX9" fmla="*/ 3680024 w 8636594"/>
              <a:gd name="connsiteY9" fmla="*/ 6099881 h 6186174"/>
              <a:gd name="connsiteX10" fmla="*/ 3721426 w 8636594"/>
              <a:gd name="connsiteY10" fmla="*/ 6077471 h 6186174"/>
              <a:gd name="connsiteX11" fmla="*/ 3762353 w 8636594"/>
              <a:gd name="connsiteY11" fmla="*/ 6054733 h 6186174"/>
              <a:gd name="connsiteX12" fmla="*/ 3802812 w 8636594"/>
              <a:gd name="connsiteY12" fmla="*/ 6031671 h 6186174"/>
              <a:gd name="connsiteX13" fmla="*/ 3842810 w 8636594"/>
              <a:gd name="connsiteY13" fmla="*/ 6008288 h 6186174"/>
              <a:gd name="connsiteX14" fmla="*/ 3882352 w 8636594"/>
              <a:gd name="connsiteY14" fmla="*/ 5984588 h 6186174"/>
              <a:gd name="connsiteX15" fmla="*/ 3921445 w 8636594"/>
              <a:gd name="connsiteY15" fmla="*/ 5960574 h 6186174"/>
              <a:gd name="connsiteX16" fmla="*/ 3960096 w 8636594"/>
              <a:gd name="connsiteY16" fmla="*/ 5936250 h 6186174"/>
              <a:gd name="connsiteX17" fmla="*/ 3998311 w 8636594"/>
              <a:gd name="connsiteY17" fmla="*/ 5911619 h 6186174"/>
              <a:gd name="connsiteX18" fmla="*/ 4036095 w 8636594"/>
              <a:gd name="connsiteY18" fmla="*/ 5886685 h 6186174"/>
              <a:gd name="connsiteX19" fmla="*/ 4073456 w 8636594"/>
              <a:gd name="connsiteY19" fmla="*/ 5861452 h 6186174"/>
              <a:gd name="connsiteX20" fmla="*/ 4110400 w 8636594"/>
              <a:gd name="connsiteY20" fmla="*/ 5835922 h 6186174"/>
              <a:gd name="connsiteX21" fmla="*/ 4146933 w 8636594"/>
              <a:gd name="connsiteY21" fmla="*/ 5810100 h 6186174"/>
              <a:gd name="connsiteX22" fmla="*/ 4183061 w 8636594"/>
              <a:gd name="connsiteY22" fmla="*/ 5783988 h 6186174"/>
              <a:gd name="connsiteX23" fmla="*/ 4218791 w 8636594"/>
              <a:gd name="connsiteY23" fmla="*/ 5757591 h 6186174"/>
              <a:gd name="connsiteX24" fmla="*/ 4254129 w 8636594"/>
              <a:gd name="connsiteY24" fmla="*/ 5730912 h 6186174"/>
              <a:gd name="connsiteX25" fmla="*/ 4289081 w 8636594"/>
              <a:gd name="connsiteY25" fmla="*/ 5703955 h 6186174"/>
              <a:gd name="connsiteX26" fmla="*/ 4323654 w 8636594"/>
              <a:gd name="connsiteY26" fmla="*/ 5676722 h 6186174"/>
              <a:gd name="connsiteX27" fmla="*/ 4357854 w 8636594"/>
              <a:gd name="connsiteY27" fmla="*/ 5649218 h 6186174"/>
              <a:gd name="connsiteX28" fmla="*/ 4391688 w 8636594"/>
              <a:gd name="connsiteY28" fmla="*/ 5621446 h 6186174"/>
              <a:gd name="connsiteX29" fmla="*/ 4425162 w 8636594"/>
              <a:gd name="connsiteY29" fmla="*/ 5593409 h 6186174"/>
              <a:gd name="connsiteX30" fmla="*/ 4458281 w 8636594"/>
              <a:gd name="connsiteY30" fmla="*/ 5565111 h 6186174"/>
              <a:gd name="connsiteX31" fmla="*/ 4491053 w 8636594"/>
              <a:gd name="connsiteY31" fmla="*/ 5536556 h 6186174"/>
              <a:gd name="connsiteX32" fmla="*/ 4523484 w 8636594"/>
              <a:gd name="connsiteY32" fmla="*/ 5507747 h 6186174"/>
              <a:gd name="connsiteX33" fmla="*/ 4555580 w 8636594"/>
              <a:gd name="connsiteY33" fmla="*/ 5478687 h 6186174"/>
              <a:gd name="connsiteX34" fmla="*/ 4587347 w 8636594"/>
              <a:gd name="connsiteY34" fmla="*/ 5449380 h 6186174"/>
              <a:gd name="connsiteX35" fmla="*/ 4618793 w 8636594"/>
              <a:gd name="connsiteY35" fmla="*/ 5419830 h 6186174"/>
              <a:gd name="connsiteX36" fmla="*/ 4649922 w 8636594"/>
              <a:gd name="connsiteY36" fmla="*/ 5390040 h 6186174"/>
              <a:gd name="connsiteX37" fmla="*/ 4680742 w 8636594"/>
              <a:gd name="connsiteY37" fmla="*/ 5360014 h 6186174"/>
              <a:gd name="connsiteX38" fmla="*/ 4711259 w 8636594"/>
              <a:gd name="connsiteY38" fmla="*/ 5329755 h 6186174"/>
              <a:gd name="connsiteX39" fmla="*/ 4741478 w 8636594"/>
              <a:gd name="connsiteY39" fmla="*/ 5299266 h 6186174"/>
              <a:gd name="connsiteX40" fmla="*/ 4771408 w 8636594"/>
              <a:gd name="connsiteY40" fmla="*/ 5268551 h 6186174"/>
              <a:gd name="connsiteX41" fmla="*/ 4801053 w 8636594"/>
              <a:gd name="connsiteY41" fmla="*/ 5237614 h 6186174"/>
              <a:gd name="connsiteX42" fmla="*/ 4830420 w 8636594"/>
              <a:gd name="connsiteY42" fmla="*/ 5206458 h 6186174"/>
              <a:gd name="connsiteX43" fmla="*/ 4859516 w 8636594"/>
              <a:gd name="connsiteY43" fmla="*/ 5175087 h 6186174"/>
              <a:gd name="connsiteX44" fmla="*/ 4888347 w 8636594"/>
              <a:gd name="connsiteY44" fmla="*/ 5143504 h 6186174"/>
              <a:gd name="connsiteX45" fmla="*/ 4916919 w 8636594"/>
              <a:gd name="connsiteY45" fmla="*/ 5111713 h 6186174"/>
              <a:gd name="connsiteX46" fmla="*/ 4945238 w 8636594"/>
              <a:gd name="connsiteY46" fmla="*/ 5079717 h 6186174"/>
              <a:gd name="connsiteX47" fmla="*/ 4973311 w 8636594"/>
              <a:gd name="connsiteY47" fmla="*/ 5047519 h 6186174"/>
              <a:gd name="connsiteX48" fmla="*/ 5001145 w 8636594"/>
              <a:gd name="connsiteY48" fmla="*/ 5015124 h 6186174"/>
              <a:gd name="connsiteX49" fmla="*/ 5028745 w 8636594"/>
              <a:gd name="connsiteY49" fmla="*/ 4982535 h 6186174"/>
              <a:gd name="connsiteX50" fmla="*/ 5056117 w 8636594"/>
              <a:gd name="connsiteY50" fmla="*/ 4949755 h 6186174"/>
              <a:gd name="connsiteX51" fmla="*/ 5083269 w 8636594"/>
              <a:gd name="connsiteY51" fmla="*/ 4916787 h 6186174"/>
              <a:gd name="connsiteX52" fmla="*/ 5110207 w 8636594"/>
              <a:gd name="connsiteY52" fmla="*/ 4883636 h 6186174"/>
              <a:gd name="connsiteX53" fmla="*/ 5136937 w 8636594"/>
              <a:gd name="connsiteY53" fmla="*/ 4850305 h 6186174"/>
              <a:gd name="connsiteX54" fmla="*/ 5163464 w 8636594"/>
              <a:gd name="connsiteY54" fmla="*/ 4816797 h 6186174"/>
              <a:gd name="connsiteX55" fmla="*/ 5215940 w 8636594"/>
              <a:gd name="connsiteY55" fmla="*/ 4749265 h 6186174"/>
              <a:gd name="connsiteX56" fmla="*/ 5267684 w 8636594"/>
              <a:gd name="connsiteY56" fmla="*/ 4681068 h 6186174"/>
              <a:gd name="connsiteX57" fmla="*/ 5318748 w 8636594"/>
              <a:gd name="connsiteY57" fmla="*/ 4612234 h 6186174"/>
              <a:gd name="connsiteX58" fmla="*/ 5369182 w 8636594"/>
              <a:gd name="connsiteY58" fmla="*/ 4542793 h 6186174"/>
              <a:gd name="connsiteX59" fmla="*/ 5419038 w 8636594"/>
              <a:gd name="connsiteY59" fmla="*/ 4472771 h 6186174"/>
              <a:gd name="connsiteX60" fmla="*/ 5468365 w 8636594"/>
              <a:gd name="connsiteY60" fmla="*/ 4402196 h 6186174"/>
              <a:gd name="connsiteX61" fmla="*/ 5517215 w 8636594"/>
              <a:gd name="connsiteY61" fmla="*/ 4331098 h 6186174"/>
              <a:gd name="connsiteX62" fmla="*/ 5565637 w 8636594"/>
              <a:gd name="connsiteY62" fmla="*/ 4259503 h 6186174"/>
              <a:gd name="connsiteX63" fmla="*/ 5613684 w 8636594"/>
              <a:gd name="connsiteY63" fmla="*/ 4187441 h 6186174"/>
              <a:gd name="connsiteX64" fmla="*/ 5685160 w 8636594"/>
              <a:gd name="connsiteY64" fmla="*/ 4078531 h 6186174"/>
              <a:gd name="connsiteX65" fmla="*/ 5756074 w 8636594"/>
              <a:gd name="connsiteY65" fmla="*/ 3968727 h 6186174"/>
              <a:gd name="connsiteX66" fmla="*/ 5873483 w 8636594"/>
              <a:gd name="connsiteY66" fmla="*/ 3783989 h 6186174"/>
              <a:gd name="connsiteX67" fmla="*/ 6203209 w 8636594"/>
              <a:gd name="connsiteY67" fmla="*/ 3258640 h 6186174"/>
              <a:gd name="connsiteX68" fmla="*/ 6299430 w 8636594"/>
              <a:gd name="connsiteY68" fmla="*/ 3107321 h 6186174"/>
              <a:gd name="connsiteX69" fmla="*/ 6372650 w 8636594"/>
              <a:gd name="connsiteY69" fmla="*/ 2993735 h 6186174"/>
              <a:gd name="connsiteX70" fmla="*/ 6453197 w 8636594"/>
              <a:gd name="connsiteY70" fmla="*/ 2869788 h 6186174"/>
              <a:gd name="connsiteX71" fmla="*/ 6564167 w 8636594"/>
              <a:gd name="connsiteY71" fmla="*/ 2696807 h 6186174"/>
              <a:gd name="connsiteX72" fmla="*/ 6976233 w 8636594"/>
              <a:gd name="connsiteY72" fmla="*/ 2045274 h 6186174"/>
              <a:gd name="connsiteX73" fmla="*/ 7086755 w 8636594"/>
              <a:gd name="connsiteY73" fmla="*/ 1872743 h 6186174"/>
              <a:gd name="connsiteX74" fmla="*/ 7170279 w 8636594"/>
              <a:gd name="connsiteY74" fmla="*/ 1744202 h 6186174"/>
              <a:gd name="connsiteX75" fmla="*/ 7226351 w 8636594"/>
              <a:gd name="connsiteY75" fmla="*/ 1659017 h 6186174"/>
              <a:gd name="connsiteX76" fmla="*/ 7282789 w 8636594"/>
              <a:gd name="connsiteY76" fmla="*/ 1574303 h 6186174"/>
              <a:gd name="connsiteX77" fmla="*/ 7339643 w 8636594"/>
              <a:gd name="connsiteY77" fmla="*/ 1490113 h 6186174"/>
              <a:gd name="connsiteX78" fmla="*/ 7396957 w 8636594"/>
              <a:gd name="connsiteY78" fmla="*/ 1406503 h 6186174"/>
              <a:gd name="connsiteX79" fmla="*/ 7454781 w 8636594"/>
              <a:gd name="connsiteY79" fmla="*/ 1323526 h 6186174"/>
              <a:gd name="connsiteX80" fmla="*/ 7513161 w 8636594"/>
              <a:gd name="connsiteY80" fmla="*/ 1241237 h 6186174"/>
              <a:gd name="connsiteX81" fmla="*/ 7572144 w 8636594"/>
              <a:gd name="connsiteY81" fmla="*/ 1159689 h 6186174"/>
              <a:gd name="connsiteX82" fmla="*/ 7601877 w 8636594"/>
              <a:gd name="connsiteY82" fmla="*/ 1119210 h 6186174"/>
              <a:gd name="connsiteX83" fmla="*/ 7631779 w 8636594"/>
              <a:gd name="connsiteY83" fmla="*/ 1078937 h 6186174"/>
              <a:gd name="connsiteX84" fmla="*/ 7661855 w 8636594"/>
              <a:gd name="connsiteY84" fmla="*/ 1038876 h 6186174"/>
              <a:gd name="connsiteX85" fmla="*/ 7692111 w 8636594"/>
              <a:gd name="connsiteY85" fmla="*/ 999035 h 6186174"/>
              <a:gd name="connsiteX86" fmla="*/ 7722554 w 8636594"/>
              <a:gd name="connsiteY86" fmla="*/ 959419 h 6186174"/>
              <a:gd name="connsiteX87" fmla="*/ 7753190 w 8636594"/>
              <a:gd name="connsiteY87" fmla="*/ 920037 h 6186174"/>
              <a:gd name="connsiteX88" fmla="*/ 7784023 w 8636594"/>
              <a:gd name="connsiteY88" fmla="*/ 880894 h 6186174"/>
              <a:gd name="connsiteX89" fmla="*/ 7815061 w 8636594"/>
              <a:gd name="connsiteY89" fmla="*/ 841997 h 6186174"/>
              <a:gd name="connsiteX90" fmla="*/ 7846308 w 8636594"/>
              <a:gd name="connsiteY90" fmla="*/ 803354 h 6186174"/>
              <a:gd name="connsiteX91" fmla="*/ 7877772 w 8636594"/>
              <a:gd name="connsiteY91" fmla="*/ 764970 h 6186174"/>
              <a:gd name="connsiteX92" fmla="*/ 7909458 w 8636594"/>
              <a:gd name="connsiteY92" fmla="*/ 726853 h 6186174"/>
              <a:gd name="connsiteX93" fmla="*/ 7941371 w 8636594"/>
              <a:gd name="connsiteY93" fmla="*/ 689010 h 6186174"/>
              <a:gd name="connsiteX94" fmla="*/ 7973518 w 8636594"/>
              <a:gd name="connsiteY94" fmla="*/ 651447 h 6186174"/>
              <a:gd name="connsiteX95" fmla="*/ 8005905 w 8636594"/>
              <a:gd name="connsiteY95" fmla="*/ 614171 h 6186174"/>
              <a:gd name="connsiteX96" fmla="*/ 8038538 w 8636594"/>
              <a:gd name="connsiteY96" fmla="*/ 577189 h 6186174"/>
              <a:gd name="connsiteX97" fmla="*/ 8071421 w 8636594"/>
              <a:gd name="connsiteY97" fmla="*/ 540507 h 6186174"/>
              <a:gd name="connsiteX98" fmla="*/ 8104563 w 8636594"/>
              <a:gd name="connsiteY98" fmla="*/ 504132 h 6186174"/>
              <a:gd name="connsiteX99" fmla="*/ 8137967 w 8636594"/>
              <a:gd name="connsiteY99" fmla="*/ 468072 h 6186174"/>
              <a:gd name="connsiteX100" fmla="*/ 8171641 w 8636594"/>
              <a:gd name="connsiteY100" fmla="*/ 432332 h 6186174"/>
              <a:gd name="connsiteX101" fmla="*/ 8205590 w 8636594"/>
              <a:gd name="connsiteY101" fmla="*/ 396920 h 6186174"/>
              <a:gd name="connsiteX102" fmla="*/ 8239820 w 8636594"/>
              <a:gd name="connsiteY102" fmla="*/ 361843 h 6186174"/>
              <a:gd name="connsiteX103" fmla="*/ 8274337 w 8636594"/>
              <a:gd name="connsiteY103" fmla="*/ 327107 h 6186174"/>
              <a:gd name="connsiteX104" fmla="*/ 8309147 w 8636594"/>
              <a:gd name="connsiteY104" fmla="*/ 292718 h 6186174"/>
              <a:gd name="connsiteX105" fmla="*/ 8344256 w 8636594"/>
              <a:gd name="connsiteY105" fmla="*/ 258685 h 6186174"/>
              <a:gd name="connsiteX106" fmla="*/ 8379669 w 8636594"/>
              <a:gd name="connsiteY106" fmla="*/ 225013 h 6186174"/>
              <a:gd name="connsiteX107" fmla="*/ 8415394 w 8636594"/>
              <a:gd name="connsiteY107" fmla="*/ 191709 h 6186174"/>
              <a:gd name="connsiteX108" fmla="*/ 8451434 w 8636594"/>
              <a:gd name="connsiteY108" fmla="*/ 158780 h 6186174"/>
              <a:gd name="connsiteX109" fmla="*/ 8487798 w 8636594"/>
              <a:gd name="connsiteY109" fmla="*/ 126233 h 6186174"/>
              <a:gd name="connsiteX110" fmla="*/ 8524489 w 8636594"/>
              <a:gd name="connsiteY110" fmla="*/ 94075 h 6186174"/>
              <a:gd name="connsiteX111" fmla="*/ 8561515 w 8636594"/>
              <a:gd name="connsiteY111" fmla="*/ 62312 h 6186174"/>
              <a:gd name="connsiteX112" fmla="*/ 8598881 w 8636594"/>
              <a:gd name="connsiteY112" fmla="*/ 30951 h 6186174"/>
              <a:gd name="connsiteX113" fmla="*/ 8636594 w 8636594"/>
              <a:gd name="connsiteY113" fmla="*/ 0 h 6186174"/>
              <a:gd name="connsiteX0" fmla="*/ 8636594 w 8636594"/>
              <a:gd name="connsiteY0" fmla="*/ 0 h 6165110"/>
              <a:gd name="connsiteX1" fmla="*/ 5293 w 8636594"/>
              <a:gd name="connsiteY1" fmla="*/ 0 h 6165110"/>
              <a:gd name="connsiteX2" fmla="*/ 0 w 8636594"/>
              <a:gd name="connsiteY2" fmla="*/ 5587843 h 6165110"/>
              <a:gd name="connsiteX3" fmla="*/ 1594033 w 8636594"/>
              <a:gd name="connsiteY3" fmla="*/ 5600057 h 6165110"/>
              <a:gd name="connsiteX4" fmla="*/ 1686068 w 8636594"/>
              <a:gd name="connsiteY4" fmla="*/ 5599745 h 6165110"/>
              <a:gd name="connsiteX5" fmla="*/ 3552910 w 8636594"/>
              <a:gd name="connsiteY5" fmla="*/ 6165110 h 6165110"/>
              <a:gd name="connsiteX6" fmla="*/ 3595773 w 8636594"/>
              <a:gd name="connsiteY6" fmla="*/ 6143704 h 6165110"/>
              <a:gd name="connsiteX7" fmla="*/ 3638142 w 8636594"/>
              <a:gd name="connsiteY7" fmla="*/ 6121960 h 6165110"/>
              <a:gd name="connsiteX8" fmla="*/ 3680024 w 8636594"/>
              <a:gd name="connsiteY8" fmla="*/ 6099881 h 6165110"/>
              <a:gd name="connsiteX9" fmla="*/ 3721426 w 8636594"/>
              <a:gd name="connsiteY9" fmla="*/ 6077471 h 6165110"/>
              <a:gd name="connsiteX10" fmla="*/ 3762353 w 8636594"/>
              <a:gd name="connsiteY10" fmla="*/ 6054733 h 6165110"/>
              <a:gd name="connsiteX11" fmla="*/ 3802812 w 8636594"/>
              <a:gd name="connsiteY11" fmla="*/ 6031671 h 6165110"/>
              <a:gd name="connsiteX12" fmla="*/ 3842810 w 8636594"/>
              <a:gd name="connsiteY12" fmla="*/ 6008288 h 6165110"/>
              <a:gd name="connsiteX13" fmla="*/ 3882352 w 8636594"/>
              <a:gd name="connsiteY13" fmla="*/ 5984588 h 6165110"/>
              <a:gd name="connsiteX14" fmla="*/ 3921445 w 8636594"/>
              <a:gd name="connsiteY14" fmla="*/ 5960574 h 6165110"/>
              <a:gd name="connsiteX15" fmla="*/ 3960096 w 8636594"/>
              <a:gd name="connsiteY15" fmla="*/ 5936250 h 6165110"/>
              <a:gd name="connsiteX16" fmla="*/ 3998311 w 8636594"/>
              <a:gd name="connsiteY16" fmla="*/ 5911619 h 6165110"/>
              <a:gd name="connsiteX17" fmla="*/ 4036095 w 8636594"/>
              <a:gd name="connsiteY17" fmla="*/ 5886685 h 6165110"/>
              <a:gd name="connsiteX18" fmla="*/ 4073456 w 8636594"/>
              <a:gd name="connsiteY18" fmla="*/ 5861452 h 6165110"/>
              <a:gd name="connsiteX19" fmla="*/ 4110400 w 8636594"/>
              <a:gd name="connsiteY19" fmla="*/ 5835922 h 6165110"/>
              <a:gd name="connsiteX20" fmla="*/ 4146933 w 8636594"/>
              <a:gd name="connsiteY20" fmla="*/ 5810100 h 6165110"/>
              <a:gd name="connsiteX21" fmla="*/ 4183061 w 8636594"/>
              <a:gd name="connsiteY21" fmla="*/ 5783988 h 6165110"/>
              <a:gd name="connsiteX22" fmla="*/ 4218791 w 8636594"/>
              <a:gd name="connsiteY22" fmla="*/ 5757591 h 6165110"/>
              <a:gd name="connsiteX23" fmla="*/ 4254129 w 8636594"/>
              <a:gd name="connsiteY23" fmla="*/ 5730912 h 6165110"/>
              <a:gd name="connsiteX24" fmla="*/ 4289081 w 8636594"/>
              <a:gd name="connsiteY24" fmla="*/ 5703955 h 6165110"/>
              <a:gd name="connsiteX25" fmla="*/ 4323654 w 8636594"/>
              <a:gd name="connsiteY25" fmla="*/ 5676722 h 6165110"/>
              <a:gd name="connsiteX26" fmla="*/ 4357854 w 8636594"/>
              <a:gd name="connsiteY26" fmla="*/ 5649218 h 6165110"/>
              <a:gd name="connsiteX27" fmla="*/ 4391688 w 8636594"/>
              <a:gd name="connsiteY27" fmla="*/ 5621446 h 6165110"/>
              <a:gd name="connsiteX28" fmla="*/ 4425162 w 8636594"/>
              <a:gd name="connsiteY28" fmla="*/ 5593409 h 6165110"/>
              <a:gd name="connsiteX29" fmla="*/ 4458281 w 8636594"/>
              <a:gd name="connsiteY29" fmla="*/ 5565111 h 6165110"/>
              <a:gd name="connsiteX30" fmla="*/ 4491053 w 8636594"/>
              <a:gd name="connsiteY30" fmla="*/ 5536556 h 6165110"/>
              <a:gd name="connsiteX31" fmla="*/ 4523484 w 8636594"/>
              <a:gd name="connsiteY31" fmla="*/ 5507747 h 6165110"/>
              <a:gd name="connsiteX32" fmla="*/ 4555580 w 8636594"/>
              <a:gd name="connsiteY32" fmla="*/ 5478687 h 6165110"/>
              <a:gd name="connsiteX33" fmla="*/ 4587347 w 8636594"/>
              <a:gd name="connsiteY33" fmla="*/ 5449380 h 6165110"/>
              <a:gd name="connsiteX34" fmla="*/ 4618793 w 8636594"/>
              <a:gd name="connsiteY34" fmla="*/ 5419830 h 6165110"/>
              <a:gd name="connsiteX35" fmla="*/ 4649922 w 8636594"/>
              <a:gd name="connsiteY35" fmla="*/ 5390040 h 6165110"/>
              <a:gd name="connsiteX36" fmla="*/ 4680742 w 8636594"/>
              <a:gd name="connsiteY36" fmla="*/ 5360014 h 6165110"/>
              <a:gd name="connsiteX37" fmla="*/ 4711259 w 8636594"/>
              <a:gd name="connsiteY37" fmla="*/ 5329755 h 6165110"/>
              <a:gd name="connsiteX38" fmla="*/ 4741478 w 8636594"/>
              <a:gd name="connsiteY38" fmla="*/ 5299266 h 6165110"/>
              <a:gd name="connsiteX39" fmla="*/ 4771408 w 8636594"/>
              <a:gd name="connsiteY39" fmla="*/ 5268551 h 6165110"/>
              <a:gd name="connsiteX40" fmla="*/ 4801053 w 8636594"/>
              <a:gd name="connsiteY40" fmla="*/ 5237614 h 6165110"/>
              <a:gd name="connsiteX41" fmla="*/ 4830420 w 8636594"/>
              <a:gd name="connsiteY41" fmla="*/ 5206458 h 6165110"/>
              <a:gd name="connsiteX42" fmla="*/ 4859516 w 8636594"/>
              <a:gd name="connsiteY42" fmla="*/ 5175087 h 6165110"/>
              <a:gd name="connsiteX43" fmla="*/ 4888347 w 8636594"/>
              <a:gd name="connsiteY43" fmla="*/ 5143504 h 6165110"/>
              <a:gd name="connsiteX44" fmla="*/ 4916919 w 8636594"/>
              <a:gd name="connsiteY44" fmla="*/ 5111713 h 6165110"/>
              <a:gd name="connsiteX45" fmla="*/ 4945238 w 8636594"/>
              <a:gd name="connsiteY45" fmla="*/ 5079717 h 6165110"/>
              <a:gd name="connsiteX46" fmla="*/ 4973311 w 8636594"/>
              <a:gd name="connsiteY46" fmla="*/ 5047519 h 6165110"/>
              <a:gd name="connsiteX47" fmla="*/ 5001145 w 8636594"/>
              <a:gd name="connsiteY47" fmla="*/ 5015124 h 6165110"/>
              <a:gd name="connsiteX48" fmla="*/ 5028745 w 8636594"/>
              <a:gd name="connsiteY48" fmla="*/ 4982535 h 6165110"/>
              <a:gd name="connsiteX49" fmla="*/ 5056117 w 8636594"/>
              <a:gd name="connsiteY49" fmla="*/ 4949755 h 6165110"/>
              <a:gd name="connsiteX50" fmla="*/ 5083269 w 8636594"/>
              <a:gd name="connsiteY50" fmla="*/ 4916787 h 6165110"/>
              <a:gd name="connsiteX51" fmla="*/ 5110207 w 8636594"/>
              <a:gd name="connsiteY51" fmla="*/ 4883636 h 6165110"/>
              <a:gd name="connsiteX52" fmla="*/ 5136937 w 8636594"/>
              <a:gd name="connsiteY52" fmla="*/ 4850305 h 6165110"/>
              <a:gd name="connsiteX53" fmla="*/ 5163464 w 8636594"/>
              <a:gd name="connsiteY53" fmla="*/ 4816797 h 6165110"/>
              <a:gd name="connsiteX54" fmla="*/ 5215940 w 8636594"/>
              <a:gd name="connsiteY54" fmla="*/ 4749265 h 6165110"/>
              <a:gd name="connsiteX55" fmla="*/ 5267684 w 8636594"/>
              <a:gd name="connsiteY55" fmla="*/ 4681068 h 6165110"/>
              <a:gd name="connsiteX56" fmla="*/ 5318748 w 8636594"/>
              <a:gd name="connsiteY56" fmla="*/ 4612234 h 6165110"/>
              <a:gd name="connsiteX57" fmla="*/ 5369182 w 8636594"/>
              <a:gd name="connsiteY57" fmla="*/ 4542793 h 6165110"/>
              <a:gd name="connsiteX58" fmla="*/ 5419038 w 8636594"/>
              <a:gd name="connsiteY58" fmla="*/ 4472771 h 6165110"/>
              <a:gd name="connsiteX59" fmla="*/ 5468365 w 8636594"/>
              <a:gd name="connsiteY59" fmla="*/ 4402196 h 6165110"/>
              <a:gd name="connsiteX60" fmla="*/ 5517215 w 8636594"/>
              <a:gd name="connsiteY60" fmla="*/ 4331098 h 6165110"/>
              <a:gd name="connsiteX61" fmla="*/ 5565637 w 8636594"/>
              <a:gd name="connsiteY61" fmla="*/ 4259503 h 6165110"/>
              <a:gd name="connsiteX62" fmla="*/ 5613684 w 8636594"/>
              <a:gd name="connsiteY62" fmla="*/ 4187441 h 6165110"/>
              <a:gd name="connsiteX63" fmla="*/ 5685160 w 8636594"/>
              <a:gd name="connsiteY63" fmla="*/ 4078531 h 6165110"/>
              <a:gd name="connsiteX64" fmla="*/ 5756074 w 8636594"/>
              <a:gd name="connsiteY64" fmla="*/ 3968727 h 6165110"/>
              <a:gd name="connsiteX65" fmla="*/ 5873483 w 8636594"/>
              <a:gd name="connsiteY65" fmla="*/ 3783989 h 6165110"/>
              <a:gd name="connsiteX66" fmla="*/ 6203209 w 8636594"/>
              <a:gd name="connsiteY66" fmla="*/ 3258640 h 6165110"/>
              <a:gd name="connsiteX67" fmla="*/ 6299430 w 8636594"/>
              <a:gd name="connsiteY67" fmla="*/ 3107321 h 6165110"/>
              <a:gd name="connsiteX68" fmla="*/ 6372650 w 8636594"/>
              <a:gd name="connsiteY68" fmla="*/ 2993735 h 6165110"/>
              <a:gd name="connsiteX69" fmla="*/ 6453197 w 8636594"/>
              <a:gd name="connsiteY69" fmla="*/ 2869788 h 6165110"/>
              <a:gd name="connsiteX70" fmla="*/ 6564167 w 8636594"/>
              <a:gd name="connsiteY70" fmla="*/ 2696807 h 6165110"/>
              <a:gd name="connsiteX71" fmla="*/ 6976233 w 8636594"/>
              <a:gd name="connsiteY71" fmla="*/ 2045274 h 6165110"/>
              <a:gd name="connsiteX72" fmla="*/ 7086755 w 8636594"/>
              <a:gd name="connsiteY72" fmla="*/ 1872743 h 6165110"/>
              <a:gd name="connsiteX73" fmla="*/ 7170279 w 8636594"/>
              <a:gd name="connsiteY73" fmla="*/ 1744202 h 6165110"/>
              <a:gd name="connsiteX74" fmla="*/ 7226351 w 8636594"/>
              <a:gd name="connsiteY74" fmla="*/ 1659017 h 6165110"/>
              <a:gd name="connsiteX75" fmla="*/ 7282789 w 8636594"/>
              <a:gd name="connsiteY75" fmla="*/ 1574303 h 6165110"/>
              <a:gd name="connsiteX76" fmla="*/ 7339643 w 8636594"/>
              <a:gd name="connsiteY76" fmla="*/ 1490113 h 6165110"/>
              <a:gd name="connsiteX77" fmla="*/ 7396957 w 8636594"/>
              <a:gd name="connsiteY77" fmla="*/ 1406503 h 6165110"/>
              <a:gd name="connsiteX78" fmla="*/ 7454781 w 8636594"/>
              <a:gd name="connsiteY78" fmla="*/ 1323526 h 6165110"/>
              <a:gd name="connsiteX79" fmla="*/ 7513161 w 8636594"/>
              <a:gd name="connsiteY79" fmla="*/ 1241237 h 6165110"/>
              <a:gd name="connsiteX80" fmla="*/ 7572144 w 8636594"/>
              <a:gd name="connsiteY80" fmla="*/ 1159689 h 6165110"/>
              <a:gd name="connsiteX81" fmla="*/ 7601877 w 8636594"/>
              <a:gd name="connsiteY81" fmla="*/ 1119210 h 6165110"/>
              <a:gd name="connsiteX82" fmla="*/ 7631779 w 8636594"/>
              <a:gd name="connsiteY82" fmla="*/ 1078937 h 6165110"/>
              <a:gd name="connsiteX83" fmla="*/ 7661855 w 8636594"/>
              <a:gd name="connsiteY83" fmla="*/ 1038876 h 6165110"/>
              <a:gd name="connsiteX84" fmla="*/ 7692111 w 8636594"/>
              <a:gd name="connsiteY84" fmla="*/ 999035 h 6165110"/>
              <a:gd name="connsiteX85" fmla="*/ 7722554 w 8636594"/>
              <a:gd name="connsiteY85" fmla="*/ 959419 h 6165110"/>
              <a:gd name="connsiteX86" fmla="*/ 7753190 w 8636594"/>
              <a:gd name="connsiteY86" fmla="*/ 920037 h 6165110"/>
              <a:gd name="connsiteX87" fmla="*/ 7784023 w 8636594"/>
              <a:gd name="connsiteY87" fmla="*/ 880894 h 6165110"/>
              <a:gd name="connsiteX88" fmla="*/ 7815061 w 8636594"/>
              <a:gd name="connsiteY88" fmla="*/ 841997 h 6165110"/>
              <a:gd name="connsiteX89" fmla="*/ 7846308 w 8636594"/>
              <a:gd name="connsiteY89" fmla="*/ 803354 h 6165110"/>
              <a:gd name="connsiteX90" fmla="*/ 7877772 w 8636594"/>
              <a:gd name="connsiteY90" fmla="*/ 764970 h 6165110"/>
              <a:gd name="connsiteX91" fmla="*/ 7909458 w 8636594"/>
              <a:gd name="connsiteY91" fmla="*/ 726853 h 6165110"/>
              <a:gd name="connsiteX92" fmla="*/ 7941371 w 8636594"/>
              <a:gd name="connsiteY92" fmla="*/ 689010 h 6165110"/>
              <a:gd name="connsiteX93" fmla="*/ 7973518 w 8636594"/>
              <a:gd name="connsiteY93" fmla="*/ 651447 h 6165110"/>
              <a:gd name="connsiteX94" fmla="*/ 8005905 w 8636594"/>
              <a:gd name="connsiteY94" fmla="*/ 614171 h 6165110"/>
              <a:gd name="connsiteX95" fmla="*/ 8038538 w 8636594"/>
              <a:gd name="connsiteY95" fmla="*/ 577189 h 6165110"/>
              <a:gd name="connsiteX96" fmla="*/ 8071421 w 8636594"/>
              <a:gd name="connsiteY96" fmla="*/ 540507 h 6165110"/>
              <a:gd name="connsiteX97" fmla="*/ 8104563 w 8636594"/>
              <a:gd name="connsiteY97" fmla="*/ 504132 h 6165110"/>
              <a:gd name="connsiteX98" fmla="*/ 8137967 w 8636594"/>
              <a:gd name="connsiteY98" fmla="*/ 468072 h 6165110"/>
              <a:gd name="connsiteX99" fmla="*/ 8171641 w 8636594"/>
              <a:gd name="connsiteY99" fmla="*/ 432332 h 6165110"/>
              <a:gd name="connsiteX100" fmla="*/ 8205590 w 8636594"/>
              <a:gd name="connsiteY100" fmla="*/ 396920 h 6165110"/>
              <a:gd name="connsiteX101" fmla="*/ 8239820 w 8636594"/>
              <a:gd name="connsiteY101" fmla="*/ 361843 h 6165110"/>
              <a:gd name="connsiteX102" fmla="*/ 8274337 w 8636594"/>
              <a:gd name="connsiteY102" fmla="*/ 327107 h 6165110"/>
              <a:gd name="connsiteX103" fmla="*/ 8309147 w 8636594"/>
              <a:gd name="connsiteY103" fmla="*/ 292718 h 6165110"/>
              <a:gd name="connsiteX104" fmla="*/ 8344256 w 8636594"/>
              <a:gd name="connsiteY104" fmla="*/ 258685 h 6165110"/>
              <a:gd name="connsiteX105" fmla="*/ 8379669 w 8636594"/>
              <a:gd name="connsiteY105" fmla="*/ 225013 h 6165110"/>
              <a:gd name="connsiteX106" fmla="*/ 8415394 w 8636594"/>
              <a:gd name="connsiteY106" fmla="*/ 191709 h 6165110"/>
              <a:gd name="connsiteX107" fmla="*/ 8451434 w 8636594"/>
              <a:gd name="connsiteY107" fmla="*/ 158780 h 6165110"/>
              <a:gd name="connsiteX108" fmla="*/ 8487798 w 8636594"/>
              <a:gd name="connsiteY108" fmla="*/ 126233 h 6165110"/>
              <a:gd name="connsiteX109" fmla="*/ 8524489 w 8636594"/>
              <a:gd name="connsiteY109" fmla="*/ 94075 h 6165110"/>
              <a:gd name="connsiteX110" fmla="*/ 8561515 w 8636594"/>
              <a:gd name="connsiteY110" fmla="*/ 62312 h 6165110"/>
              <a:gd name="connsiteX111" fmla="*/ 8598881 w 8636594"/>
              <a:gd name="connsiteY111" fmla="*/ 30951 h 6165110"/>
              <a:gd name="connsiteX112" fmla="*/ 8636594 w 8636594"/>
              <a:gd name="connsiteY112" fmla="*/ 0 h 6165110"/>
              <a:gd name="connsiteX0" fmla="*/ 8636594 w 8636594"/>
              <a:gd name="connsiteY0" fmla="*/ 0 h 6143704"/>
              <a:gd name="connsiteX1" fmla="*/ 5293 w 8636594"/>
              <a:gd name="connsiteY1" fmla="*/ 0 h 6143704"/>
              <a:gd name="connsiteX2" fmla="*/ 0 w 8636594"/>
              <a:gd name="connsiteY2" fmla="*/ 5587843 h 6143704"/>
              <a:gd name="connsiteX3" fmla="*/ 1594033 w 8636594"/>
              <a:gd name="connsiteY3" fmla="*/ 5600057 h 6143704"/>
              <a:gd name="connsiteX4" fmla="*/ 1686068 w 8636594"/>
              <a:gd name="connsiteY4" fmla="*/ 5599745 h 6143704"/>
              <a:gd name="connsiteX5" fmla="*/ 3595773 w 8636594"/>
              <a:gd name="connsiteY5" fmla="*/ 6143704 h 6143704"/>
              <a:gd name="connsiteX6" fmla="*/ 3638142 w 8636594"/>
              <a:gd name="connsiteY6" fmla="*/ 6121960 h 6143704"/>
              <a:gd name="connsiteX7" fmla="*/ 3680024 w 8636594"/>
              <a:gd name="connsiteY7" fmla="*/ 6099881 h 6143704"/>
              <a:gd name="connsiteX8" fmla="*/ 3721426 w 8636594"/>
              <a:gd name="connsiteY8" fmla="*/ 6077471 h 6143704"/>
              <a:gd name="connsiteX9" fmla="*/ 3762353 w 8636594"/>
              <a:gd name="connsiteY9" fmla="*/ 6054733 h 6143704"/>
              <a:gd name="connsiteX10" fmla="*/ 3802812 w 8636594"/>
              <a:gd name="connsiteY10" fmla="*/ 6031671 h 6143704"/>
              <a:gd name="connsiteX11" fmla="*/ 3842810 w 8636594"/>
              <a:gd name="connsiteY11" fmla="*/ 6008288 h 6143704"/>
              <a:gd name="connsiteX12" fmla="*/ 3882352 w 8636594"/>
              <a:gd name="connsiteY12" fmla="*/ 5984588 h 6143704"/>
              <a:gd name="connsiteX13" fmla="*/ 3921445 w 8636594"/>
              <a:gd name="connsiteY13" fmla="*/ 5960574 h 6143704"/>
              <a:gd name="connsiteX14" fmla="*/ 3960096 w 8636594"/>
              <a:gd name="connsiteY14" fmla="*/ 5936250 h 6143704"/>
              <a:gd name="connsiteX15" fmla="*/ 3998311 w 8636594"/>
              <a:gd name="connsiteY15" fmla="*/ 5911619 h 6143704"/>
              <a:gd name="connsiteX16" fmla="*/ 4036095 w 8636594"/>
              <a:gd name="connsiteY16" fmla="*/ 5886685 h 6143704"/>
              <a:gd name="connsiteX17" fmla="*/ 4073456 w 8636594"/>
              <a:gd name="connsiteY17" fmla="*/ 5861452 h 6143704"/>
              <a:gd name="connsiteX18" fmla="*/ 4110400 w 8636594"/>
              <a:gd name="connsiteY18" fmla="*/ 5835922 h 6143704"/>
              <a:gd name="connsiteX19" fmla="*/ 4146933 w 8636594"/>
              <a:gd name="connsiteY19" fmla="*/ 5810100 h 6143704"/>
              <a:gd name="connsiteX20" fmla="*/ 4183061 w 8636594"/>
              <a:gd name="connsiteY20" fmla="*/ 5783988 h 6143704"/>
              <a:gd name="connsiteX21" fmla="*/ 4218791 w 8636594"/>
              <a:gd name="connsiteY21" fmla="*/ 5757591 h 6143704"/>
              <a:gd name="connsiteX22" fmla="*/ 4254129 w 8636594"/>
              <a:gd name="connsiteY22" fmla="*/ 5730912 h 6143704"/>
              <a:gd name="connsiteX23" fmla="*/ 4289081 w 8636594"/>
              <a:gd name="connsiteY23" fmla="*/ 5703955 h 6143704"/>
              <a:gd name="connsiteX24" fmla="*/ 4323654 w 8636594"/>
              <a:gd name="connsiteY24" fmla="*/ 5676722 h 6143704"/>
              <a:gd name="connsiteX25" fmla="*/ 4357854 w 8636594"/>
              <a:gd name="connsiteY25" fmla="*/ 5649218 h 6143704"/>
              <a:gd name="connsiteX26" fmla="*/ 4391688 w 8636594"/>
              <a:gd name="connsiteY26" fmla="*/ 5621446 h 6143704"/>
              <a:gd name="connsiteX27" fmla="*/ 4425162 w 8636594"/>
              <a:gd name="connsiteY27" fmla="*/ 5593409 h 6143704"/>
              <a:gd name="connsiteX28" fmla="*/ 4458281 w 8636594"/>
              <a:gd name="connsiteY28" fmla="*/ 5565111 h 6143704"/>
              <a:gd name="connsiteX29" fmla="*/ 4491053 w 8636594"/>
              <a:gd name="connsiteY29" fmla="*/ 5536556 h 6143704"/>
              <a:gd name="connsiteX30" fmla="*/ 4523484 w 8636594"/>
              <a:gd name="connsiteY30" fmla="*/ 5507747 h 6143704"/>
              <a:gd name="connsiteX31" fmla="*/ 4555580 w 8636594"/>
              <a:gd name="connsiteY31" fmla="*/ 5478687 h 6143704"/>
              <a:gd name="connsiteX32" fmla="*/ 4587347 w 8636594"/>
              <a:gd name="connsiteY32" fmla="*/ 5449380 h 6143704"/>
              <a:gd name="connsiteX33" fmla="*/ 4618793 w 8636594"/>
              <a:gd name="connsiteY33" fmla="*/ 5419830 h 6143704"/>
              <a:gd name="connsiteX34" fmla="*/ 4649922 w 8636594"/>
              <a:gd name="connsiteY34" fmla="*/ 5390040 h 6143704"/>
              <a:gd name="connsiteX35" fmla="*/ 4680742 w 8636594"/>
              <a:gd name="connsiteY35" fmla="*/ 5360014 h 6143704"/>
              <a:gd name="connsiteX36" fmla="*/ 4711259 w 8636594"/>
              <a:gd name="connsiteY36" fmla="*/ 5329755 h 6143704"/>
              <a:gd name="connsiteX37" fmla="*/ 4741478 w 8636594"/>
              <a:gd name="connsiteY37" fmla="*/ 5299266 h 6143704"/>
              <a:gd name="connsiteX38" fmla="*/ 4771408 w 8636594"/>
              <a:gd name="connsiteY38" fmla="*/ 5268551 h 6143704"/>
              <a:gd name="connsiteX39" fmla="*/ 4801053 w 8636594"/>
              <a:gd name="connsiteY39" fmla="*/ 5237614 h 6143704"/>
              <a:gd name="connsiteX40" fmla="*/ 4830420 w 8636594"/>
              <a:gd name="connsiteY40" fmla="*/ 5206458 h 6143704"/>
              <a:gd name="connsiteX41" fmla="*/ 4859516 w 8636594"/>
              <a:gd name="connsiteY41" fmla="*/ 5175087 h 6143704"/>
              <a:gd name="connsiteX42" fmla="*/ 4888347 w 8636594"/>
              <a:gd name="connsiteY42" fmla="*/ 5143504 h 6143704"/>
              <a:gd name="connsiteX43" fmla="*/ 4916919 w 8636594"/>
              <a:gd name="connsiteY43" fmla="*/ 5111713 h 6143704"/>
              <a:gd name="connsiteX44" fmla="*/ 4945238 w 8636594"/>
              <a:gd name="connsiteY44" fmla="*/ 5079717 h 6143704"/>
              <a:gd name="connsiteX45" fmla="*/ 4973311 w 8636594"/>
              <a:gd name="connsiteY45" fmla="*/ 5047519 h 6143704"/>
              <a:gd name="connsiteX46" fmla="*/ 5001145 w 8636594"/>
              <a:gd name="connsiteY46" fmla="*/ 5015124 h 6143704"/>
              <a:gd name="connsiteX47" fmla="*/ 5028745 w 8636594"/>
              <a:gd name="connsiteY47" fmla="*/ 4982535 h 6143704"/>
              <a:gd name="connsiteX48" fmla="*/ 5056117 w 8636594"/>
              <a:gd name="connsiteY48" fmla="*/ 4949755 h 6143704"/>
              <a:gd name="connsiteX49" fmla="*/ 5083269 w 8636594"/>
              <a:gd name="connsiteY49" fmla="*/ 4916787 h 6143704"/>
              <a:gd name="connsiteX50" fmla="*/ 5110207 w 8636594"/>
              <a:gd name="connsiteY50" fmla="*/ 4883636 h 6143704"/>
              <a:gd name="connsiteX51" fmla="*/ 5136937 w 8636594"/>
              <a:gd name="connsiteY51" fmla="*/ 4850305 h 6143704"/>
              <a:gd name="connsiteX52" fmla="*/ 5163464 w 8636594"/>
              <a:gd name="connsiteY52" fmla="*/ 4816797 h 6143704"/>
              <a:gd name="connsiteX53" fmla="*/ 5215940 w 8636594"/>
              <a:gd name="connsiteY53" fmla="*/ 4749265 h 6143704"/>
              <a:gd name="connsiteX54" fmla="*/ 5267684 w 8636594"/>
              <a:gd name="connsiteY54" fmla="*/ 4681068 h 6143704"/>
              <a:gd name="connsiteX55" fmla="*/ 5318748 w 8636594"/>
              <a:gd name="connsiteY55" fmla="*/ 4612234 h 6143704"/>
              <a:gd name="connsiteX56" fmla="*/ 5369182 w 8636594"/>
              <a:gd name="connsiteY56" fmla="*/ 4542793 h 6143704"/>
              <a:gd name="connsiteX57" fmla="*/ 5419038 w 8636594"/>
              <a:gd name="connsiteY57" fmla="*/ 4472771 h 6143704"/>
              <a:gd name="connsiteX58" fmla="*/ 5468365 w 8636594"/>
              <a:gd name="connsiteY58" fmla="*/ 4402196 h 6143704"/>
              <a:gd name="connsiteX59" fmla="*/ 5517215 w 8636594"/>
              <a:gd name="connsiteY59" fmla="*/ 4331098 h 6143704"/>
              <a:gd name="connsiteX60" fmla="*/ 5565637 w 8636594"/>
              <a:gd name="connsiteY60" fmla="*/ 4259503 h 6143704"/>
              <a:gd name="connsiteX61" fmla="*/ 5613684 w 8636594"/>
              <a:gd name="connsiteY61" fmla="*/ 4187441 h 6143704"/>
              <a:gd name="connsiteX62" fmla="*/ 5685160 w 8636594"/>
              <a:gd name="connsiteY62" fmla="*/ 4078531 h 6143704"/>
              <a:gd name="connsiteX63" fmla="*/ 5756074 w 8636594"/>
              <a:gd name="connsiteY63" fmla="*/ 3968727 h 6143704"/>
              <a:gd name="connsiteX64" fmla="*/ 5873483 w 8636594"/>
              <a:gd name="connsiteY64" fmla="*/ 3783989 h 6143704"/>
              <a:gd name="connsiteX65" fmla="*/ 6203209 w 8636594"/>
              <a:gd name="connsiteY65" fmla="*/ 3258640 h 6143704"/>
              <a:gd name="connsiteX66" fmla="*/ 6299430 w 8636594"/>
              <a:gd name="connsiteY66" fmla="*/ 3107321 h 6143704"/>
              <a:gd name="connsiteX67" fmla="*/ 6372650 w 8636594"/>
              <a:gd name="connsiteY67" fmla="*/ 2993735 h 6143704"/>
              <a:gd name="connsiteX68" fmla="*/ 6453197 w 8636594"/>
              <a:gd name="connsiteY68" fmla="*/ 2869788 h 6143704"/>
              <a:gd name="connsiteX69" fmla="*/ 6564167 w 8636594"/>
              <a:gd name="connsiteY69" fmla="*/ 2696807 h 6143704"/>
              <a:gd name="connsiteX70" fmla="*/ 6976233 w 8636594"/>
              <a:gd name="connsiteY70" fmla="*/ 2045274 h 6143704"/>
              <a:gd name="connsiteX71" fmla="*/ 7086755 w 8636594"/>
              <a:gd name="connsiteY71" fmla="*/ 1872743 h 6143704"/>
              <a:gd name="connsiteX72" fmla="*/ 7170279 w 8636594"/>
              <a:gd name="connsiteY72" fmla="*/ 1744202 h 6143704"/>
              <a:gd name="connsiteX73" fmla="*/ 7226351 w 8636594"/>
              <a:gd name="connsiteY73" fmla="*/ 1659017 h 6143704"/>
              <a:gd name="connsiteX74" fmla="*/ 7282789 w 8636594"/>
              <a:gd name="connsiteY74" fmla="*/ 1574303 h 6143704"/>
              <a:gd name="connsiteX75" fmla="*/ 7339643 w 8636594"/>
              <a:gd name="connsiteY75" fmla="*/ 1490113 h 6143704"/>
              <a:gd name="connsiteX76" fmla="*/ 7396957 w 8636594"/>
              <a:gd name="connsiteY76" fmla="*/ 1406503 h 6143704"/>
              <a:gd name="connsiteX77" fmla="*/ 7454781 w 8636594"/>
              <a:gd name="connsiteY77" fmla="*/ 1323526 h 6143704"/>
              <a:gd name="connsiteX78" fmla="*/ 7513161 w 8636594"/>
              <a:gd name="connsiteY78" fmla="*/ 1241237 h 6143704"/>
              <a:gd name="connsiteX79" fmla="*/ 7572144 w 8636594"/>
              <a:gd name="connsiteY79" fmla="*/ 1159689 h 6143704"/>
              <a:gd name="connsiteX80" fmla="*/ 7601877 w 8636594"/>
              <a:gd name="connsiteY80" fmla="*/ 1119210 h 6143704"/>
              <a:gd name="connsiteX81" fmla="*/ 7631779 w 8636594"/>
              <a:gd name="connsiteY81" fmla="*/ 1078937 h 6143704"/>
              <a:gd name="connsiteX82" fmla="*/ 7661855 w 8636594"/>
              <a:gd name="connsiteY82" fmla="*/ 1038876 h 6143704"/>
              <a:gd name="connsiteX83" fmla="*/ 7692111 w 8636594"/>
              <a:gd name="connsiteY83" fmla="*/ 999035 h 6143704"/>
              <a:gd name="connsiteX84" fmla="*/ 7722554 w 8636594"/>
              <a:gd name="connsiteY84" fmla="*/ 959419 h 6143704"/>
              <a:gd name="connsiteX85" fmla="*/ 7753190 w 8636594"/>
              <a:gd name="connsiteY85" fmla="*/ 920037 h 6143704"/>
              <a:gd name="connsiteX86" fmla="*/ 7784023 w 8636594"/>
              <a:gd name="connsiteY86" fmla="*/ 880894 h 6143704"/>
              <a:gd name="connsiteX87" fmla="*/ 7815061 w 8636594"/>
              <a:gd name="connsiteY87" fmla="*/ 841997 h 6143704"/>
              <a:gd name="connsiteX88" fmla="*/ 7846308 w 8636594"/>
              <a:gd name="connsiteY88" fmla="*/ 803354 h 6143704"/>
              <a:gd name="connsiteX89" fmla="*/ 7877772 w 8636594"/>
              <a:gd name="connsiteY89" fmla="*/ 764970 h 6143704"/>
              <a:gd name="connsiteX90" fmla="*/ 7909458 w 8636594"/>
              <a:gd name="connsiteY90" fmla="*/ 726853 h 6143704"/>
              <a:gd name="connsiteX91" fmla="*/ 7941371 w 8636594"/>
              <a:gd name="connsiteY91" fmla="*/ 689010 h 6143704"/>
              <a:gd name="connsiteX92" fmla="*/ 7973518 w 8636594"/>
              <a:gd name="connsiteY92" fmla="*/ 651447 h 6143704"/>
              <a:gd name="connsiteX93" fmla="*/ 8005905 w 8636594"/>
              <a:gd name="connsiteY93" fmla="*/ 614171 h 6143704"/>
              <a:gd name="connsiteX94" fmla="*/ 8038538 w 8636594"/>
              <a:gd name="connsiteY94" fmla="*/ 577189 h 6143704"/>
              <a:gd name="connsiteX95" fmla="*/ 8071421 w 8636594"/>
              <a:gd name="connsiteY95" fmla="*/ 540507 h 6143704"/>
              <a:gd name="connsiteX96" fmla="*/ 8104563 w 8636594"/>
              <a:gd name="connsiteY96" fmla="*/ 504132 h 6143704"/>
              <a:gd name="connsiteX97" fmla="*/ 8137967 w 8636594"/>
              <a:gd name="connsiteY97" fmla="*/ 468072 h 6143704"/>
              <a:gd name="connsiteX98" fmla="*/ 8171641 w 8636594"/>
              <a:gd name="connsiteY98" fmla="*/ 432332 h 6143704"/>
              <a:gd name="connsiteX99" fmla="*/ 8205590 w 8636594"/>
              <a:gd name="connsiteY99" fmla="*/ 396920 h 6143704"/>
              <a:gd name="connsiteX100" fmla="*/ 8239820 w 8636594"/>
              <a:gd name="connsiteY100" fmla="*/ 361843 h 6143704"/>
              <a:gd name="connsiteX101" fmla="*/ 8274337 w 8636594"/>
              <a:gd name="connsiteY101" fmla="*/ 327107 h 6143704"/>
              <a:gd name="connsiteX102" fmla="*/ 8309147 w 8636594"/>
              <a:gd name="connsiteY102" fmla="*/ 292718 h 6143704"/>
              <a:gd name="connsiteX103" fmla="*/ 8344256 w 8636594"/>
              <a:gd name="connsiteY103" fmla="*/ 258685 h 6143704"/>
              <a:gd name="connsiteX104" fmla="*/ 8379669 w 8636594"/>
              <a:gd name="connsiteY104" fmla="*/ 225013 h 6143704"/>
              <a:gd name="connsiteX105" fmla="*/ 8415394 w 8636594"/>
              <a:gd name="connsiteY105" fmla="*/ 191709 h 6143704"/>
              <a:gd name="connsiteX106" fmla="*/ 8451434 w 8636594"/>
              <a:gd name="connsiteY106" fmla="*/ 158780 h 6143704"/>
              <a:gd name="connsiteX107" fmla="*/ 8487798 w 8636594"/>
              <a:gd name="connsiteY107" fmla="*/ 126233 h 6143704"/>
              <a:gd name="connsiteX108" fmla="*/ 8524489 w 8636594"/>
              <a:gd name="connsiteY108" fmla="*/ 94075 h 6143704"/>
              <a:gd name="connsiteX109" fmla="*/ 8561515 w 8636594"/>
              <a:gd name="connsiteY109" fmla="*/ 62312 h 6143704"/>
              <a:gd name="connsiteX110" fmla="*/ 8598881 w 8636594"/>
              <a:gd name="connsiteY110" fmla="*/ 30951 h 6143704"/>
              <a:gd name="connsiteX111" fmla="*/ 8636594 w 8636594"/>
              <a:gd name="connsiteY111" fmla="*/ 0 h 6143704"/>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1686068 w 8636594"/>
              <a:gd name="connsiteY4" fmla="*/ 5599745 h 6121960"/>
              <a:gd name="connsiteX5" fmla="*/ 3638142 w 8636594"/>
              <a:gd name="connsiteY5" fmla="*/ 6121960 h 6121960"/>
              <a:gd name="connsiteX6" fmla="*/ 3680024 w 8636594"/>
              <a:gd name="connsiteY6" fmla="*/ 6099881 h 6121960"/>
              <a:gd name="connsiteX7" fmla="*/ 3721426 w 8636594"/>
              <a:gd name="connsiteY7" fmla="*/ 6077471 h 6121960"/>
              <a:gd name="connsiteX8" fmla="*/ 3762353 w 8636594"/>
              <a:gd name="connsiteY8" fmla="*/ 6054733 h 6121960"/>
              <a:gd name="connsiteX9" fmla="*/ 3802812 w 8636594"/>
              <a:gd name="connsiteY9" fmla="*/ 6031671 h 6121960"/>
              <a:gd name="connsiteX10" fmla="*/ 3842810 w 8636594"/>
              <a:gd name="connsiteY10" fmla="*/ 6008288 h 6121960"/>
              <a:gd name="connsiteX11" fmla="*/ 3882352 w 8636594"/>
              <a:gd name="connsiteY11" fmla="*/ 5984588 h 6121960"/>
              <a:gd name="connsiteX12" fmla="*/ 3921445 w 8636594"/>
              <a:gd name="connsiteY12" fmla="*/ 5960574 h 6121960"/>
              <a:gd name="connsiteX13" fmla="*/ 3960096 w 8636594"/>
              <a:gd name="connsiteY13" fmla="*/ 5936250 h 6121960"/>
              <a:gd name="connsiteX14" fmla="*/ 3998311 w 8636594"/>
              <a:gd name="connsiteY14" fmla="*/ 5911619 h 6121960"/>
              <a:gd name="connsiteX15" fmla="*/ 4036095 w 8636594"/>
              <a:gd name="connsiteY15" fmla="*/ 5886685 h 6121960"/>
              <a:gd name="connsiteX16" fmla="*/ 4073456 w 8636594"/>
              <a:gd name="connsiteY16" fmla="*/ 5861452 h 6121960"/>
              <a:gd name="connsiteX17" fmla="*/ 4110400 w 8636594"/>
              <a:gd name="connsiteY17" fmla="*/ 5835922 h 6121960"/>
              <a:gd name="connsiteX18" fmla="*/ 4146933 w 8636594"/>
              <a:gd name="connsiteY18" fmla="*/ 5810100 h 6121960"/>
              <a:gd name="connsiteX19" fmla="*/ 4183061 w 8636594"/>
              <a:gd name="connsiteY19" fmla="*/ 5783988 h 6121960"/>
              <a:gd name="connsiteX20" fmla="*/ 4218791 w 8636594"/>
              <a:gd name="connsiteY20" fmla="*/ 5757591 h 6121960"/>
              <a:gd name="connsiteX21" fmla="*/ 4254129 w 8636594"/>
              <a:gd name="connsiteY21" fmla="*/ 5730912 h 6121960"/>
              <a:gd name="connsiteX22" fmla="*/ 4289081 w 8636594"/>
              <a:gd name="connsiteY22" fmla="*/ 5703955 h 6121960"/>
              <a:gd name="connsiteX23" fmla="*/ 4323654 w 8636594"/>
              <a:gd name="connsiteY23" fmla="*/ 5676722 h 6121960"/>
              <a:gd name="connsiteX24" fmla="*/ 4357854 w 8636594"/>
              <a:gd name="connsiteY24" fmla="*/ 5649218 h 6121960"/>
              <a:gd name="connsiteX25" fmla="*/ 4391688 w 8636594"/>
              <a:gd name="connsiteY25" fmla="*/ 5621446 h 6121960"/>
              <a:gd name="connsiteX26" fmla="*/ 4425162 w 8636594"/>
              <a:gd name="connsiteY26" fmla="*/ 5593409 h 6121960"/>
              <a:gd name="connsiteX27" fmla="*/ 4458281 w 8636594"/>
              <a:gd name="connsiteY27" fmla="*/ 5565111 h 6121960"/>
              <a:gd name="connsiteX28" fmla="*/ 4491053 w 8636594"/>
              <a:gd name="connsiteY28" fmla="*/ 5536556 h 6121960"/>
              <a:gd name="connsiteX29" fmla="*/ 4523484 w 8636594"/>
              <a:gd name="connsiteY29" fmla="*/ 5507747 h 6121960"/>
              <a:gd name="connsiteX30" fmla="*/ 4555580 w 8636594"/>
              <a:gd name="connsiteY30" fmla="*/ 5478687 h 6121960"/>
              <a:gd name="connsiteX31" fmla="*/ 4587347 w 8636594"/>
              <a:gd name="connsiteY31" fmla="*/ 5449380 h 6121960"/>
              <a:gd name="connsiteX32" fmla="*/ 4618793 w 8636594"/>
              <a:gd name="connsiteY32" fmla="*/ 5419830 h 6121960"/>
              <a:gd name="connsiteX33" fmla="*/ 4649922 w 8636594"/>
              <a:gd name="connsiteY33" fmla="*/ 5390040 h 6121960"/>
              <a:gd name="connsiteX34" fmla="*/ 4680742 w 8636594"/>
              <a:gd name="connsiteY34" fmla="*/ 5360014 h 6121960"/>
              <a:gd name="connsiteX35" fmla="*/ 4711259 w 8636594"/>
              <a:gd name="connsiteY35" fmla="*/ 5329755 h 6121960"/>
              <a:gd name="connsiteX36" fmla="*/ 4741478 w 8636594"/>
              <a:gd name="connsiteY36" fmla="*/ 5299266 h 6121960"/>
              <a:gd name="connsiteX37" fmla="*/ 4771408 w 8636594"/>
              <a:gd name="connsiteY37" fmla="*/ 5268551 h 6121960"/>
              <a:gd name="connsiteX38" fmla="*/ 4801053 w 8636594"/>
              <a:gd name="connsiteY38" fmla="*/ 5237614 h 6121960"/>
              <a:gd name="connsiteX39" fmla="*/ 4830420 w 8636594"/>
              <a:gd name="connsiteY39" fmla="*/ 5206458 h 6121960"/>
              <a:gd name="connsiteX40" fmla="*/ 4859516 w 8636594"/>
              <a:gd name="connsiteY40" fmla="*/ 5175087 h 6121960"/>
              <a:gd name="connsiteX41" fmla="*/ 4888347 w 8636594"/>
              <a:gd name="connsiteY41" fmla="*/ 5143504 h 6121960"/>
              <a:gd name="connsiteX42" fmla="*/ 4916919 w 8636594"/>
              <a:gd name="connsiteY42" fmla="*/ 5111713 h 6121960"/>
              <a:gd name="connsiteX43" fmla="*/ 4945238 w 8636594"/>
              <a:gd name="connsiteY43" fmla="*/ 5079717 h 6121960"/>
              <a:gd name="connsiteX44" fmla="*/ 4973311 w 8636594"/>
              <a:gd name="connsiteY44" fmla="*/ 5047519 h 6121960"/>
              <a:gd name="connsiteX45" fmla="*/ 5001145 w 8636594"/>
              <a:gd name="connsiteY45" fmla="*/ 5015124 h 6121960"/>
              <a:gd name="connsiteX46" fmla="*/ 5028745 w 8636594"/>
              <a:gd name="connsiteY46" fmla="*/ 4982535 h 6121960"/>
              <a:gd name="connsiteX47" fmla="*/ 5056117 w 8636594"/>
              <a:gd name="connsiteY47" fmla="*/ 4949755 h 6121960"/>
              <a:gd name="connsiteX48" fmla="*/ 5083269 w 8636594"/>
              <a:gd name="connsiteY48" fmla="*/ 4916787 h 6121960"/>
              <a:gd name="connsiteX49" fmla="*/ 5110207 w 8636594"/>
              <a:gd name="connsiteY49" fmla="*/ 4883636 h 6121960"/>
              <a:gd name="connsiteX50" fmla="*/ 5136937 w 8636594"/>
              <a:gd name="connsiteY50" fmla="*/ 4850305 h 6121960"/>
              <a:gd name="connsiteX51" fmla="*/ 5163464 w 8636594"/>
              <a:gd name="connsiteY51" fmla="*/ 4816797 h 6121960"/>
              <a:gd name="connsiteX52" fmla="*/ 5215940 w 8636594"/>
              <a:gd name="connsiteY52" fmla="*/ 4749265 h 6121960"/>
              <a:gd name="connsiteX53" fmla="*/ 5267684 w 8636594"/>
              <a:gd name="connsiteY53" fmla="*/ 4681068 h 6121960"/>
              <a:gd name="connsiteX54" fmla="*/ 5318748 w 8636594"/>
              <a:gd name="connsiteY54" fmla="*/ 4612234 h 6121960"/>
              <a:gd name="connsiteX55" fmla="*/ 5369182 w 8636594"/>
              <a:gd name="connsiteY55" fmla="*/ 4542793 h 6121960"/>
              <a:gd name="connsiteX56" fmla="*/ 5419038 w 8636594"/>
              <a:gd name="connsiteY56" fmla="*/ 4472771 h 6121960"/>
              <a:gd name="connsiteX57" fmla="*/ 5468365 w 8636594"/>
              <a:gd name="connsiteY57" fmla="*/ 4402196 h 6121960"/>
              <a:gd name="connsiteX58" fmla="*/ 5517215 w 8636594"/>
              <a:gd name="connsiteY58" fmla="*/ 4331098 h 6121960"/>
              <a:gd name="connsiteX59" fmla="*/ 5565637 w 8636594"/>
              <a:gd name="connsiteY59" fmla="*/ 4259503 h 6121960"/>
              <a:gd name="connsiteX60" fmla="*/ 5613684 w 8636594"/>
              <a:gd name="connsiteY60" fmla="*/ 4187441 h 6121960"/>
              <a:gd name="connsiteX61" fmla="*/ 5685160 w 8636594"/>
              <a:gd name="connsiteY61" fmla="*/ 4078531 h 6121960"/>
              <a:gd name="connsiteX62" fmla="*/ 5756074 w 8636594"/>
              <a:gd name="connsiteY62" fmla="*/ 3968727 h 6121960"/>
              <a:gd name="connsiteX63" fmla="*/ 5873483 w 8636594"/>
              <a:gd name="connsiteY63" fmla="*/ 3783989 h 6121960"/>
              <a:gd name="connsiteX64" fmla="*/ 6203209 w 8636594"/>
              <a:gd name="connsiteY64" fmla="*/ 3258640 h 6121960"/>
              <a:gd name="connsiteX65" fmla="*/ 6299430 w 8636594"/>
              <a:gd name="connsiteY65" fmla="*/ 3107321 h 6121960"/>
              <a:gd name="connsiteX66" fmla="*/ 6372650 w 8636594"/>
              <a:gd name="connsiteY66" fmla="*/ 2993735 h 6121960"/>
              <a:gd name="connsiteX67" fmla="*/ 6453197 w 8636594"/>
              <a:gd name="connsiteY67" fmla="*/ 2869788 h 6121960"/>
              <a:gd name="connsiteX68" fmla="*/ 6564167 w 8636594"/>
              <a:gd name="connsiteY68" fmla="*/ 2696807 h 6121960"/>
              <a:gd name="connsiteX69" fmla="*/ 6976233 w 8636594"/>
              <a:gd name="connsiteY69" fmla="*/ 2045274 h 6121960"/>
              <a:gd name="connsiteX70" fmla="*/ 7086755 w 8636594"/>
              <a:gd name="connsiteY70" fmla="*/ 1872743 h 6121960"/>
              <a:gd name="connsiteX71" fmla="*/ 7170279 w 8636594"/>
              <a:gd name="connsiteY71" fmla="*/ 1744202 h 6121960"/>
              <a:gd name="connsiteX72" fmla="*/ 7226351 w 8636594"/>
              <a:gd name="connsiteY72" fmla="*/ 1659017 h 6121960"/>
              <a:gd name="connsiteX73" fmla="*/ 7282789 w 8636594"/>
              <a:gd name="connsiteY73" fmla="*/ 1574303 h 6121960"/>
              <a:gd name="connsiteX74" fmla="*/ 7339643 w 8636594"/>
              <a:gd name="connsiteY74" fmla="*/ 1490113 h 6121960"/>
              <a:gd name="connsiteX75" fmla="*/ 7396957 w 8636594"/>
              <a:gd name="connsiteY75" fmla="*/ 1406503 h 6121960"/>
              <a:gd name="connsiteX76" fmla="*/ 7454781 w 8636594"/>
              <a:gd name="connsiteY76" fmla="*/ 1323526 h 6121960"/>
              <a:gd name="connsiteX77" fmla="*/ 7513161 w 8636594"/>
              <a:gd name="connsiteY77" fmla="*/ 1241237 h 6121960"/>
              <a:gd name="connsiteX78" fmla="*/ 7572144 w 8636594"/>
              <a:gd name="connsiteY78" fmla="*/ 1159689 h 6121960"/>
              <a:gd name="connsiteX79" fmla="*/ 7601877 w 8636594"/>
              <a:gd name="connsiteY79" fmla="*/ 1119210 h 6121960"/>
              <a:gd name="connsiteX80" fmla="*/ 7631779 w 8636594"/>
              <a:gd name="connsiteY80" fmla="*/ 1078937 h 6121960"/>
              <a:gd name="connsiteX81" fmla="*/ 7661855 w 8636594"/>
              <a:gd name="connsiteY81" fmla="*/ 1038876 h 6121960"/>
              <a:gd name="connsiteX82" fmla="*/ 7692111 w 8636594"/>
              <a:gd name="connsiteY82" fmla="*/ 999035 h 6121960"/>
              <a:gd name="connsiteX83" fmla="*/ 7722554 w 8636594"/>
              <a:gd name="connsiteY83" fmla="*/ 959419 h 6121960"/>
              <a:gd name="connsiteX84" fmla="*/ 7753190 w 8636594"/>
              <a:gd name="connsiteY84" fmla="*/ 920037 h 6121960"/>
              <a:gd name="connsiteX85" fmla="*/ 7784023 w 8636594"/>
              <a:gd name="connsiteY85" fmla="*/ 880894 h 6121960"/>
              <a:gd name="connsiteX86" fmla="*/ 7815061 w 8636594"/>
              <a:gd name="connsiteY86" fmla="*/ 841997 h 6121960"/>
              <a:gd name="connsiteX87" fmla="*/ 7846308 w 8636594"/>
              <a:gd name="connsiteY87" fmla="*/ 803354 h 6121960"/>
              <a:gd name="connsiteX88" fmla="*/ 7877772 w 8636594"/>
              <a:gd name="connsiteY88" fmla="*/ 764970 h 6121960"/>
              <a:gd name="connsiteX89" fmla="*/ 7909458 w 8636594"/>
              <a:gd name="connsiteY89" fmla="*/ 726853 h 6121960"/>
              <a:gd name="connsiteX90" fmla="*/ 7941371 w 8636594"/>
              <a:gd name="connsiteY90" fmla="*/ 689010 h 6121960"/>
              <a:gd name="connsiteX91" fmla="*/ 7973518 w 8636594"/>
              <a:gd name="connsiteY91" fmla="*/ 651447 h 6121960"/>
              <a:gd name="connsiteX92" fmla="*/ 8005905 w 8636594"/>
              <a:gd name="connsiteY92" fmla="*/ 614171 h 6121960"/>
              <a:gd name="connsiteX93" fmla="*/ 8038538 w 8636594"/>
              <a:gd name="connsiteY93" fmla="*/ 577189 h 6121960"/>
              <a:gd name="connsiteX94" fmla="*/ 8071421 w 8636594"/>
              <a:gd name="connsiteY94" fmla="*/ 540507 h 6121960"/>
              <a:gd name="connsiteX95" fmla="*/ 8104563 w 8636594"/>
              <a:gd name="connsiteY95" fmla="*/ 504132 h 6121960"/>
              <a:gd name="connsiteX96" fmla="*/ 8137967 w 8636594"/>
              <a:gd name="connsiteY96" fmla="*/ 468072 h 6121960"/>
              <a:gd name="connsiteX97" fmla="*/ 8171641 w 8636594"/>
              <a:gd name="connsiteY97" fmla="*/ 432332 h 6121960"/>
              <a:gd name="connsiteX98" fmla="*/ 8205590 w 8636594"/>
              <a:gd name="connsiteY98" fmla="*/ 396920 h 6121960"/>
              <a:gd name="connsiteX99" fmla="*/ 8239820 w 8636594"/>
              <a:gd name="connsiteY99" fmla="*/ 361843 h 6121960"/>
              <a:gd name="connsiteX100" fmla="*/ 8274337 w 8636594"/>
              <a:gd name="connsiteY100" fmla="*/ 327107 h 6121960"/>
              <a:gd name="connsiteX101" fmla="*/ 8309147 w 8636594"/>
              <a:gd name="connsiteY101" fmla="*/ 292718 h 6121960"/>
              <a:gd name="connsiteX102" fmla="*/ 8344256 w 8636594"/>
              <a:gd name="connsiteY102" fmla="*/ 258685 h 6121960"/>
              <a:gd name="connsiteX103" fmla="*/ 8379669 w 8636594"/>
              <a:gd name="connsiteY103" fmla="*/ 225013 h 6121960"/>
              <a:gd name="connsiteX104" fmla="*/ 8415394 w 8636594"/>
              <a:gd name="connsiteY104" fmla="*/ 191709 h 6121960"/>
              <a:gd name="connsiteX105" fmla="*/ 8451434 w 8636594"/>
              <a:gd name="connsiteY105" fmla="*/ 158780 h 6121960"/>
              <a:gd name="connsiteX106" fmla="*/ 8487798 w 8636594"/>
              <a:gd name="connsiteY106" fmla="*/ 126233 h 6121960"/>
              <a:gd name="connsiteX107" fmla="*/ 8524489 w 8636594"/>
              <a:gd name="connsiteY107" fmla="*/ 94075 h 6121960"/>
              <a:gd name="connsiteX108" fmla="*/ 8561515 w 8636594"/>
              <a:gd name="connsiteY108" fmla="*/ 62312 h 6121960"/>
              <a:gd name="connsiteX109" fmla="*/ 8598881 w 8636594"/>
              <a:gd name="connsiteY109" fmla="*/ 30951 h 6121960"/>
              <a:gd name="connsiteX110" fmla="*/ 8636594 w 8636594"/>
              <a:gd name="connsiteY110" fmla="*/ 0 h 6121960"/>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3638142 w 8636594"/>
              <a:gd name="connsiteY4" fmla="*/ 6121960 h 6121960"/>
              <a:gd name="connsiteX5" fmla="*/ 3680024 w 8636594"/>
              <a:gd name="connsiteY5" fmla="*/ 6099881 h 6121960"/>
              <a:gd name="connsiteX6" fmla="*/ 3721426 w 8636594"/>
              <a:gd name="connsiteY6" fmla="*/ 6077471 h 6121960"/>
              <a:gd name="connsiteX7" fmla="*/ 3762353 w 8636594"/>
              <a:gd name="connsiteY7" fmla="*/ 6054733 h 6121960"/>
              <a:gd name="connsiteX8" fmla="*/ 3802812 w 8636594"/>
              <a:gd name="connsiteY8" fmla="*/ 6031671 h 6121960"/>
              <a:gd name="connsiteX9" fmla="*/ 3842810 w 8636594"/>
              <a:gd name="connsiteY9" fmla="*/ 6008288 h 6121960"/>
              <a:gd name="connsiteX10" fmla="*/ 3882352 w 8636594"/>
              <a:gd name="connsiteY10" fmla="*/ 5984588 h 6121960"/>
              <a:gd name="connsiteX11" fmla="*/ 3921445 w 8636594"/>
              <a:gd name="connsiteY11" fmla="*/ 5960574 h 6121960"/>
              <a:gd name="connsiteX12" fmla="*/ 3960096 w 8636594"/>
              <a:gd name="connsiteY12" fmla="*/ 5936250 h 6121960"/>
              <a:gd name="connsiteX13" fmla="*/ 3998311 w 8636594"/>
              <a:gd name="connsiteY13" fmla="*/ 5911619 h 6121960"/>
              <a:gd name="connsiteX14" fmla="*/ 4036095 w 8636594"/>
              <a:gd name="connsiteY14" fmla="*/ 5886685 h 6121960"/>
              <a:gd name="connsiteX15" fmla="*/ 4073456 w 8636594"/>
              <a:gd name="connsiteY15" fmla="*/ 5861452 h 6121960"/>
              <a:gd name="connsiteX16" fmla="*/ 4110400 w 8636594"/>
              <a:gd name="connsiteY16" fmla="*/ 5835922 h 6121960"/>
              <a:gd name="connsiteX17" fmla="*/ 4146933 w 8636594"/>
              <a:gd name="connsiteY17" fmla="*/ 5810100 h 6121960"/>
              <a:gd name="connsiteX18" fmla="*/ 4183061 w 8636594"/>
              <a:gd name="connsiteY18" fmla="*/ 5783988 h 6121960"/>
              <a:gd name="connsiteX19" fmla="*/ 4218791 w 8636594"/>
              <a:gd name="connsiteY19" fmla="*/ 5757591 h 6121960"/>
              <a:gd name="connsiteX20" fmla="*/ 4254129 w 8636594"/>
              <a:gd name="connsiteY20" fmla="*/ 5730912 h 6121960"/>
              <a:gd name="connsiteX21" fmla="*/ 4289081 w 8636594"/>
              <a:gd name="connsiteY21" fmla="*/ 5703955 h 6121960"/>
              <a:gd name="connsiteX22" fmla="*/ 4323654 w 8636594"/>
              <a:gd name="connsiteY22" fmla="*/ 5676722 h 6121960"/>
              <a:gd name="connsiteX23" fmla="*/ 4357854 w 8636594"/>
              <a:gd name="connsiteY23" fmla="*/ 5649218 h 6121960"/>
              <a:gd name="connsiteX24" fmla="*/ 4391688 w 8636594"/>
              <a:gd name="connsiteY24" fmla="*/ 5621446 h 6121960"/>
              <a:gd name="connsiteX25" fmla="*/ 4425162 w 8636594"/>
              <a:gd name="connsiteY25" fmla="*/ 5593409 h 6121960"/>
              <a:gd name="connsiteX26" fmla="*/ 4458281 w 8636594"/>
              <a:gd name="connsiteY26" fmla="*/ 5565111 h 6121960"/>
              <a:gd name="connsiteX27" fmla="*/ 4491053 w 8636594"/>
              <a:gd name="connsiteY27" fmla="*/ 5536556 h 6121960"/>
              <a:gd name="connsiteX28" fmla="*/ 4523484 w 8636594"/>
              <a:gd name="connsiteY28" fmla="*/ 5507747 h 6121960"/>
              <a:gd name="connsiteX29" fmla="*/ 4555580 w 8636594"/>
              <a:gd name="connsiteY29" fmla="*/ 5478687 h 6121960"/>
              <a:gd name="connsiteX30" fmla="*/ 4587347 w 8636594"/>
              <a:gd name="connsiteY30" fmla="*/ 5449380 h 6121960"/>
              <a:gd name="connsiteX31" fmla="*/ 4618793 w 8636594"/>
              <a:gd name="connsiteY31" fmla="*/ 5419830 h 6121960"/>
              <a:gd name="connsiteX32" fmla="*/ 4649922 w 8636594"/>
              <a:gd name="connsiteY32" fmla="*/ 5390040 h 6121960"/>
              <a:gd name="connsiteX33" fmla="*/ 4680742 w 8636594"/>
              <a:gd name="connsiteY33" fmla="*/ 5360014 h 6121960"/>
              <a:gd name="connsiteX34" fmla="*/ 4711259 w 8636594"/>
              <a:gd name="connsiteY34" fmla="*/ 5329755 h 6121960"/>
              <a:gd name="connsiteX35" fmla="*/ 4741478 w 8636594"/>
              <a:gd name="connsiteY35" fmla="*/ 5299266 h 6121960"/>
              <a:gd name="connsiteX36" fmla="*/ 4771408 w 8636594"/>
              <a:gd name="connsiteY36" fmla="*/ 5268551 h 6121960"/>
              <a:gd name="connsiteX37" fmla="*/ 4801053 w 8636594"/>
              <a:gd name="connsiteY37" fmla="*/ 5237614 h 6121960"/>
              <a:gd name="connsiteX38" fmla="*/ 4830420 w 8636594"/>
              <a:gd name="connsiteY38" fmla="*/ 5206458 h 6121960"/>
              <a:gd name="connsiteX39" fmla="*/ 4859516 w 8636594"/>
              <a:gd name="connsiteY39" fmla="*/ 5175087 h 6121960"/>
              <a:gd name="connsiteX40" fmla="*/ 4888347 w 8636594"/>
              <a:gd name="connsiteY40" fmla="*/ 5143504 h 6121960"/>
              <a:gd name="connsiteX41" fmla="*/ 4916919 w 8636594"/>
              <a:gd name="connsiteY41" fmla="*/ 5111713 h 6121960"/>
              <a:gd name="connsiteX42" fmla="*/ 4945238 w 8636594"/>
              <a:gd name="connsiteY42" fmla="*/ 5079717 h 6121960"/>
              <a:gd name="connsiteX43" fmla="*/ 4973311 w 8636594"/>
              <a:gd name="connsiteY43" fmla="*/ 5047519 h 6121960"/>
              <a:gd name="connsiteX44" fmla="*/ 5001145 w 8636594"/>
              <a:gd name="connsiteY44" fmla="*/ 5015124 h 6121960"/>
              <a:gd name="connsiteX45" fmla="*/ 5028745 w 8636594"/>
              <a:gd name="connsiteY45" fmla="*/ 4982535 h 6121960"/>
              <a:gd name="connsiteX46" fmla="*/ 5056117 w 8636594"/>
              <a:gd name="connsiteY46" fmla="*/ 4949755 h 6121960"/>
              <a:gd name="connsiteX47" fmla="*/ 5083269 w 8636594"/>
              <a:gd name="connsiteY47" fmla="*/ 4916787 h 6121960"/>
              <a:gd name="connsiteX48" fmla="*/ 5110207 w 8636594"/>
              <a:gd name="connsiteY48" fmla="*/ 4883636 h 6121960"/>
              <a:gd name="connsiteX49" fmla="*/ 5136937 w 8636594"/>
              <a:gd name="connsiteY49" fmla="*/ 4850305 h 6121960"/>
              <a:gd name="connsiteX50" fmla="*/ 5163464 w 8636594"/>
              <a:gd name="connsiteY50" fmla="*/ 4816797 h 6121960"/>
              <a:gd name="connsiteX51" fmla="*/ 5215940 w 8636594"/>
              <a:gd name="connsiteY51" fmla="*/ 4749265 h 6121960"/>
              <a:gd name="connsiteX52" fmla="*/ 5267684 w 8636594"/>
              <a:gd name="connsiteY52" fmla="*/ 4681068 h 6121960"/>
              <a:gd name="connsiteX53" fmla="*/ 5318748 w 8636594"/>
              <a:gd name="connsiteY53" fmla="*/ 4612234 h 6121960"/>
              <a:gd name="connsiteX54" fmla="*/ 5369182 w 8636594"/>
              <a:gd name="connsiteY54" fmla="*/ 4542793 h 6121960"/>
              <a:gd name="connsiteX55" fmla="*/ 5419038 w 8636594"/>
              <a:gd name="connsiteY55" fmla="*/ 4472771 h 6121960"/>
              <a:gd name="connsiteX56" fmla="*/ 5468365 w 8636594"/>
              <a:gd name="connsiteY56" fmla="*/ 4402196 h 6121960"/>
              <a:gd name="connsiteX57" fmla="*/ 5517215 w 8636594"/>
              <a:gd name="connsiteY57" fmla="*/ 4331098 h 6121960"/>
              <a:gd name="connsiteX58" fmla="*/ 5565637 w 8636594"/>
              <a:gd name="connsiteY58" fmla="*/ 4259503 h 6121960"/>
              <a:gd name="connsiteX59" fmla="*/ 5613684 w 8636594"/>
              <a:gd name="connsiteY59" fmla="*/ 4187441 h 6121960"/>
              <a:gd name="connsiteX60" fmla="*/ 5685160 w 8636594"/>
              <a:gd name="connsiteY60" fmla="*/ 4078531 h 6121960"/>
              <a:gd name="connsiteX61" fmla="*/ 5756074 w 8636594"/>
              <a:gd name="connsiteY61" fmla="*/ 3968727 h 6121960"/>
              <a:gd name="connsiteX62" fmla="*/ 5873483 w 8636594"/>
              <a:gd name="connsiteY62" fmla="*/ 3783989 h 6121960"/>
              <a:gd name="connsiteX63" fmla="*/ 6203209 w 8636594"/>
              <a:gd name="connsiteY63" fmla="*/ 3258640 h 6121960"/>
              <a:gd name="connsiteX64" fmla="*/ 6299430 w 8636594"/>
              <a:gd name="connsiteY64" fmla="*/ 3107321 h 6121960"/>
              <a:gd name="connsiteX65" fmla="*/ 6372650 w 8636594"/>
              <a:gd name="connsiteY65" fmla="*/ 2993735 h 6121960"/>
              <a:gd name="connsiteX66" fmla="*/ 6453197 w 8636594"/>
              <a:gd name="connsiteY66" fmla="*/ 2869788 h 6121960"/>
              <a:gd name="connsiteX67" fmla="*/ 6564167 w 8636594"/>
              <a:gd name="connsiteY67" fmla="*/ 2696807 h 6121960"/>
              <a:gd name="connsiteX68" fmla="*/ 6976233 w 8636594"/>
              <a:gd name="connsiteY68" fmla="*/ 2045274 h 6121960"/>
              <a:gd name="connsiteX69" fmla="*/ 7086755 w 8636594"/>
              <a:gd name="connsiteY69" fmla="*/ 1872743 h 6121960"/>
              <a:gd name="connsiteX70" fmla="*/ 7170279 w 8636594"/>
              <a:gd name="connsiteY70" fmla="*/ 1744202 h 6121960"/>
              <a:gd name="connsiteX71" fmla="*/ 7226351 w 8636594"/>
              <a:gd name="connsiteY71" fmla="*/ 1659017 h 6121960"/>
              <a:gd name="connsiteX72" fmla="*/ 7282789 w 8636594"/>
              <a:gd name="connsiteY72" fmla="*/ 1574303 h 6121960"/>
              <a:gd name="connsiteX73" fmla="*/ 7339643 w 8636594"/>
              <a:gd name="connsiteY73" fmla="*/ 1490113 h 6121960"/>
              <a:gd name="connsiteX74" fmla="*/ 7396957 w 8636594"/>
              <a:gd name="connsiteY74" fmla="*/ 1406503 h 6121960"/>
              <a:gd name="connsiteX75" fmla="*/ 7454781 w 8636594"/>
              <a:gd name="connsiteY75" fmla="*/ 1323526 h 6121960"/>
              <a:gd name="connsiteX76" fmla="*/ 7513161 w 8636594"/>
              <a:gd name="connsiteY76" fmla="*/ 1241237 h 6121960"/>
              <a:gd name="connsiteX77" fmla="*/ 7572144 w 8636594"/>
              <a:gd name="connsiteY77" fmla="*/ 1159689 h 6121960"/>
              <a:gd name="connsiteX78" fmla="*/ 7601877 w 8636594"/>
              <a:gd name="connsiteY78" fmla="*/ 1119210 h 6121960"/>
              <a:gd name="connsiteX79" fmla="*/ 7631779 w 8636594"/>
              <a:gd name="connsiteY79" fmla="*/ 1078937 h 6121960"/>
              <a:gd name="connsiteX80" fmla="*/ 7661855 w 8636594"/>
              <a:gd name="connsiteY80" fmla="*/ 1038876 h 6121960"/>
              <a:gd name="connsiteX81" fmla="*/ 7692111 w 8636594"/>
              <a:gd name="connsiteY81" fmla="*/ 999035 h 6121960"/>
              <a:gd name="connsiteX82" fmla="*/ 7722554 w 8636594"/>
              <a:gd name="connsiteY82" fmla="*/ 959419 h 6121960"/>
              <a:gd name="connsiteX83" fmla="*/ 7753190 w 8636594"/>
              <a:gd name="connsiteY83" fmla="*/ 920037 h 6121960"/>
              <a:gd name="connsiteX84" fmla="*/ 7784023 w 8636594"/>
              <a:gd name="connsiteY84" fmla="*/ 880894 h 6121960"/>
              <a:gd name="connsiteX85" fmla="*/ 7815061 w 8636594"/>
              <a:gd name="connsiteY85" fmla="*/ 841997 h 6121960"/>
              <a:gd name="connsiteX86" fmla="*/ 7846308 w 8636594"/>
              <a:gd name="connsiteY86" fmla="*/ 803354 h 6121960"/>
              <a:gd name="connsiteX87" fmla="*/ 7877772 w 8636594"/>
              <a:gd name="connsiteY87" fmla="*/ 764970 h 6121960"/>
              <a:gd name="connsiteX88" fmla="*/ 7909458 w 8636594"/>
              <a:gd name="connsiteY88" fmla="*/ 726853 h 6121960"/>
              <a:gd name="connsiteX89" fmla="*/ 7941371 w 8636594"/>
              <a:gd name="connsiteY89" fmla="*/ 689010 h 6121960"/>
              <a:gd name="connsiteX90" fmla="*/ 7973518 w 8636594"/>
              <a:gd name="connsiteY90" fmla="*/ 651447 h 6121960"/>
              <a:gd name="connsiteX91" fmla="*/ 8005905 w 8636594"/>
              <a:gd name="connsiteY91" fmla="*/ 614171 h 6121960"/>
              <a:gd name="connsiteX92" fmla="*/ 8038538 w 8636594"/>
              <a:gd name="connsiteY92" fmla="*/ 577189 h 6121960"/>
              <a:gd name="connsiteX93" fmla="*/ 8071421 w 8636594"/>
              <a:gd name="connsiteY93" fmla="*/ 540507 h 6121960"/>
              <a:gd name="connsiteX94" fmla="*/ 8104563 w 8636594"/>
              <a:gd name="connsiteY94" fmla="*/ 504132 h 6121960"/>
              <a:gd name="connsiteX95" fmla="*/ 8137967 w 8636594"/>
              <a:gd name="connsiteY95" fmla="*/ 468072 h 6121960"/>
              <a:gd name="connsiteX96" fmla="*/ 8171641 w 8636594"/>
              <a:gd name="connsiteY96" fmla="*/ 432332 h 6121960"/>
              <a:gd name="connsiteX97" fmla="*/ 8205590 w 8636594"/>
              <a:gd name="connsiteY97" fmla="*/ 396920 h 6121960"/>
              <a:gd name="connsiteX98" fmla="*/ 8239820 w 8636594"/>
              <a:gd name="connsiteY98" fmla="*/ 361843 h 6121960"/>
              <a:gd name="connsiteX99" fmla="*/ 8274337 w 8636594"/>
              <a:gd name="connsiteY99" fmla="*/ 327107 h 6121960"/>
              <a:gd name="connsiteX100" fmla="*/ 8309147 w 8636594"/>
              <a:gd name="connsiteY100" fmla="*/ 292718 h 6121960"/>
              <a:gd name="connsiteX101" fmla="*/ 8344256 w 8636594"/>
              <a:gd name="connsiteY101" fmla="*/ 258685 h 6121960"/>
              <a:gd name="connsiteX102" fmla="*/ 8379669 w 8636594"/>
              <a:gd name="connsiteY102" fmla="*/ 225013 h 6121960"/>
              <a:gd name="connsiteX103" fmla="*/ 8415394 w 8636594"/>
              <a:gd name="connsiteY103" fmla="*/ 191709 h 6121960"/>
              <a:gd name="connsiteX104" fmla="*/ 8451434 w 8636594"/>
              <a:gd name="connsiteY104" fmla="*/ 158780 h 6121960"/>
              <a:gd name="connsiteX105" fmla="*/ 8487798 w 8636594"/>
              <a:gd name="connsiteY105" fmla="*/ 126233 h 6121960"/>
              <a:gd name="connsiteX106" fmla="*/ 8524489 w 8636594"/>
              <a:gd name="connsiteY106" fmla="*/ 94075 h 6121960"/>
              <a:gd name="connsiteX107" fmla="*/ 8561515 w 8636594"/>
              <a:gd name="connsiteY107" fmla="*/ 62312 h 6121960"/>
              <a:gd name="connsiteX108" fmla="*/ 8598881 w 8636594"/>
              <a:gd name="connsiteY108" fmla="*/ 30951 h 6121960"/>
              <a:gd name="connsiteX109" fmla="*/ 8636594 w 8636594"/>
              <a:gd name="connsiteY109" fmla="*/ 0 h 6121960"/>
              <a:gd name="connsiteX0" fmla="*/ 8636594 w 8636594"/>
              <a:gd name="connsiteY0" fmla="*/ 0 h 6121960"/>
              <a:gd name="connsiteX1" fmla="*/ 5293 w 8636594"/>
              <a:gd name="connsiteY1" fmla="*/ 0 h 6121960"/>
              <a:gd name="connsiteX2" fmla="*/ 0 w 8636594"/>
              <a:gd name="connsiteY2" fmla="*/ 5587843 h 6121960"/>
              <a:gd name="connsiteX3" fmla="*/ 3638142 w 8636594"/>
              <a:gd name="connsiteY3" fmla="*/ 6121960 h 6121960"/>
              <a:gd name="connsiteX4" fmla="*/ 3680024 w 8636594"/>
              <a:gd name="connsiteY4" fmla="*/ 6099881 h 6121960"/>
              <a:gd name="connsiteX5" fmla="*/ 3721426 w 8636594"/>
              <a:gd name="connsiteY5" fmla="*/ 6077471 h 6121960"/>
              <a:gd name="connsiteX6" fmla="*/ 3762353 w 8636594"/>
              <a:gd name="connsiteY6" fmla="*/ 6054733 h 6121960"/>
              <a:gd name="connsiteX7" fmla="*/ 3802812 w 8636594"/>
              <a:gd name="connsiteY7" fmla="*/ 6031671 h 6121960"/>
              <a:gd name="connsiteX8" fmla="*/ 3842810 w 8636594"/>
              <a:gd name="connsiteY8" fmla="*/ 6008288 h 6121960"/>
              <a:gd name="connsiteX9" fmla="*/ 3882352 w 8636594"/>
              <a:gd name="connsiteY9" fmla="*/ 5984588 h 6121960"/>
              <a:gd name="connsiteX10" fmla="*/ 3921445 w 8636594"/>
              <a:gd name="connsiteY10" fmla="*/ 5960574 h 6121960"/>
              <a:gd name="connsiteX11" fmla="*/ 3960096 w 8636594"/>
              <a:gd name="connsiteY11" fmla="*/ 5936250 h 6121960"/>
              <a:gd name="connsiteX12" fmla="*/ 3998311 w 8636594"/>
              <a:gd name="connsiteY12" fmla="*/ 5911619 h 6121960"/>
              <a:gd name="connsiteX13" fmla="*/ 4036095 w 8636594"/>
              <a:gd name="connsiteY13" fmla="*/ 5886685 h 6121960"/>
              <a:gd name="connsiteX14" fmla="*/ 4073456 w 8636594"/>
              <a:gd name="connsiteY14" fmla="*/ 5861452 h 6121960"/>
              <a:gd name="connsiteX15" fmla="*/ 4110400 w 8636594"/>
              <a:gd name="connsiteY15" fmla="*/ 5835922 h 6121960"/>
              <a:gd name="connsiteX16" fmla="*/ 4146933 w 8636594"/>
              <a:gd name="connsiteY16" fmla="*/ 5810100 h 6121960"/>
              <a:gd name="connsiteX17" fmla="*/ 4183061 w 8636594"/>
              <a:gd name="connsiteY17" fmla="*/ 5783988 h 6121960"/>
              <a:gd name="connsiteX18" fmla="*/ 4218791 w 8636594"/>
              <a:gd name="connsiteY18" fmla="*/ 5757591 h 6121960"/>
              <a:gd name="connsiteX19" fmla="*/ 4254129 w 8636594"/>
              <a:gd name="connsiteY19" fmla="*/ 5730912 h 6121960"/>
              <a:gd name="connsiteX20" fmla="*/ 4289081 w 8636594"/>
              <a:gd name="connsiteY20" fmla="*/ 5703955 h 6121960"/>
              <a:gd name="connsiteX21" fmla="*/ 4323654 w 8636594"/>
              <a:gd name="connsiteY21" fmla="*/ 5676722 h 6121960"/>
              <a:gd name="connsiteX22" fmla="*/ 4357854 w 8636594"/>
              <a:gd name="connsiteY22" fmla="*/ 5649218 h 6121960"/>
              <a:gd name="connsiteX23" fmla="*/ 4391688 w 8636594"/>
              <a:gd name="connsiteY23" fmla="*/ 5621446 h 6121960"/>
              <a:gd name="connsiteX24" fmla="*/ 4425162 w 8636594"/>
              <a:gd name="connsiteY24" fmla="*/ 5593409 h 6121960"/>
              <a:gd name="connsiteX25" fmla="*/ 4458281 w 8636594"/>
              <a:gd name="connsiteY25" fmla="*/ 5565111 h 6121960"/>
              <a:gd name="connsiteX26" fmla="*/ 4491053 w 8636594"/>
              <a:gd name="connsiteY26" fmla="*/ 5536556 h 6121960"/>
              <a:gd name="connsiteX27" fmla="*/ 4523484 w 8636594"/>
              <a:gd name="connsiteY27" fmla="*/ 5507747 h 6121960"/>
              <a:gd name="connsiteX28" fmla="*/ 4555580 w 8636594"/>
              <a:gd name="connsiteY28" fmla="*/ 5478687 h 6121960"/>
              <a:gd name="connsiteX29" fmla="*/ 4587347 w 8636594"/>
              <a:gd name="connsiteY29" fmla="*/ 5449380 h 6121960"/>
              <a:gd name="connsiteX30" fmla="*/ 4618793 w 8636594"/>
              <a:gd name="connsiteY30" fmla="*/ 5419830 h 6121960"/>
              <a:gd name="connsiteX31" fmla="*/ 4649922 w 8636594"/>
              <a:gd name="connsiteY31" fmla="*/ 5390040 h 6121960"/>
              <a:gd name="connsiteX32" fmla="*/ 4680742 w 8636594"/>
              <a:gd name="connsiteY32" fmla="*/ 5360014 h 6121960"/>
              <a:gd name="connsiteX33" fmla="*/ 4711259 w 8636594"/>
              <a:gd name="connsiteY33" fmla="*/ 5329755 h 6121960"/>
              <a:gd name="connsiteX34" fmla="*/ 4741478 w 8636594"/>
              <a:gd name="connsiteY34" fmla="*/ 5299266 h 6121960"/>
              <a:gd name="connsiteX35" fmla="*/ 4771408 w 8636594"/>
              <a:gd name="connsiteY35" fmla="*/ 5268551 h 6121960"/>
              <a:gd name="connsiteX36" fmla="*/ 4801053 w 8636594"/>
              <a:gd name="connsiteY36" fmla="*/ 5237614 h 6121960"/>
              <a:gd name="connsiteX37" fmla="*/ 4830420 w 8636594"/>
              <a:gd name="connsiteY37" fmla="*/ 5206458 h 6121960"/>
              <a:gd name="connsiteX38" fmla="*/ 4859516 w 8636594"/>
              <a:gd name="connsiteY38" fmla="*/ 5175087 h 6121960"/>
              <a:gd name="connsiteX39" fmla="*/ 4888347 w 8636594"/>
              <a:gd name="connsiteY39" fmla="*/ 5143504 h 6121960"/>
              <a:gd name="connsiteX40" fmla="*/ 4916919 w 8636594"/>
              <a:gd name="connsiteY40" fmla="*/ 5111713 h 6121960"/>
              <a:gd name="connsiteX41" fmla="*/ 4945238 w 8636594"/>
              <a:gd name="connsiteY41" fmla="*/ 5079717 h 6121960"/>
              <a:gd name="connsiteX42" fmla="*/ 4973311 w 8636594"/>
              <a:gd name="connsiteY42" fmla="*/ 5047519 h 6121960"/>
              <a:gd name="connsiteX43" fmla="*/ 5001145 w 8636594"/>
              <a:gd name="connsiteY43" fmla="*/ 5015124 h 6121960"/>
              <a:gd name="connsiteX44" fmla="*/ 5028745 w 8636594"/>
              <a:gd name="connsiteY44" fmla="*/ 4982535 h 6121960"/>
              <a:gd name="connsiteX45" fmla="*/ 5056117 w 8636594"/>
              <a:gd name="connsiteY45" fmla="*/ 4949755 h 6121960"/>
              <a:gd name="connsiteX46" fmla="*/ 5083269 w 8636594"/>
              <a:gd name="connsiteY46" fmla="*/ 4916787 h 6121960"/>
              <a:gd name="connsiteX47" fmla="*/ 5110207 w 8636594"/>
              <a:gd name="connsiteY47" fmla="*/ 4883636 h 6121960"/>
              <a:gd name="connsiteX48" fmla="*/ 5136937 w 8636594"/>
              <a:gd name="connsiteY48" fmla="*/ 4850305 h 6121960"/>
              <a:gd name="connsiteX49" fmla="*/ 5163464 w 8636594"/>
              <a:gd name="connsiteY49" fmla="*/ 4816797 h 6121960"/>
              <a:gd name="connsiteX50" fmla="*/ 5215940 w 8636594"/>
              <a:gd name="connsiteY50" fmla="*/ 4749265 h 6121960"/>
              <a:gd name="connsiteX51" fmla="*/ 5267684 w 8636594"/>
              <a:gd name="connsiteY51" fmla="*/ 4681068 h 6121960"/>
              <a:gd name="connsiteX52" fmla="*/ 5318748 w 8636594"/>
              <a:gd name="connsiteY52" fmla="*/ 4612234 h 6121960"/>
              <a:gd name="connsiteX53" fmla="*/ 5369182 w 8636594"/>
              <a:gd name="connsiteY53" fmla="*/ 4542793 h 6121960"/>
              <a:gd name="connsiteX54" fmla="*/ 5419038 w 8636594"/>
              <a:gd name="connsiteY54" fmla="*/ 4472771 h 6121960"/>
              <a:gd name="connsiteX55" fmla="*/ 5468365 w 8636594"/>
              <a:gd name="connsiteY55" fmla="*/ 4402196 h 6121960"/>
              <a:gd name="connsiteX56" fmla="*/ 5517215 w 8636594"/>
              <a:gd name="connsiteY56" fmla="*/ 4331098 h 6121960"/>
              <a:gd name="connsiteX57" fmla="*/ 5565637 w 8636594"/>
              <a:gd name="connsiteY57" fmla="*/ 4259503 h 6121960"/>
              <a:gd name="connsiteX58" fmla="*/ 5613684 w 8636594"/>
              <a:gd name="connsiteY58" fmla="*/ 4187441 h 6121960"/>
              <a:gd name="connsiteX59" fmla="*/ 5685160 w 8636594"/>
              <a:gd name="connsiteY59" fmla="*/ 4078531 h 6121960"/>
              <a:gd name="connsiteX60" fmla="*/ 5756074 w 8636594"/>
              <a:gd name="connsiteY60" fmla="*/ 3968727 h 6121960"/>
              <a:gd name="connsiteX61" fmla="*/ 5873483 w 8636594"/>
              <a:gd name="connsiteY61" fmla="*/ 3783989 h 6121960"/>
              <a:gd name="connsiteX62" fmla="*/ 6203209 w 8636594"/>
              <a:gd name="connsiteY62" fmla="*/ 3258640 h 6121960"/>
              <a:gd name="connsiteX63" fmla="*/ 6299430 w 8636594"/>
              <a:gd name="connsiteY63" fmla="*/ 3107321 h 6121960"/>
              <a:gd name="connsiteX64" fmla="*/ 6372650 w 8636594"/>
              <a:gd name="connsiteY64" fmla="*/ 2993735 h 6121960"/>
              <a:gd name="connsiteX65" fmla="*/ 6453197 w 8636594"/>
              <a:gd name="connsiteY65" fmla="*/ 2869788 h 6121960"/>
              <a:gd name="connsiteX66" fmla="*/ 6564167 w 8636594"/>
              <a:gd name="connsiteY66" fmla="*/ 2696807 h 6121960"/>
              <a:gd name="connsiteX67" fmla="*/ 6976233 w 8636594"/>
              <a:gd name="connsiteY67" fmla="*/ 2045274 h 6121960"/>
              <a:gd name="connsiteX68" fmla="*/ 7086755 w 8636594"/>
              <a:gd name="connsiteY68" fmla="*/ 1872743 h 6121960"/>
              <a:gd name="connsiteX69" fmla="*/ 7170279 w 8636594"/>
              <a:gd name="connsiteY69" fmla="*/ 1744202 h 6121960"/>
              <a:gd name="connsiteX70" fmla="*/ 7226351 w 8636594"/>
              <a:gd name="connsiteY70" fmla="*/ 1659017 h 6121960"/>
              <a:gd name="connsiteX71" fmla="*/ 7282789 w 8636594"/>
              <a:gd name="connsiteY71" fmla="*/ 1574303 h 6121960"/>
              <a:gd name="connsiteX72" fmla="*/ 7339643 w 8636594"/>
              <a:gd name="connsiteY72" fmla="*/ 1490113 h 6121960"/>
              <a:gd name="connsiteX73" fmla="*/ 7396957 w 8636594"/>
              <a:gd name="connsiteY73" fmla="*/ 1406503 h 6121960"/>
              <a:gd name="connsiteX74" fmla="*/ 7454781 w 8636594"/>
              <a:gd name="connsiteY74" fmla="*/ 1323526 h 6121960"/>
              <a:gd name="connsiteX75" fmla="*/ 7513161 w 8636594"/>
              <a:gd name="connsiteY75" fmla="*/ 1241237 h 6121960"/>
              <a:gd name="connsiteX76" fmla="*/ 7572144 w 8636594"/>
              <a:gd name="connsiteY76" fmla="*/ 1159689 h 6121960"/>
              <a:gd name="connsiteX77" fmla="*/ 7601877 w 8636594"/>
              <a:gd name="connsiteY77" fmla="*/ 1119210 h 6121960"/>
              <a:gd name="connsiteX78" fmla="*/ 7631779 w 8636594"/>
              <a:gd name="connsiteY78" fmla="*/ 1078937 h 6121960"/>
              <a:gd name="connsiteX79" fmla="*/ 7661855 w 8636594"/>
              <a:gd name="connsiteY79" fmla="*/ 1038876 h 6121960"/>
              <a:gd name="connsiteX80" fmla="*/ 7692111 w 8636594"/>
              <a:gd name="connsiteY80" fmla="*/ 999035 h 6121960"/>
              <a:gd name="connsiteX81" fmla="*/ 7722554 w 8636594"/>
              <a:gd name="connsiteY81" fmla="*/ 959419 h 6121960"/>
              <a:gd name="connsiteX82" fmla="*/ 7753190 w 8636594"/>
              <a:gd name="connsiteY82" fmla="*/ 920037 h 6121960"/>
              <a:gd name="connsiteX83" fmla="*/ 7784023 w 8636594"/>
              <a:gd name="connsiteY83" fmla="*/ 880894 h 6121960"/>
              <a:gd name="connsiteX84" fmla="*/ 7815061 w 8636594"/>
              <a:gd name="connsiteY84" fmla="*/ 841997 h 6121960"/>
              <a:gd name="connsiteX85" fmla="*/ 7846308 w 8636594"/>
              <a:gd name="connsiteY85" fmla="*/ 803354 h 6121960"/>
              <a:gd name="connsiteX86" fmla="*/ 7877772 w 8636594"/>
              <a:gd name="connsiteY86" fmla="*/ 764970 h 6121960"/>
              <a:gd name="connsiteX87" fmla="*/ 7909458 w 8636594"/>
              <a:gd name="connsiteY87" fmla="*/ 726853 h 6121960"/>
              <a:gd name="connsiteX88" fmla="*/ 7941371 w 8636594"/>
              <a:gd name="connsiteY88" fmla="*/ 689010 h 6121960"/>
              <a:gd name="connsiteX89" fmla="*/ 7973518 w 8636594"/>
              <a:gd name="connsiteY89" fmla="*/ 651447 h 6121960"/>
              <a:gd name="connsiteX90" fmla="*/ 8005905 w 8636594"/>
              <a:gd name="connsiteY90" fmla="*/ 614171 h 6121960"/>
              <a:gd name="connsiteX91" fmla="*/ 8038538 w 8636594"/>
              <a:gd name="connsiteY91" fmla="*/ 577189 h 6121960"/>
              <a:gd name="connsiteX92" fmla="*/ 8071421 w 8636594"/>
              <a:gd name="connsiteY92" fmla="*/ 540507 h 6121960"/>
              <a:gd name="connsiteX93" fmla="*/ 8104563 w 8636594"/>
              <a:gd name="connsiteY93" fmla="*/ 504132 h 6121960"/>
              <a:gd name="connsiteX94" fmla="*/ 8137967 w 8636594"/>
              <a:gd name="connsiteY94" fmla="*/ 468072 h 6121960"/>
              <a:gd name="connsiteX95" fmla="*/ 8171641 w 8636594"/>
              <a:gd name="connsiteY95" fmla="*/ 432332 h 6121960"/>
              <a:gd name="connsiteX96" fmla="*/ 8205590 w 8636594"/>
              <a:gd name="connsiteY96" fmla="*/ 396920 h 6121960"/>
              <a:gd name="connsiteX97" fmla="*/ 8239820 w 8636594"/>
              <a:gd name="connsiteY97" fmla="*/ 361843 h 6121960"/>
              <a:gd name="connsiteX98" fmla="*/ 8274337 w 8636594"/>
              <a:gd name="connsiteY98" fmla="*/ 327107 h 6121960"/>
              <a:gd name="connsiteX99" fmla="*/ 8309147 w 8636594"/>
              <a:gd name="connsiteY99" fmla="*/ 292718 h 6121960"/>
              <a:gd name="connsiteX100" fmla="*/ 8344256 w 8636594"/>
              <a:gd name="connsiteY100" fmla="*/ 258685 h 6121960"/>
              <a:gd name="connsiteX101" fmla="*/ 8379669 w 8636594"/>
              <a:gd name="connsiteY101" fmla="*/ 225013 h 6121960"/>
              <a:gd name="connsiteX102" fmla="*/ 8415394 w 8636594"/>
              <a:gd name="connsiteY102" fmla="*/ 191709 h 6121960"/>
              <a:gd name="connsiteX103" fmla="*/ 8451434 w 8636594"/>
              <a:gd name="connsiteY103" fmla="*/ 158780 h 6121960"/>
              <a:gd name="connsiteX104" fmla="*/ 8487798 w 8636594"/>
              <a:gd name="connsiteY104" fmla="*/ 126233 h 6121960"/>
              <a:gd name="connsiteX105" fmla="*/ 8524489 w 8636594"/>
              <a:gd name="connsiteY105" fmla="*/ 94075 h 6121960"/>
              <a:gd name="connsiteX106" fmla="*/ 8561515 w 8636594"/>
              <a:gd name="connsiteY106" fmla="*/ 62312 h 6121960"/>
              <a:gd name="connsiteX107" fmla="*/ 8598881 w 8636594"/>
              <a:gd name="connsiteY107" fmla="*/ 30951 h 6121960"/>
              <a:gd name="connsiteX108" fmla="*/ 8636594 w 8636594"/>
              <a:gd name="connsiteY108" fmla="*/ 0 h 6121960"/>
              <a:gd name="connsiteX0" fmla="*/ 8636594 w 8636594"/>
              <a:gd name="connsiteY0" fmla="*/ 0 h 6099881"/>
              <a:gd name="connsiteX1" fmla="*/ 5293 w 8636594"/>
              <a:gd name="connsiteY1" fmla="*/ 0 h 6099881"/>
              <a:gd name="connsiteX2" fmla="*/ 0 w 8636594"/>
              <a:gd name="connsiteY2" fmla="*/ 5587843 h 6099881"/>
              <a:gd name="connsiteX3" fmla="*/ 3680024 w 8636594"/>
              <a:gd name="connsiteY3" fmla="*/ 6099881 h 6099881"/>
              <a:gd name="connsiteX4" fmla="*/ 3721426 w 8636594"/>
              <a:gd name="connsiteY4" fmla="*/ 6077471 h 6099881"/>
              <a:gd name="connsiteX5" fmla="*/ 3762353 w 8636594"/>
              <a:gd name="connsiteY5" fmla="*/ 6054733 h 6099881"/>
              <a:gd name="connsiteX6" fmla="*/ 3802812 w 8636594"/>
              <a:gd name="connsiteY6" fmla="*/ 6031671 h 6099881"/>
              <a:gd name="connsiteX7" fmla="*/ 3842810 w 8636594"/>
              <a:gd name="connsiteY7" fmla="*/ 6008288 h 6099881"/>
              <a:gd name="connsiteX8" fmla="*/ 3882352 w 8636594"/>
              <a:gd name="connsiteY8" fmla="*/ 5984588 h 6099881"/>
              <a:gd name="connsiteX9" fmla="*/ 3921445 w 8636594"/>
              <a:gd name="connsiteY9" fmla="*/ 5960574 h 6099881"/>
              <a:gd name="connsiteX10" fmla="*/ 3960096 w 8636594"/>
              <a:gd name="connsiteY10" fmla="*/ 5936250 h 6099881"/>
              <a:gd name="connsiteX11" fmla="*/ 3998311 w 8636594"/>
              <a:gd name="connsiteY11" fmla="*/ 5911619 h 6099881"/>
              <a:gd name="connsiteX12" fmla="*/ 4036095 w 8636594"/>
              <a:gd name="connsiteY12" fmla="*/ 5886685 h 6099881"/>
              <a:gd name="connsiteX13" fmla="*/ 4073456 w 8636594"/>
              <a:gd name="connsiteY13" fmla="*/ 5861452 h 6099881"/>
              <a:gd name="connsiteX14" fmla="*/ 4110400 w 8636594"/>
              <a:gd name="connsiteY14" fmla="*/ 5835922 h 6099881"/>
              <a:gd name="connsiteX15" fmla="*/ 4146933 w 8636594"/>
              <a:gd name="connsiteY15" fmla="*/ 5810100 h 6099881"/>
              <a:gd name="connsiteX16" fmla="*/ 4183061 w 8636594"/>
              <a:gd name="connsiteY16" fmla="*/ 5783988 h 6099881"/>
              <a:gd name="connsiteX17" fmla="*/ 4218791 w 8636594"/>
              <a:gd name="connsiteY17" fmla="*/ 5757591 h 6099881"/>
              <a:gd name="connsiteX18" fmla="*/ 4254129 w 8636594"/>
              <a:gd name="connsiteY18" fmla="*/ 5730912 h 6099881"/>
              <a:gd name="connsiteX19" fmla="*/ 4289081 w 8636594"/>
              <a:gd name="connsiteY19" fmla="*/ 5703955 h 6099881"/>
              <a:gd name="connsiteX20" fmla="*/ 4323654 w 8636594"/>
              <a:gd name="connsiteY20" fmla="*/ 5676722 h 6099881"/>
              <a:gd name="connsiteX21" fmla="*/ 4357854 w 8636594"/>
              <a:gd name="connsiteY21" fmla="*/ 5649218 h 6099881"/>
              <a:gd name="connsiteX22" fmla="*/ 4391688 w 8636594"/>
              <a:gd name="connsiteY22" fmla="*/ 5621446 h 6099881"/>
              <a:gd name="connsiteX23" fmla="*/ 4425162 w 8636594"/>
              <a:gd name="connsiteY23" fmla="*/ 5593409 h 6099881"/>
              <a:gd name="connsiteX24" fmla="*/ 4458281 w 8636594"/>
              <a:gd name="connsiteY24" fmla="*/ 5565111 h 6099881"/>
              <a:gd name="connsiteX25" fmla="*/ 4491053 w 8636594"/>
              <a:gd name="connsiteY25" fmla="*/ 5536556 h 6099881"/>
              <a:gd name="connsiteX26" fmla="*/ 4523484 w 8636594"/>
              <a:gd name="connsiteY26" fmla="*/ 5507747 h 6099881"/>
              <a:gd name="connsiteX27" fmla="*/ 4555580 w 8636594"/>
              <a:gd name="connsiteY27" fmla="*/ 5478687 h 6099881"/>
              <a:gd name="connsiteX28" fmla="*/ 4587347 w 8636594"/>
              <a:gd name="connsiteY28" fmla="*/ 5449380 h 6099881"/>
              <a:gd name="connsiteX29" fmla="*/ 4618793 w 8636594"/>
              <a:gd name="connsiteY29" fmla="*/ 5419830 h 6099881"/>
              <a:gd name="connsiteX30" fmla="*/ 4649922 w 8636594"/>
              <a:gd name="connsiteY30" fmla="*/ 5390040 h 6099881"/>
              <a:gd name="connsiteX31" fmla="*/ 4680742 w 8636594"/>
              <a:gd name="connsiteY31" fmla="*/ 5360014 h 6099881"/>
              <a:gd name="connsiteX32" fmla="*/ 4711259 w 8636594"/>
              <a:gd name="connsiteY32" fmla="*/ 5329755 h 6099881"/>
              <a:gd name="connsiteX33" fmla="*/ 4741478 w 8636594"/>
              <a:gd name="connsiteY33" fmla="*/ 5299266 h 6099881"/>
              <a:gd name="connsiteX34" fmla="*/ 4771408 w 8636594"/>
              <a:gd name="connsiteY34" fmla="*/ 5268551 h 6099881"/>
              <a:gd name="connsiteX35" fmla="*/ 4801053 w 8636594"/>
              <a:gd name="connsiteY35" fmla="*/ 5237614 h 6099881"/>
              <a:gd name="connsiteX36" fmla="*/ 4830420 w 8636594"/>
              <a:gd name="connsiteY36" fmla="*/ 5206458 h 6099881"/>
              <a:gd name="connsiteX37" fmla="*/ 4859516 w 8636594"/>
              <a:gd name="connsiteY37" fmla="*/ 5175087 h 6099881"/>
              <a:gd name="connsiteX38" fmla="*/ 4888347 w 8636594"/>
              <a:gd name="connsiteY38" fmla="*/ 5143504 h 6099881"/>
              <a:gd name="connsiteX39" fmla="*/ 4916919 w 8636594"/>
              <a:gd name="connsiteY39" fmla="*/ 5111713 h 6099881"/>
              <a:gd name="connsiteX40" fmla="*/ 4945238 w 8636594"/>
              <a:gd name="connsiteY40" fmla="*/ 5079717 h 6099881"/>
              <a:gd name="connsiteX41" fmla="*/ 4973311 w 8636594"/>
              <a:gd name="connsiteY41" fmla="*/ 5047519 h 6099881"/>
              <a:gd name="connsiteX42" fmla="*/ 5001145 w 8636594"/>
              <a:gd name="connsiteY42" fmla="*/ 5015124 h 6099881"/>
              <a:gd name="connsiteX43" fmla="*/ 5028745 w 8636594"/>
              <a:gd name="connsiteY43" fmla="*/ 4982535 h 6099881"/>
              <a:gd name="connsiteX44" fmla="*/ 5056117 w 8636594"/>
              <a:gd name="connsiteY44" fmla="*/ 4949755 h 6099881"/>
              <a:gd name="connsiteX45" fmla="*/ 5083269 w 8636594"/>
              <a:gd name="connsiteY45" fmla="*/ 4916787 h 6099881"/>
              <a:gd name="connsiteX46" fmla="*/ 5110207 w 8636594"/>
              <a:gd name="connsiteY46" fmla="*/ 4883636 h 6099881"/>
              <a:gd name="connsiteX47" fmla="*/ 5136937 w 8636594"/>
              <a:gd name="connsiteY47" fmla="*/ 4850305 h 6099881"/>
              <a:gd name="connsiteX48" fmla="*/ 5163464 w 8636594"/>
              <a:gd name="connsiteY48" fmla="*/ 4816797 h 6099881"/>
              <a:gd name="connsiteX49" fmla="*/ 5215940 w 8636594"/>
              <a:gd name="connsiteY49" fmla="*/ 4749265 h 6099881"/>
              <a:gd name="connsiteX50" fmla="*/ 5267684 w 8636594"/>
              <a:gd name="connsiteY50" fmla="*/ 4681068 h 6099881"/>
              <a:gd name="connsiteX51" fmla="*/ 5318748 w 8636594"/>
              <a:gd name="connsiteY51" fmla="*/ 4612234 h 6099881"/>
              <a:gd name="connsiteX52" fmla="*/ 5369182 w 8636594"/>
              <a:gd name="connsiteY52" fmla="*/ 4542793 h 6099881"/>
              <a:gd name="connsiteX53" fmla="*/ 5419038 w 8636594"/>
              <a:gd name="connsiteY53" fmla="*/ 4472771 h 6099881"/>
              <a:gd name="connsiteX54" fmla="*/ 5468365 w 8636594"/>
              <a:gd name="connsiteY54" fmla="*/ 4402196 h 6099881"/>
              <a:gd name="connsiteX55" fmla="*/ 5517215 w 8636594"/>
              <a:gd name="connsiteY55" fmla="*/ 4331098 h 6099881"/>
              <a:gd name="connsiteX56" fmla="*/ 5565637 w 8636594"/>
              <a:gd name="connsiteY56" fmla="*/ 4259503 h 6099881"/>
              <a:gd name="connsiteX57" fmla="*/ 5613684 w 8636594"/>
              <a:gd name="connsiteY57" fmla="*/ 4187441 h 6099881"/>
              <a:gd name="connsiteX58" fmla="*/ 5685160 w 8636594"/>
              <a:gd name="connsiteY58" fmla="*/ 4078531 h 6099881"/>
              <a:gd name="connsiteX59" fmla="*/ 5756074 w 8636594"/>
              <a:gd name="connsiteY59" fmla="*/ 3968727 h 6099881"/>
              <a:gd name="connsiteX60" fmla="*/ 5873483 w 8636594"/>
              <a:gd name="connsiteY60" fmla="*/ 3783989 h 6099881"/>
              <a:gd name="connsiteX61" fmla="*/ 6203209 w 8636594"/>
              <a:gd name="connsiteY61" fmla="*/ 3258640 h 6099881"/>
              <a:gd name="connsiteX62" fmla="*/ 6299430 w 8636594"/>
              <a:gd name="connsiteY62" fmla="*/ 3107321 h 6099881"/>
              <a:gd name="connsiteX63" fmla="*/ 6372650 w 8636594"/>
              <a:gd name="connsiteY63" fmla="*/ 2993735 h 6099881"/>
              <a:gd name="connsiteX64" fmla="*/ 6453197 w 8636594"/>
              <a:gd name="connsiteY64" fmla="*/ 2869788 h 6099881"/>
              <a:gd name="connsiteX65" fmla="*/ 6564167 w 8636594"/>
              <a:gd name="connsiteY65" fmla="*/ 2696807 h 6099881"/>
              <a:gd name="connsiteX66" fmla="*/ 6976233 w 8636594"/>
              <a:gd name="connsiteY66" fmla="*/ 2045274 h 6099881"/>
              <a:gd name="connsiteX67" fmla="*/ 7086755 w 8636594"/>
              <a:gd name="connsiteY67" fmla="*/ 1872743 h 6099881"/>
              <a:gd name="connsiteX68" fmla="*/ 7170279 w 8636594"/>
              <a:gd name="connsiteY68" fmla="*/ 1744202 h 6099881"/>
              <a:gd name="connsiteX69" fmla="*/ 7226351 w 8636594"/>
              <a:gd name="connsiteY69" fmla="*/ 1659017 h 6099881"/>
              <a:gd name="connsiteX70" fmla="*/ 7282789 w 8636594"/>
              <a:gd name="connsiteY70" fmla="*/ 1574303 h 6099881"/>
              <a:gd name="connsiteX71" fmla="*/ 7339643 w 8636594"/>
              <a:gd name="connsiteY71" fmla="*/ 1490113 h 6099881"/>
              <a:gd name="connsiteX72" fmla="*/ 7396957 w 8636594"/>
              <a:gd name="connsiteY72" fmla="*/ 1406503 h 6099881"/>
              <a:gd name="connsiteX73" fmla="*/ 7454781 w 8636594"/>
              <a:gd name="connsiteY73" fmla="*/ 1323526 h 6099881"/>
              <a:gd name="connsiteX74" fmla="*/ 7513161 w 8636594"/>
              <a:gd name="connsiteY74" fmla="*/ 1241237 h 6099881"/>
              <a:gd name="connsiteX75" fmla="*/ 7572144 w 8636594"/>
              <a:gd name="connsiteY75" fmla="*/ 1159689 h 6099881"/>
              <a:gd name="connsiteX76" fmla="*/ 7601877 w 8636594"/>
              <a:gd name="connsiteY76" fmla="*/ 1119210 h 6099881"/>
              <a:gd name="connsiteX77" fmla="*/ 7631779 w 8636594"/>
              <a:gd name="connsiteY77" fmla="*/ 1078937 h 6099881"/>
              <a:gd name="connsiteX78" fmla="*/ 7661855 w 8636594"/>
              <a:gd name="connsiteY78" fmla="*/ 1038876 h 6099881"/>
              <a:gd name="connsiteX79" fmla="*/ 7692111 w 8636594"/>
              <a:gd name="connsiteY79" fmla="*/ 999035 h 6099881"/>
              <a:gd name="connsiteX80" fmla="*/ 7722554 w 8636594"/>
              <a:gd name="connsiteY80" fmla="*/ 959419 h 6099881"/>
              <a:gd name="connsiteX81" fmla="*/ 7753190 w 8636594"/>
              <a:gd name="connsiteY81" fmla="*/ 920037 h 6099881"/>
              <a:gd name="connsiteX82" fmla="*/ 7784023 w 8636594"/>
              <a:gd name="connsiteY82" fmla="*/ 880894 h 6099881"/>
              <a:gd name="connsiteX83" fmla="*/ 7815061 w 8636594"/>
              <a:gd name="connsiteY83" fmla="*/ 841997 h 6099881"/>
              <a:gd name="connsiteX84" fmla="*/ 7846308 w 8636594"/>
              <a:gd name="connsiteY84" fmla="*/ 803354 h 6099881"/>
              <a:gd name="connsiteX85" fmla="*/ 7877772 w 8636594"/>
              <a:gd name="connsiteY85" fmla="*/ 764970 h 6099881"/>
              <a:gd name="connsiteX86" fmla="*/ 7909458 w 8636594"/>
              <a:gd name="connsiteY86" fmla="*/ 726853 h 6099881"/>
              <a:gd name="connsiteX87" fmla="*/ 7941371 w 8636594"/>
              <a:gd name="connsiteY87" fmla="*/ 689010 h 6099881"/>
              <a:gd name="connsiteX88" fmla="*/ 7973518 w 8636594"/>
              <a:gd name="connsiteY88" fmla="*/ 651447 h 6099881"/>
              <a:gd name="connsiteX89" fmla="*/ 8005905 w 8636594"/>
              <a:gd name="connsiteY89" fmla="*/ 614171 h 6099881"/>
              <a:gd name="connsiteX90" fmla="*/ 8038538 w 8636594"/>
              <a:gd name="connsiteY90" fmla="*/ 577189 h 6099881"/>
              <a:gd name="connsiteX91" fmla="*/ 8071421 w 8636594"/>
              <a:gd name="connsiteY91" fmla="*/ 540507 h 6099881"/>
              <a:gd name="connsiteX92" fmla="*/ 8104563 w 8636594"/>
              <a:gd name="connsiteY92" fmla="*/ 504132 h 6099881"/>
              <a:gd name="connsiteX93" fmla="*/ 8137967 w 8636594"/>
              <a:gd name="connsiteY93" fmla="*/ 468072 h 6099881"/>
              <a:gd name="connsiteX94" fmla="*/ 8171641 w 8636594"/>
              <a:gd name="connsiteY94" fmla="*/ 432332 h 6099881"/>
              <a:gd name="connsiteX95" fmla="*/ 8205590 w 8636594"/>
              <a:gd name="connsiteY95" fmla="*/ 396920 h 6099881"/>
              <a:gd name="connsiteX96" fmla="*/ 8239820 w 8636594"/>
              <a:gd name="connsiteY96" fmla="*/ 361843 h 6099881"/>
              <a:gd name="connsiteX97" fmla="*/ 8274337 w 8636594"/>
              <a:gd name="connsiteY97" fmla="*/ 327107 h 6099881"/>
              <a:gd name="connsiteX98" fmla="*/ 8309147 w 8636594"/>
              <a:gd name="connsiteY98" fmla="*/ 292718 h 6099881"/>
              <a:gd name="connsiteX99" fmla="*/ 8344256 w 8636594"/>
              <a:gd name="connsiteY99" fmla="*/ 258685 h 6099881"/>
              <a:gd name="connsiteX100" fmla="*/ 8379669 w 8636594"/>
              <a:gd name="connsiteY100" fmla="*/ 225013 h 6099881"/>
              <a:gd name="connsiteX101" fmla="*/ 8415394 w 8636594"/>
              <a:gd name="connsiteY101" fmla="*/ 191709 h 6099881"/>
              <a:gd name="connsiteX102" fmla="*/ 8451434 w 8636594"/>
              <a:gd name="connsiteY102" fmla="*/ 158780 h 6099881"/>
              <a:gd name="connsiteX103" fmla="*/ 8487798 w 8636594"/>
              <a:gd name="connsiteY103" fmla="*/ 126233 h 6099881"/>
              <a:gd name="connsiteX104" fmla="*/ 8524489 w 8636594"/>
              <a:gd name="connsiteY104" fmla="*/ 94075 h 6099881"/>
              <a:gd name="connsiteX105" fmla="*/ 8561515 w 8636594"/>
              <a:gd name="connsiteY105" fmla="*/ 62312 h 6099881"/>
              <a:gd name="connsiteX106" fmla="*/ 8598881 w 8636594"/>
              <a:gd name="connsiteY106" fmla="*/ 30951 h 6099881"/>
              <a:gd name="connsiteX107" fmla="*/ 8636594 w 8636594"/>
              <a:gd name="connsiteY107" fmla="*/ 0 h 6099881"/>
              <a:gd name="connsiteX0" fmla="*/ 8636594 w 8636594"/>
              <a:gd name="connsiteY0" fmla="*/ 0 h 6077471"/>
              <a:gd name="connsiteX1" fmla="*/ 5293 w 8636594"/>
              <a:gd name="connsiteY1" fmla="*/ 0 h 6077471"/>
              <a:gd name="connsiteX2" fmla="*/ 0 w 8636594"/>
              <a:gd name="connsiteY2" fmla="*/ 5587843 h 6077471"/>
              <a:gd name="connsiteX3" fmla="*/ 3721426 w 8636594"/>
              <a:gd name="connsiteY3" fmla="*/ 6077471 h 6077471"/>
              <a:gd name="connsiteX4" fmla="*/ 3762353 w 8636594"/>
              <a:gd name="connsiteY4" fmla="*/ 6054733 h 6077471"/>
              <a:gd name="connsiteX5" fmla="*/ 3802812 w 8636594"/>
              <a:gd name="connsiteY5" fmla="*/ 6031671 h 6077471"/>
              <a:gd name="connsiteX6" fmla="*/ 3842810 w 8636594"/>
              <a:gd name="connsiteY6" fmla="*/ 6008288 h 6077471"/>
              <a:gd name="connsiteX7" fmla="*/ 3882352 w 8636594"/>
              <a:gd name="connsiteY7" fmla="*/ 5984588 h 6077471"/>
              <a:gd name="connsiteX8" fmla="*/ 3921445 w 8636594"/>
              <a:gd name="connsiteY8" fmla="*/ 5960574 h 6077471"/>
              <a:gd name="connsiteX9" fmla="*/ 3960096 w 8636594"/>
              <a:gd name="connsiteY9" fmla="*/ 5936250 h 6077471"/>
              <a:gd name="connsiteX10" fmla="*/ 3998311 w 8636594"/>
              <a:gd name="connsiteY10" fmla="*/ 5911619 h 6077471"/>
              <a:gd name="connsiteX11" fmla="*/ 4036095 w 8636594"/>
              <a:gd name="connsiteY11" fmla="*/ 5886685 h 6077471"/>
              <a:gd name="connsiteX12" fmla="*/ 4073456 w 8636594"/>
              <a:gd name="connsiteY12" fmla="*/ 5861452 h 6077471"/>
              <a:gd name="connsiteX13" fmla="*/ 4110400 w 8636594"/>
              <a:gd name="connsiteY13" fmla="*/ 5835922 h 6077471"/>
              <a:gd name="connsiteX14" fmla="*/ 4146933 w 8636594"/>
              <a:gd name="connsiteY14" fmla="*/ 5810100 h 6077471"/>
              <a:gd name="connsiteX15" fmla="*/ 4183061 w 8636594"/>
              <a:gd name="connsiteY15" fmla="*/ 5783988 h 6077471"/>
              <a:gd name="connsiteX16" fmla="*/ 4218791 w 8636594"/>
              <a:gd name="connsiteY16" fmla="*/ 5757591 h 6077471"/>
              <a:gd name="connsiteX17" fmla="*/ 4254129 w 8636594"/>
              <a:gd name="connsiteY17" fmla="*/ 5730912 h 6077471"/>
              <a:gd name="connsiteX18" fmla="*/ 4289081 w 8636594"/>
              <a:gd name="connsiteY18" fmla="*/ 5703955 h 6077471"/>
              <a:gd name="connsiteX19" fmla="*/ 4323654 w 8636594"/>
              <a:gd name="connsiteY19" fmla="*/ 5676722 h 6077471"/>
              <a:gd name="connsiteX20" fmla="*/ 4357854 w 8636594"/>
              <a:gd name="connsiteY20" fmla="*/ 5649218 h 6077471"/>
              <a:gd name="connsiteX21" fmla="*/ 4391688 w 8636594"/>
              <a:gd name="connsiteY21" fmla="*/ 5621446 h 6077471"/>
              <a:gd name="connsiteX22" fmla="*/ 4425162 w 8636594"/>
              <a:gd name="connsiteY22" fmla="*/ 5593409 h 6077471"/>
              <a:gd name="connsiteX23" fmla="*/ 4458281 w 8636594"/>
              <a:gd name="connsiteY23" fmla="*/ 5565111 h 6077471"/>
              <a:gd name="connsiteX24" fmla="*/ 4491053 w 8636594"/>
              <a:gd name="connsiteY24" fmla="*/ 5536556 h 6077471"/>
              <a:gd name="connsiteX25" fmla="*/ 4523484 w 8636594"/>
              <a:gd name="connsiteY25" fmla="*/ 5507747 h 6077471"/>
              <a:gd name="connsiteX26" fmla="*/ 4555580 w 8636594"/>
              <a:gd name="connsiteY26" fmla="*/ 5478687 h 6077471"/>
              <a:gd name="connsiteX27" fmla="*/ 4587347 w 8636594"/>
              <a:gd name="connsiteY27" fmla="*/ 5449380 h 6077471"/>
              <a:gd name="connsiteX28" fmla="*/ 4618793 w 8636594"/>
              <a:gd name="connsiteY28" fmla="*/ 5419830 h 6077471"/>
              <a:gd name="connsiteX29" fmla="*/ 4649922 w 8636594"/>
              <a:gd name="connsiteY29" fmla="*/ 5390040 h 6077471"/>
              <a:gd name="connsiteX30" fmla="*/ 4680742 w 8636594"/>
              <a:gd name="connsiteY30" fmla="*/ 5360014 h 6077471"/>
              <a:gd name="connsiteX31" fmla="*/ 4711259 w 8636594"/>
              <a:gd name="connsiteY31" fmla="*/ 5329755 h 6077471"/>
              <a:gd name="connsiteX32" fmla="*/ 4741478 w 8636594"/>
              <a:gd name="connsiteY32" fmla="*/ 5299266 h 6077471"/>
              <a:gd name="connsiteX33" fmla="*/ 4771408 w 8636594"/>
              <a:gd name="connsiteY33" fmla="*/ 5268551 h 6077471"/>
              <a:gd name="connsiteX34" fmla="*/ 4801053 w 8636594"/>
              <a:gd name="connsiteY34" fmla="*/ 5237614 h 6077471"/>
              <a:gd name="connsiteX35" fmla="*/ 4830420 w 8636594"/>
              <a:gd name="connsiteY35" fmla="*/ 5206458 h 6077471"/>
              <a:gd name="connsiteX36" fmla="*/ 4859516 w 8636594"/>
              <a:gd name="connsiteY36" fmla="*/ 5175087 h 6077471"/>
              <a:gd name="connsiteX37" fmla="*/ 4888347 w 8636594"/>
              <a:gd name="connsiteY37" fmla="*/ 5143504 h 6077471"/>
              <a:gd name="connsiteX38" fmla="*/ 4916919 w 8636594"/>
              <a:gd name="connsiteY38" fmla="*/ 5111713 h 6077471"/>
              <a:gd name="connsiteX39" fmla="*/ 4945238 w 8636594"/>
              <a:gd name="connsiteY39" fmla="*/ 5079717 h 6077471"/>
              <a:gd name="connsiteX40" fmla="*/ 4973311 w 8636594"/>
              <a:gd name="connsiteY40" fmla="*/ 5047519 h 6077471"/>
              <a:gd name="connsiteX41" fmla="*/ 5001145 w 8636594"/>
              <a:gd name="connsiteY41" fmla="*/ 5015124 h 6077471"/>
              <a:gd name="connsiteX42" fmla="*/ 5028745 w 8636594"/>
              <a:gd name="connsiteY42" fmla="*/ 4982535 h 6077471"/>
              <a:gd name="connsiteX43" fmla="*/ 5056117 w 8636594"/>
              <a:gd name="connsiteY43" fmla="*/ 4949755 h 6077471"/>
              <a:gd name="connsiteX44" fmla="*/ 5083269 w 8636594"/>
              <a:gd name="connsiteY44" fmla="*/ 4916787 h 6077471"/>
              <a:gd name="connsiteX45" fmla="*/ 5110207 w 8636594"/>
              <a:gd name="connsiteY45" fmla="*/ 4883636 h 6077471"/>
              <a:gd name="connsiteX46" fmla="*/ 5136937 w 8636594"/>
              <a:gd name="connsiteY46" fmla="*/ 4850305 h 6077471"/>
              <a:gd name="connsiteX47" fmla="*/ 5163464 w 8636594"/>
              <a:gd name="connsiteY47" fmla="*/ 4816797 h 6077471"/>
              <a:gd name="connsiteX48" fmla="*/ 5215940 w 8636594"/>
              <a:gd name="connsiteY48" fmla="*/ 4749265 h 6077471"/>
              <a:gd name="connsiteX49" fmla="*/ 5267684 w 8636594"/>
              <a:gd name="connsiteY49" fmla="*/ 4681068 h 6077471"/>
              <a:gd name="connsiteX50" fmla="*/ 5318748 w 8636594"/>
              <a:gd name="connsiteY50" fmla="*/ 4612234 h 6077471"/>
              <a:gd name="connsiteX51" fmla="*/ 5369182 w 8636594"/>
              <a:gd name="connsiteY51" fmla="*/ 4542793 h 6077471"/>
              <a:gd name="connsiteX52" fmla="*/ 5419038 w 8636594"/>
              <a:gd name="connsiteY52" fmla="*/ 4472771 h 6077471"/>
              <a:gd name="connsiteX53" fmla="*/ 5468365 w 8636594"/>
              <a:gd name="connsiteY53" fmla="*/ 4402196 h 6077471"/>
              <a:gd name="connsiteX54" fmla="*/ 5517215 w 8636594"/>
              <a:gd name="connsiteY54" fmla="*/ 4331098 h 6077471"/>
              <a:gd name="connsiteX55" fmla="*/ 5565637 w 8636594"/>
              <a:gd name="connsiteY55" fmla="*/ 4259503 h 6077471"/>
              <a:gd name="connsiteX56" fmla="*/ 5613684 w 8636594"/>
              <a:gd name="connsiteY56" fmla="*/ 4187441 h 6077471"/>
              <a:gd name="connsiteX57" fmla="*/ 5685160 w 8636594"/>
              <a:gd name="connsiteY57" fmla="*/ 4078531 h 6077471"/>
              <a:gd name="connsiteX58" fmla="*/ 5756074 w 8636594"/>
              <a:gd name="connsiteY58" fmla="*/ 3968727 h 6077471"/>
              <a:gd name="connsiteX59" fmla="*/ 5873483 w 8636594"/>
              <a:gd name="connsiteY59" fmla="*/ 3783989 h 6077471"/>
              <a:gd name="connsiteX60" fmla="*/ 6203209 w 8636594"/>
              <a:gd name="connsiteY60" fmla="*/ 3258640 h 6077471"/>
              <a:gd name="connsiteX61" fmla="*/ 6299430 w 8636594"/>
              <a:gd name="connsiteY61" fmla="*/ 3107321 h 6077471"/>
              <a:gd name="connsiteX62" fmla="*/ 6372650 w 8636594"/>
              <a:gd name="connsiteY62" fmla="*/ 2993735 h 6077471"/>
              <a:gd name="connsiteX63" fmla="*/ 6453197 w 8636594"/>
              <a:gd name="connsiteY63" fmla="*/ 2869788 h 6077471"/>
              <a:gd name="connsiteX64" fmla="*/ 6564167 w 8636594"/>
              <a:gd name="connsiteY64" fmla="*/ 2696807 h 6077471"/>
              <a:gd name="connsiteX65" fmla="*/ 6976233 w 8636594"/>
              <a:gd name="connsiteY65" fmla="*/ 2045274 h 6077471"/>
              <a:gd name="connsiteX66" fmla="*/ 7086755 w 8636594"/>
              <a:gd name="connsiteY66" fmla="*/ 1872743 h 6077471"/>
              <a:gd name="connsiteX67" fmla="*/ 7170279 w 8636594"/>
              <a:gd name="connsiteY67" fmla="*/ 1744202 h 6077471"/>
              <a:gd name="connsiteX68" fmla="*/ 7226351 w 8636594"/>
              <a:gd name="connsiteY68" fmla="*/ 1659017 h 6077471"/>
              <a:gd name="connsiteX69" fmla="*/ 7282789 w 8636594"/>
              <a:gd name="connsiteY69" fmla="*/ 1574303 h 6077471"/>
              <a:gd name="connsiteX70" fmla="*/ 7339643 w 8636594"/>
              <a:gd name="connsiteY70" fmla="*/ 1490113 h 6077471"/>
              <a:gd name="connsiteX71" fmla="*/ 7396957 w 8636594"/>
              <a:gd name="connsiteY71" fmla="*/ 1406503 h 6077471"/>
              <a:gd name="connsiteX72" fmla="*/ 7454781 w 8636594"/>
              <a:gd name="connsiteY72" fmla="*/ 1323526 h 6077471"/>
              <a:gd name="connsiteX73" fmla="*/ 7513161 w 8636594"/>
              <a:gd name="connsiteY73" fmla="*/ 1241237 h 6077471"/>
              <a:gd name="connsiteX74" fmla="*/ 7572144 w 8636594"/>
              <a:gd name="connsiteY74" fmla="*/ 1159689 h 6077471"/>
              <a:gd name="connsiteX75" fmla="*/ 7601877 w 8636594"/>
              <a:gd name="connsiteY75" fmla="*/ 1119210 h 6077471"/>
              <a:gd name="connsiteX76" fmla="*/ 7631779 w 8636594"/>
              <a:gd name="connsiteY76" fmla="*/ 1078937 h 6077471"/>
              <a:gd name="connsiteX77" fmla="*/ 7661855 w 8636594"/>
              <a:gd name="connsiteY77" fmla="*/ 1038876 h 6077471"/>
              <a:gd name="connsiteX78" fmla="*/ 7692111 w 8636594"/>
              <a:gd name="connsiteY78" fmla="*/ 999035 h 6077471"/>
              <a:gd name="connsiteX79" fmla="*/ 7722554 w 8636594"/>
              <a:gd name="connsiteY79" fmla="*/ 959419 h 6077471"/>
              <a:gd name="connsiteX80" fmla="*/ 7753190 w 8636594"/>
              <a:gd name="connsiteY80" fmla="*/ 920037 h 6077471"/>
              <a:gd name="connsiteX81" fmla="*/ 7784023 w 8636594"/>
              <a:gd name="connsiteY81" fmla="*/ 880894 h 6077471"/>
              <a:gd name="connsiteX82" fmla="*/ 7815061 w 8636594"/>
              <a:gd name="connsiteY82" fmla="*/ 841997 h 6077471"/>
              <a:gd name="connsiteX83" fmla="*/ 7846308 w 8636594"/>
              <a:gd name="connsiteY83" fmla="*/ 803354 h 6077471"/>
              <a:gd name="connsiteX84" fmla="*/ 7877772 w 8636594"/>
              <a:gd name="connsiteY84" fmla="*/ 764970 h 6077471"/>
              <a:gd name="connsiteX85" fmla="*/ 7909458 w 8636594"/>
              <a:gd name="connsiteY85" fmla="*/ 726853 h 6077471"/>
              <a:gd name="connsiteX86" fmla="*/ 7941371 w 8636594"/>
              <a:gd name="connsiteY86" fmla="*/ 689010 h 6077471"/>
              <a:gd name="connsiteX87" fmla="*/ 7973518 w 8636594"/>
              <a:gd name="connsiteY87" fmla="*/ 651447 h 6077471"/>
              <a:gd name="connsiteX88" fmla="*/ 8005905 w 8636594"/>
              <a:gd name="connsiteY88" fmla="*/ 614171 h 6077471"/>
              <a:gd name="connsiteX89" fmla="*/ 8038538 w 8636594"/>
              <a:gd name="connsiteY89" fmla="*/ 577189 h 6077471"/>
              <a:gd name="connsiteX90" fmla="*/ 8071421 w 8636594"/>
              <a:gd name="connsiteY90" fmla="*/ 540507 h 6077471"/>
              <a:gd name="connsiteX91" fmla="*/ 8104563 w 8636594"/>
              <a:gd name="connsiteY91" fmla="*/ 504132 h 6077471"/>
              <a:gd name="connsiteX92" fmla="*/ 8137967 w 8636594"/>
              <a:gd name="connsiteY92" fmla="*/ 468072 h 6077471"/>
              <a:gd name="connsiteX93" fmla="*/ 8171641 w 8636594"/>
              <a:gd name="connsiteY93" fmla="*/ 432332 h 6077471"/>
              <a:gd name="connsiteX94" fmla="*/ 8205590 w 8636594"/>
              <a:gd name="connsiteY94" fmla="*/ 396920 h 6077471"/>
              <a:gd name="connsiteX95" fmla="*/ 8239820 w 8636594"/>
              <a:gd name="connsiteY95" fmla="*/ 361843 h 6077471"/>
              <a:gd name="connsiteX96" fmla="*/ 8274337 w 8636594"/>
              <a:gd name="connsiteY96" fmla="*/ 327107 h 6077471"/>
              <a:gd name="connsiteX97" fmla="*/ 8309147 w 8636594"/>
              <a:gd name="connsiteY97" fmla="*/ 292718 h 6077471"/>
              <a:gd name="connsiteX98" fmla="*/ 8344256 w 8636594"/>
              <a:gd name="connsiteY98" fmla="*/ 258685 h 6077471"/>
              <a:gd name="connsiteX99" fmla="*/ 8379669 w 8636594"/>
              <a:gd name="connsiteY99" fmla="*/ 225013 h 6077471"/>
              <a:gd name="connsiteX100" fmla="*/ 8415394 w 8636594"/>
              <a:gd name="connsiteY100" fmla="*/ 191709 h 6077471"/>
              <a:gd name="connsiteX101" fmla="*/ 8451434 w 8636594"/>
              <a:gd name="connsiteY101" fmla="*/ 158780 h 6077471"/>
              <a:gd name="connsiteX102" fmla="*/ 8487798 w 8636594"/>
              <a:gd name="connsiteY102" fmla="*/ 126233 h 6077471"/>
              <a:gd name="connsiteX103" fmla="*/ 8524489 w 8636594"/>
              <a:gd name="connsiteY103" fmla="*/ 94075 h 6077471"/>
              <a:gd name="connsiteX104" fmla="*/ 8561515 w 8636594"/>
              <a:gd name="connsiteY104" fmla="*/ 62312 h 6077471"/>
              <a:gd name="connsiteX105" fmla="*/ 8598881 w 8636594"/>
              <a:gd name="connsiteY105" fmla="*/ 30951 h 6077471"/>
              <a:gd name="connsiteX106" fmla="*/ 8636594 w 8636594"/>
              <a:gd name="connsiteY106" fmla="*/ 0 h 6077471"/>
              <a:gd name="connsiteX0" fmla="*/ 8636594 w 8636594"/>
              <a:gd name="connsiteY0" fmla="*/ 0 h 6054733"/>
              <a:gd name="connsiteX1" fmla="*/ 5293 w 8636594"/>
              <a:gd name="connsiteY1" fmla="*/ 0 h 6054733"/>
              <a:gd name="connsiteX2" fmla="*/ 0 w 8636594"/>
              <a:gd name="connsiteY2" fmla="*/ 5587843 h 6054733"/>
              <a:gd name="connsiteX3" fmla="*/ 3762353 w 8636594"/>
              <a:gd name="connsiteY3" fmla="*/ 6054733 h 6054733"/>
              <a:gd name="connsiteX4" fmla="*/ 3802812 w 8636594"/>
              <a:gd name="connsiteY4" fmla="*/ 6031671 h 6054733"/>
              <a:gd name="connsiteX5" fmla="*/ 3842810 w 8636594"/>
              <a:gd name="connsiteY5" fmla="*/ 6008288 h 6054733"/>
              <a:gd name="connsiteX6" fmla="*/ 3882352 w 8636594"/>
              <a:gd name="connsiteY6" fmla="*/ 5984588 h 6054733"/>
              <a:gd name="connsiteX7" fmla="*/ 3921445 w 8636594"/>
              <a:gd name="connsiteY7" fmla="*/ 5960574 h 6054733"/>
              <a:gd name="connsiteX8" fmla="*/ 3960096 w 8636594"/>
              <a:gd name="connsiteY8" fmla="*/ 5936250 h 6054733"/>
              <a:gd name="connsiteX9" fmla="*/ 3998311 w 8636594"/>
              <a:gd name="connsiteY9" fmla="*/ 5911619 h 6054733"/>
              <a:gd name="connsiteX10" fmla="*/ 4036095 w 8636594"/>
              <a:gd name="connsiteY10" fmla="*/ 5886685 h 6054733"/>
              <a:gd name="connsiteX11" fmla="*/ 4073456 w 8636594"/>
              <a:gd name="connsiteY11" fmla="*/ 5861452 h 6054733"/>
              <a:gd name="connsiteX12" fmla="*/ 4110400 w 8636594"/>
              <a:gd name="connsiteY12" fmla="*/ 5835922 h 6054733"/>
              <a:gd name="connsiteX13" fmla="*/ 4146933 w 8636594"/>
              <a:gd name="connsiteY13" fmla="*/ 5810100 h 6054733"/>
              <a:gd name="connsiteX14" fmla="*/ 4183061 w 8636594"/>
              <a:gd name="connsiteY14" fmla="*/ 5783988 h 6054733"/>
              <a:gd name="connsiteX15" fmla="*/ 4218791 w 8636594"/>
              <a:gd name="connsiteY15" fmla="*/ 5757591 h 6054733"/>
              <a:gd name="connsiteX16" fmla="*/ 4254129 w 8636594"/>
              <a:gd name="connsiteY16" fmla="*/ 5730912 h 6054733"/>
              <a:gd name="connsiteX17" fmla="*/ 4289081 w 8636594"/>
              <a:gd name="connsiteY17" fmla="*/ 5703955 h 6054733"/>
              <a:gd name="connsiteX18" fmla="*/ 4323654 w 8636594"/>
              <a:gd name="connsiteY18" fmla="*/ 5676722 h 6054733"/>
              <a:gd name="connsiteX19" fmla="*/ 4357854 w 8636594"/>
              <a:gd name="connsiteY19" fmla="*/ 5649218 h 6054733"/>
              <a:gd name="connsiteX20" fmla="*/ 4391688 w 8636594"/>
              <a:gd name="connsiteY20" fmla="*/ 5621446 h 6054733"/>
              <a:gd name="connsiteX21" fmla="*/ 4425162 w 8636594"/>
              <a:gd name="connsiteY21" fmla="*/ 5593409 h 6054733"/>
              <a:gd name="connsiteX22" fmla="*/ 4458281 w 8636594"/>
              <a:gd name="connsiteY22" fmla="*/ 5565111 h 6054733"/>
              <a:gd name="connsiteX23" fmla="*/ 4491053 w 8636594"/>
              <a:gd name="connsiteY23" fmla="*/ 5536556 h 6054733"/>
              <a:gd name="connsiteX24" fmla="*/ 4523484 w 8636594"/>
              <a:gd name="connsiteY24" fmla="*/ 5507747 h 6054733"/>
              <a:gd name="connsiteX25" fmla="*/ 4555580 w 8636594"/>
              <a:gd name="connsiteY25" fmla="*/ 5478687 h 6054733"/>
              <a:gd name="connsiteX26" fmla="*/ 4587347 w 8636594"/>
              <a:gd name="connsiteY26" fmla="*/ 5449380 h 6054733"/>
              <a:gd name="connsiteX27" fmla="*/ 4618793 w 8636594"/>
              <a:gd name="connsiteY27" fmla="*/ 5419830 h 6054733"/>
              <a:gd name="connsiteX28" fmla="*/ 4649922 w 8636594"/>
              <a:gd name="connsiteY28" fmla="*/ 5390040 h 6054733"/>
              <a:gd name="connsiteX29" fmla="*/ 4680742 w 8636594"/>
              <a:gd name="connsiteY29" fmla="*/ 5360014 h 6054733"/>
              <a:gd name="connsiteX30" fmla="*/ 4711259 w 8636594"/>
              <a:gd name="connsiteY30" fmla="*/ 5329755 h 6054733"/>
              <a:gd name="connsiteX31" fmla="*/ 4741478 w 8636594"/>
              <a:gd name="connsiteY31" fmla="*/ 5299266 h 6054733"/>
              <a:gd name="connsiteX32" fmla="*/ 4771408 w 8636594"/>
              <a:gd name="connsiteY32" fmla="*/ 5268551 h 6054733"/>
              <a:gd name="connsiteX33" fmla="*/ 4801053 w 8636594"/>
              <a:gd name="connsiteY33" fmla="*/ 5237614 h 6054733"/>
              <a:gd name="connsiteX34" fmla="*/ 4830420 w 8636594"/>
              <a:gd name="connsiteY34" fmla="*/ 5206458 h 6054733"/>
              <a:gd name="connsiteX35" fmla="*/ 4859516 w 8636594"/>
              <a:gd name="connsiteY35" fmla="*/ 5175087 h 6054733"/>
              <a:gd name="connsiteX36" fmla="*/ 4888347 w 8636594"/>
              <a:gd name="connsiteY36" fmla="*/ 5143504 h 6054733"/>
              <a:gd name="connsiteX37" fmla="*/ 4916919 w 8636594"/>
              <a:gd name="connsiteY37" fmla="*/ 5111713 h 6054733"/>
              <a:gd name="connsiteX38" fmla="*/ 4945238 w 8636594"/>
              <a:gd name="connsiteY38" fmla="*/ 5079717 h 6054733"/>
              <a:gd name="connsiteX39" fmla="*/ 4973311 w 8636594"/>
              <a:gd name="connsiteY39" fmla="*/ 5047519 h 6054733"/>
              <a:gd name="connsiteX40" fmla="*/ 5001145 w 8636594"/>
              <a:gd name="connsiteY40" fmla="*/ 5015124 h 6054733"/>
              <a:gd name="connsiteX41" fmla="*/ 5028745 w 8636594"/>
              <a:gd name="connsiteY41" fmla="*/ 4982535 h 6054733"/>
              <a:gd name="connsiteX42" fmla="*/ 5056117 w 8636594"/>
              <a:gd name="connsiteY42" fmla="*/ 4949755 h 6054733"/>
              <a:gd name="connsiteX43" fmla="*/ 5083269 w 8636594"/>
              <a:gd name="connsiteY43" fmla="*/ 4916787 h 6054733"/>
              <a:gd name="connsiteX44" fmla="*/ 5110207 w 8636594"/>
              <a:gd name="connsiteY44" fmla="*/ 4883636 h 6054733"/>
              <a:gd name="connsiteX45" fmla="*/ 5136937 w 8636594"/>
              <a:gd name="connsiteY45" fmla="*/ 4850305 h 6054733"/>
              <a:gd name="connsiteX46" fmla="*/ 5163464 w 8636594"/>
              <a:gd name="connsiteY46" fmla="*/ 4816797 h 6054733"/>
              <a:gd name="connsiteX47" fmla="*/ 5215940 w 8636594"/>
              <a:gd name="connsiteY47" fmla="*/ 4749265 h 6054733"/>
              <a:gd name="connsiteX48" fmla="*/ 5267684 w 8636594"/>
              <a:gd name="connsiteY48" fmla="*/ 4681068 h 6054733"/>
              <a:gd name="connsiteX49" fmla="*/ 5318748 w 8636594"/>
              <a:gd name="connsiteY49" fmla="*/ 4612234 h 6054733"/>
              <a:gd name="connsiteX50" fmla="*/ 5369182 w 8636594"/>
              <a:gd name="connsiteY50" fmla="*/ 4542793 h 6054733"/>
              <a:gd name="connsiteX51" fmla="*/ 5419038 w 8636594"/>
              <a:gd name="connsiteY51" fmla="*/ 4472771 h 6054733"/>
              <a:gd name="connsiteX52" fmla="*/ 5468365 w 8636594"/>
              <a:gd name="connsiteY52" fmla="*/ 4402196 h 6054733"/>
              <a:gd name="connsiteX53" fmla="*/ 5517215 w 8636594"/>
              <a:gd name="connsiteY53" fmla="*/ 4331098 h 6054733"/>
              <a:gd name="connsiteX54" fmla="*/ 5565637 w 8636594"/>
              <a:gd name="connsiteY54" fmla="*/ 4259503 h 6054733"/>
              <a:gd name="connsiteX55" fmla="*/ 5613684 w 8636594"/>
              <a:gd name="connsiteY55" fmla="*/ 4187441 h 6054733"/>
              <a:gd name="connsiteX56" fmla="*/ 5685160 w 8636594"/>
              <a:gd name="connsiteY56" fmla="*/ 4078531 h 6054733"/>
              <a:gd name="connsiteX57" fmla="*/ 5756074 w 8636594"/>
              <a:gd name="connsiteY57" fmla="*/ 3968727 h 6054733"/>
              <a:gd name="connsiteX58" fmla="*/ 5873483 w 8636594"/>
              <a:gd name="connsiteY58" fmla="*/ 3783989 h 6054733"/>
              <a:gd name="connsiteX59" fmla="*/ 6203209 w 8636594"/>
              <a:gd name="connsiteY59" fmla="*/ 3258640 h 6054733"/>
              <a:gd name="connsiteX60" fmla="*/ 6299430 w 8636594"/>
              <a:gd name="connsiteY60" fmla="*/ 3107321 h 6054733"/>
              <a:gd name="connsiteX61" fmla="*/ 6372650 w 8636594"/>
              <a:gd name="connsiteY61" fmla="*/ 2993735 h 6054733"/>
              <a:gd name="connsiteX62" fmla="*/ 6453197 w 8636594"/>
              <a:gd name="connsiteY62" fmla="*/ 2869788 h 6054733"/>
              <a:gd name="connsiteX63" fmla="*/ 6564167 w 8636594"/>
              <a:gd name="connsiteY63" fmla="*/ 2696807 h 6054733"/>
              <a:gd name="connsiteX64" fmla="*/ 6976233 w 8636594"/>
              <a:gd name="connsiteY64" fmla="*/ 2045274 h 6054733"/>
              <a:gd name="connsiteX65" fmla="*/ 7086755 w 8636594"/>
              <a:gd name="connsiteY65" fmla="*/ 1872743 h 6054733"/>
              <a:gd name="connsiteX66" fmla="*/ 7170279 w 8636594"/>
              <a:gd name="connsiteY66" fmla="*/ 1744202 h 6054733"/>
              <a:gd name="connsiteX67" fmla="*/ 7226351 w 8636594"/>
              <a:gd name="connsiteY67" fmla="*/ 1659017 h 6054733"/>
              <a:gd name="connsiteX68" fmla="*/ 7282789 w 8636594"/>
              <a:gd name="connsiteY68" fmla="*/ 1574303 h 6054733"/>
              <a:gd name="connsiteX69" fmla="*/ 7339643 w 8636594"/>
              <a:gd name="connsiteY69" fmla="*/ 1490113 h 6054733"/>
              <a:gd name="connsiteX70" fmla="*/ 7396957 w 8636594"/>
              <a:gd name="connsiteY70" fmla="*/ 1406503 h 6054733"/>
              <a:gd name="connsiteX71" fmla="*/ 7454781 w 8636594"/>
              <a:gd name="connsiteY71" fmla="*/ 1323526 h 6054733"/>
              <a:gd name="connsiteX72" fmla="*/ 7513161 w 8636594"/>
              <a:gd name="connsiteY72" fmla="*/ 1241237 h 6054733"/>
              <a:gd name="connsiteX73" fmla="*/ 7572144 w 8636594"/>
              <a:gd name="connsiteY73" fmla="*/ 1159689 h 6054733"/>
              <a:gd name="connsiteX74" fmla="*/ 7601877 w 8636594"/>
              <a:gd name="connsiteY74" fmla="*/ 1119210 h 6054733"/>
              <a:gd name="connsiteX75" fmla="*/ 7631779 w 8636594"/>
              <a:gd name="connsiteY75" fmla="*/ 1078937 h 6054733"/>
              <a:gd name="connsiteX76" fmla="*/ 7661855 w 8636594"/>
              <a:gd name="connsiteY76" fmla="*/ 1038876 h 6054733"/>
              <a:gd name="connsiteX77" fmla="*/ 7692111 w 8636594"/>
              <a:gd name="connsiteY77" fmla="*/ 999035 h 6054733"/>
              <a:gd name="connsiteX78" fmla="*/ 7722554 w 8636594"/>
              <a:gd name="connsiteY78" fmla="*/ 959419 h 6054733"/>
              <a:gd name="connsiteX79" fmla="*/ 7753190 w 8636594"/>
              <a:gd name="connsiteY79" fmla="*/ 920037 h 6054733"/>
              <a:gd name="connsiteX80" fmla="*/ 7784023 w 8636594"/>
              <a:gd name="connsiteY80" fmla="*/ 880894 h 6054733"/>
              <a:gd name="connsiteX81" fmla="*/ 7815061 w 8636594"/>
              <a:gd name="connsiteY81" fmla="*/ 841997 h 6054733"/>
              <a:gd name="connsiteX82" fmla="*/ 7846308 w 8636594"/>
              <a:gd name="connsiteY82" fmla="*/ 803354 h 6054733"/>
              <a:gd name="connsiteX83" fmla="*/ 7877772 w 8636594"/>
              <a:gd name="connsiteY83" fmla="*/ 764970 h 6054733"/>
              <a:gd name="connsiteX84" fmla="*/ 7909458 w 8636594"/>
              <a:gd name="connsiteY84" fmla="*/ 726853 h 6054733"/>
              <a:gd name="connsiteX85" fmla="*/ 7941371 w 8636594"/>
              <a:gd name="connsiteY85" fmla="*/ 689010 h 6054733"/>
              <a:gd name="connsiteX86" fmla="*/ 7973518 w 8636594"/>
              <a:gd name="connsiteY86" fmla="*/ 651447 h 6054733"/>
              <a:gd name="connsiteX87" fmla="*/ 8005905 w 8636594"/>
              <a:gd name="connsiteY87" fmla="*/ 614171 h 6054733"/>
              <a:gd name="connsiteX88" fmla="*/ 8038538 w 8636594"/>
              <a:gd name="connsiteY88" fmla="*/ 577189 h 6054733"/>
              <a:gd name="connsiteX89" fmla="*/ 8071421 w 8636594"/>
              <a:gd name="connsiteY89" fmla="*/ 540507 h 6054733"/>
              <a:gd name="connsiteX90" fmla="*/ 8104563 w 8636594"/>
              <a:gd name="connsiteY90" fmla="*/ 504132 h 6054733"/>
              <a:gd name="connsiteX91" fmla="*/ 8137967 w 8636594"/>
              <a:gd name="connsiteY91" fmla="*/ 468072 h 6054733"/>
              <a:gd name="connsiteX92" fmla="*/ 8171641 w 8636594"/>
              <a:gd name="connsiteY92" fmla="*/ 432332 h 6054733"/>
              <a:gd name="connsiteX93" fmla="*/ 8205590 w 8636594"/>
              <a:gd name="connsiteY93" fmla="*/ 396920 h 6054733"/>
              <a:gd name="connsiteX94" fmla="*/ 8239820 w 8636594"/>
              <a:gd name="connsiteY94" fmla="*/ 361843 h 6054733"/>
              <a:gd name="connsiteX95" fmla="*/ 8274337 w 8636594"/>
              <a:gd name="connsiteY95" fmla="*/ 327107 h 6054733"/>
              <a:gd name="connsiteX96" fmla="*/ 8309147 w 8636594"/>
              <a:gd name="connsiteY96" fmla="*/ 292718 h 6054733"/>
              <a:gd name="connsiteX97" fmla="*/ 8344256 w 8636594"/>
              <a:gd name="connsiteY97" fmla="*/ 258685 h 6054733"/>
              <a:gd name="connsiteX98" fmla="*/ 8379669 w 8636594"/>
              <a:gd name="connsiteY98" fmla="*/ 225013 h 6054733"/>
              <a:gd name="connsiteX99" fmla="*/ 8415394 w 8636594"/>
              <a:gd name="connsiteY99" fmla="*/ 191709 h 6054733"/>
              <a:gd name="connsiteX100" fmla="*/ 8451434 w 8636594"/>
              <a:gd name="connsiteY100" fmla="*/ 158780 h 6054733"/>
              <a:gd name="connsiteX101" fmla="*/ 8487798 w 8636594"/>
              <a:gd name="connsiteY101" fmla="*/ 126233 h 6054733"/>
              <a:gd name="connsiteX102" fmla="*/ 8524489 w 8636594"/>
              <a:gd name="connsiteY102" fmla="*/ 94075 h 6054733"/>
              <a:gd name="connsiteX103" fmla="*/ 8561515 w 8636594"/>
              <a:gd name="connsiteY103" fmla="*/ 62312 h 6054733"/>
              <a:gd name="connsiteX104" fmla="*/ 8598881 w 8636594"/>
              <a:gd name="connsiteY104" fmla="*/ 30951 h 6054733"/>
              <a:gd name="connsiteX105" fmla="*/ 8636594 w 8636594"/>
              <a:gd name="connsiteY105" fmla="*/ 0 h 6054733"/>
              <a:gd name="connsiteX0" fmla="*/ 8636594 w 8636594"/>
              <a:gd name="connsiteY0" fmla="*/ 0 h 6031671"/>
              <a:gd name="connsiteX1" fmla="*/ 5293 w 8636594"/>
              <a:gd name="connsiteY1" fmla="*/ 0 h 6031671"/>
              <a:gd name="connsiteX2" fmla="*/ 0 w 8636594"/>
              <a:gd name="connsiteY2" fmla="*/ 5587843 h 6031671"/>
              <a:gd name="connsiteX3" fmla="*/ 3802812 w 8636594"/>
              <a:gd name="connsiteY3" fmla="*/ 6031671 h 6031671"/>
              <a:gd name="connsiteX4" fmla="*/ 3842810 w 8636594"/>
              <a:gd name="connsiteY4" fmla="*/ 6008288 h 6031671"/>
              <a:gd name="connsiteX5" fmla="*/ 3882352 w 8636594"/>
              <a:gd name="connsiteY5" fmla="*/ 5984588 h 6031671"/>
              <a:gd name="connsiteX6" fmla="*/ 3921445 w 8636594"/>
              <a:gd name="connsiteY6" fmla="*/ 5960574 h 6031671"/>
              <a:gd name="connsiteX7" fmla="*/ 3960096 w 8636594"/>
              <a:gd name="connsiteY7" fmla="*/ 5936250 h 6031671"/>
              <a:gd name="connsiteX8" fmla="*/ 3998311 w 8636594"/>
              <a:gd name="connsiteY8" fmla="*/ 5911619 h 6031671"/>
              <a:gd name="connsiteX9" fmla="*/ 4036095 w 8636594"/>
              <a:gd name="connsiteY9" fmla="*/ 5886685 h 6031671"/>
              <a:gd name="connsiteX10" fmla="*/ 4073456 w 8636594"/>
              <a:gd name="connsiteY10" fmla="*/ 5861452 h 6031671"/>
              <a:gd name="connsiteX11" fmla="*/ 4110400 w 8636594"/>
              <a:gd name="connsiteY11" fmla="*/ 5835922 h 6031671"/>
              <a:gd name="connsiteX12" fmla="*/ 4146933 w 8636594"/>
              <a:gd name="connsiteY12" fmla="*/ 5810100 h 6031671"/>
              <a:gd name="connsiteX13" fmla="*/ 4183061 w 8636594"/>
              <a:gd name="connsiteY13" fmla="*/ 5783988 h 6031671"/>
              <a:gd name="connsiteX14" fmla="*/ 4218791 w 8636594"/>
              <a:gd name="connsiteY14" fmla="*/ 5757591 h 6031671"/>
              <a:gd name="connsiteX15" fmla="*/ 4254129 w 8636594"/>
              <a:gd name="connsiteY15" fmla="*/ 5730912 h 6031671"/>
              <a:gd name="connsiteX16" fmla="*/ 4289081 w 8636594"/>
              <a:gd name="connsiteY16" fmla="*/ 5703955 h 6031671"/>
              <a:gd name="connsiteX17" fmla="*/ 4323654 w 8636594"/>
              <a:gd name="connsiteY17" fmla="*/ 5676722 h 6031671"/>
              <a:gd name="connsiteX18" fmla="*/ 4357854 w 8636594"/>
              <a:gd name="connsiteY18" fmla="*/ 5649218 h 6031671"/>
              <a:gd name="connsiteX19" fmla="*/ 4391688 w 8636594"/>
              <a:gd name="connsiteY19" fmla="*/ 5621446 h 6031671"/>
              <a:gd name="connsiteX20" fmla="*/ 4425162 w 8636594"/>
              <a:gd name="connsiteY20" fmla="*/ 5593409 h 6031671"/>
              <a:gd name="connsiteX21" fmla="*/ 4458281 w 8636594"/>
              <a:gd name="connsiteY21" fmla="*/ 5565111 h 6031671"/>
              <a:gd name="connsiteX22" fmla="*/ 4491053 w 8636594"/>
              <a:gd name="connsiteY22" fmla="*/ 5536556 h 6031671"/>
              <a:gd name="connsiteX23" fmla="*/ 4523484 w 8636594"/>
              <a:gd name="connsiteY23" fmla="*/ 5507747 h 6031671"/>
              <a:gd name="connsiteX24" fmla="*/ 4555580 w 8636594"/>
              <a:gd name="connsiteY24" fmla="*/ 5478687 h 6031671"/>
              <a:gd name="connsiteX25" fmla="*/ 4587347 w 8636594"/>
              <a:gd name="connsiteY25" fmla="*/ 5449380 h 6031671"/>
              <a:gd name="connsiteX26" fmla="*/ 4618793 w 8636594"/>
              <a:gd name="connsiteY26" fmla="*/ 5419830 h 6031671"/>
              <a:gd name="connsiteX27" fmla="*/ 4649922 w 8636594"/>
              <a:gd name="connsiteY27" fmla="*/ 5390040 h 6031671"/>
              <a:gd name="connsiteX28" fmla="*/ 4680742 w 8636594"/>
              <a:gd name="connsiteY28" fmla="*/ 5360014 h 6031671"/>
              <a:gd name="connsiteX29" fmla="*/ 4711259 w 8636594"/>
              <a:gd name="connsiteY29" fmla="*/ 5329755 h 6031671"/>
              <a:gd name="connsiteX30" fmla="*/ 4741478 w 8636594"/>
              <a:gd name="connsiteY30" fmla="*/ 5299266 h 6031671"/>
              <a:gd name="connsiteX31" fmla="*/ 4771408 w 8636594"/>
              <a:gd name="connsiteY31" fmla="*/ 5268551 h 6031671"/>
              <a:gd name="connsiteX32" fmla="*/ 4801053 w 8636594"/>
              <a:gd name="connsiteY32" fmla="*/ 5237614 h 6031671"/>
              <a:gd name="connsiteX33" fmla="*/ 4830420 w 8636594"/>
              <a:gd name="connsiteY33" fmla="*/ 5206458 h 6031671"/>
              <a:gd name="connsiteX34" fmla="*/ 4859516 w 8636594"/>
              <a:gd name="connsiteY34" fmla="*/ 5175087 h 6031671"/>
              <a:gd name="connsiteX35" fmla="*/ 4888347 w 8636594"/>
              <a:gd name="connsiteY35" fmla="*/ 5143504 h 6031671"/>
              <a:gd name="connsiteX36" fmla="*/ 4916919 w 8636594"/>
              <a:gd name="connsiteY36" fmla="*/ 5111713 h 6031671"/>
              <a:gd name="connsiteX37" fmla="*/ 4945238 w 8636594"/>
              <a:gd name="connsiteY37" fmla="*/ 5079717 h 6031671"/>
              <a:gd name="connsiteX38" fmla="*/ 4973311 w 8636594"/>
              <a:gd name="connsiteY38" fmla="*/ 5047519 h 6031671"/>
              <a:gd name="connsiteX39" fmla="*/ 5001145 w 8636594"/>
              <a:gd name="connsiteY39" fmla="*/ 5015124 h 6031671"/>
              <a:gd name="connsiteX40" fmla="*/ 5028745 w 8636594"/>
              <a:gd name="connsiteY40" fmla="*/ 4982535 h 6031671"/>
              <a:gd name="connsiteX41" fmla="*/ 5056117 w 8636594"/>
              <a:gd name="connsiteY41" fmla="*/ 4949755 h 6031671"/>
              <a:gd name="connsiteX42" fmla="*/ 5083269 w 8636594"/>
              <a:gd name="connsiteY42" fmla="*/ 4916787 h 6031671"/>
              <a:gd name="connsiteX43" fmla="*/ 5110207 w 8636594"/>
              <a:gd name="connsiteY43" fmla="*/ 4883636 h 6031671"/>
              <a:gd name="connsiteX44" fmla="*/ 5136937 w 8636594"/>
              <a:gd name="connsiteY44" fmla="*/ 4850305 h 6031671"/>
              <a:gd name="connsiteX45" fmla="*/ 5163464 w 8636594"/>
              <a:gd name="connsiteY45" fmla="*/ 4816797 h 6031671"/>
              <a:gd name="connsiteX46" fmla="*/ 5215940 w 8636594"/>
              <a:gd name="connsiteY46" fmla="*/ 4749265 h 6031671"/>
              <a:gd name="connsiteX47" fmla="*/ 5267684 w 8636594"/>
              <a:gd name="connsiteY47" fmla="*/ 4681068 h 6031671"/>
              <a:gd name="connsiteX48" fmla="*/ 5318748 w 8636594"/>
              <a:gd name="connsiteY48" fmla="*/ 4612234 h 6031671"/>
              <a:gd name="connsiteX49" fmla="*/ 5369182 w 8636594"/>
              <a:gd name="connsiteY49" fmla="*/ 4542793 h 6031671"/>
              <a:gd name="connsiteX50" fmla="*/ 5419038 w 8636594"/>
              <a:gd name="connsiteY50" fmla="*/ 4472771 h 6031671"/>
              <a:gd name="connsiteX51" fmla="*/ 5468365 w 8636594"/>
              <a:gd name="connsiteY51" fmla="*/ 4402196 h 6031671"/>
              <a:gd name="connsiteX52" fmla="*/ 5517215 w 8636594"/>
              <a:gd name="connsiteY52" fmla="*/ 4331098 h 6031671"/>
              <a:gd name="connsiteX53" fmla="*/ 5565637 w 8636594"/>
              <a:gd name="connsiteY53" fmla="*/ 4259503 h 6031671"/>
              <a:gd name="connsiteX54" fmla="*/ 5613684 w 8636594"/>
              <a:gd name="connsiteY54" fmla="*/ 4187441 h 6031671"/>
              <a:gd name="connsiteX55" fmla="*/ 5685160 w 8636594"/>
              <a:gd name="connsiteY55" fmla="*/ 4078531 h 6031671"/>
              <a:gd name="connsiteX56" fmla="*/ 5756074 w 8636594"/>
              <a:gd name="connsiteY56" fmla="*/ 3968727 h 6031671"/>
              <a:gd name="connsiteX57" fmla="*/ 5873483 w 8636594"/>
              <a:gd name="connsiteY57" fmla="*/ 3783989 h 6031671"/>
              <a:gd name="connsiteX58" fmla="*/ 6203209 w 8636594"/>
              <a:gd name="connsiteY58" fmla="*/ 3258640 h 6031671"/>
              <a:gd name="connsiteX59" fmla="*/ 6299430 w 8636594"/>
              <a:gd name="connsiteY59" fmla="*/ 3107321 h 6031671"/>
              <a:gd name="connsiteX60" fmla="*/ 6372650 w 8636594"/>
              <a:gd name="connsiteY60" fmla="*/ 2993735 h 6031671"/>
              <a:gd name="connsiteX61" fmla="*/ 6453197 w 8636594"/>
              <a:gd name="connsiteY61" fmla="*/ 2869788 h 6031671"/>
              <a:gd name="connsiteX62" fmla="*/ 6564167 w 8636594"/>
              <a:gd name="connsiteY62" fmla="*/ 2696807 h 6031671"/>
              <a:gd name="connsiteX63" fmla="*/ 6976233 w 8636594"/>
              <a:gd name="connsiteY63" fmla="*/ 2045274 h 6031671"/>
              <a:gd name="connsiteX64" fmla="*/ 7086755 w 8636594"/>
              <a:gd name="connsiteY64" fmla="*/ 1872743 h 6031671"/>
              <a:gd name="connsiteX65" fmla="*/ 7170279 w 8636594"/>
              <a:gd name="connsiteY65" fmla="*/ 1744202 h 6031671"/>
              <a:gd name="connsiteX66" fmla="*/ 7226351 w 8636594"/>
              <a:gd name="connsiteY66" fmla="*/ 1659017 h 6031671"/>
              <a:gd name="connsiteX67" fmla="*/ 7282789 w 8636594"/>
              <a:gd name="connsiteY67" fmla="*/ 1574303 h 6031671"/>
              <a:gd name="connsiteX68" fmla="*/ 7339643 w 8636594"/>
              <a:gd name="connsiteY68" fmla="*/ 1490113 h 6031671"/>
              <a:gd name="connsiteX69" fmla="*/ 7396957 w 8636594"/>
              <a:gd name="connsiteY69" fmla="*/ 1406503 h 6031671"/>
              <a:gd name="connsiteX70" fmla="*/ 7454781 w 8636594"/>
              <a:gd name="connsiteY70" fmla="*/ 1323526 h 6031671"/>
              <a:gd name="connsiteX71" fmla="*/ 7513161 w 8636594"/>
              <a:gd name="connsiteY71" fmla="*/ 1241237 h 6031671"/>
              <a:gd name="connsiteX72" fmla="*/ 7572144 w 8636594"/>
              <a:gd name="connsiteY72" fmla="*/ 1159689 h 6031671"/>
              <a:gd name="connsiteX73" fmla="*/ 7601877 w 8636594"/>
              <a:gd name="connsiteY73" fmla="*/ 1119210 h 6031671"/>
              <a:gd name="connsiteX74" fmla="*/ 7631779 w 8636594"/>
              <a:gd name="connsiteY74" fmla="*/ 1078937 h 6031671"/>
              <a:gd name="connsiteX75" fmla="*/ 7661855 w 8636594"/>
              <a:gd name="connsiteY75" fmla="*/ 1038876 h 6031671"/>
              <a:gd name="connsiteX76" fmla="*/ 7692111 w 8636594"/>
              <a:gd name="connsiteY76" fmla="*/ 999035 h 6031671"/>
              <a:gd name="connsiteX77" fmla="*/ 7722554 w 8636594"/>
              <a:gd name="connsiteY77" fmla="*/ 959419 h 6031671"/>
              <a:gd name="connsiteX78" fmla="*/ 7753190 w 8636594"/>
              <a:gd name="connsiteY78" fmla="*/ 920037 h 6031671"/>
              <a:gd name="connsiteX79" fmla="*/ 7784023 w 8636594"/>
              <a:gd name="connsiteY79" fmla="*/ 880894 h 6031671"/>
              <a:gd name="connsiteX80" fmla="*/ 7815061 w 8636594"/>
              <a:gd name="connsiteY80" fmla="*/ 841997 h 6031671"/>
              <a:gd name="connsiteX81" fmla="*/ 7846308 w 8636594"/>
              <a:gd name="connsiteY81" fmla="*/ 803354 h 6031671"/>
              <a:gd name="connsiteX82" fmla="*/ 7877772 w 8636594"/>
              <a:gd name="connsiteY82" fmla="*/ 764970 h 6031671"/>
              <a:gd name="connsiteX83" fmla="*/ 7909458 w 8636594"/>
              <a:gd name="connsiteY83" fmla="*/ 726853 h 6031671"/>
              <a:gd name="connsiteX84" fmla="*/ 7941371 w 8636594"/>
              <a:gd name="connsiteY84" fmla="*/ 689010 h 6031671"/>
              <a:gd name="connsiteX85" fmla="*/ 7973518 w 8636594"/>
              <a:gd name="connsiteY85" fmla="*/ 651447 h 6031671"/>
              <a:gd name="connsiteX86" fmla="*/ 8005905 w 8636594"/>
              <a:gd name="connsiteY86" fmla="*/ 614171 h 6031671"/>
              <a:gd name="connsiteX87" fmla="*/ 8038538 w 8636594"/>
              <a:gd name="connsiteY87" fmla="*/ 577189 h 6031671"/>
              <a:gd name="connsiteX88" fmla="*/ 8071421 w 8636594"/>
              <a:gd name="connsiteY88" fmla="*/ 540507 h 6031671"/>
              <a:gd name="connsiteX89" fmla="*/ 8104563 w 8636594"/>
              <a:gd name="connsiteY89" fmla="*/ 504132 h 6031671"/>
              <a:gd name="connsiteX90" fmla="*/ 8137967 w 8636594"/>
              <a:gd name="connsiteY90" fmla="*/ 468072 h 6031671"/>
              <a:gd name="connsiteX91" fmla="*/ 8171641 w 8636594"/>
              <a:gd name="connsiteY91" fmla="*/ 432332 h 6031671"/>
              <a:gd name="connsiteX92" fmla="*/ 8205590 w 8636594"/>
              <a:gd name="connsiteY92" fmla="*/ 396920 h 6031671"/>
              <a:gd name="connsiteX93" fmla="*/ 8239820 w 8636594"/>
              <a:gd name="connsiteY93" fmla="*/ 361843 h 6031671"/>
              <a:gd name="connsiteX94" fmla="*/ 8274337 w 8636594"/>
              <a:gd name="connsiteY94" fmla="*/ 327107 h 6031671"/>
              <a:gd name="connsiteX95" fmla="*/ 8309147 w 8636594"/>
              <a:gd name="connsiteY95" fmla="*/ 292718 h 6031671"/>
              <a:gd name="connsiteX96" fmla="*/ 8344256 w 8636594"/>
              <a:gd name="connsiteY96" fmla="*/ 258685 h 6031671"/>
              <a:gd name="connsiteX97" fmla="*/ 8379669 w 8636594"/>
              <a:gd name="connsiteY97" fmla="*/ 225013 h 6031671"/>
              <a:gd name="connsiteX98" fmla="*/ 8415394 w 8636594"/>
              <a:gd name="connsiteY98" fmla="*/ 191709 h 6031671"/>
              <a:gd name="connsiteX99" fmla="*/ 8451434 w 8636594"/>
              <a:gd name="connsiteY99" fmla="*/ 158780 h 6031671"/>
              <a:gd name="connsiteX100" fmla="*/ 8487798 w 8636594"/>
              <a:gd name="connsiteY100" fmla="*/ 126233 h 6031671"/>
              <a:gd name="connsiteX101" fmla="*/ 8524489 w 8636594"/>
              <a:gd name="connsiteY101" fmla="*/ 94075 h 6031671"/>
              <a:gd name="connsiteX102" fmla="*/ 8561515 w 8636594"/>
              <a:gd name="connsiteY102" fmla="*/ 62312 h 6031671"/>
              <a:gd name="connsiteX103" fmla="*/ 8598881 w 8636594"/>
              <a:gd name="connsiteY103" fmla="*/ 30951 h 6031671"/>
              <a:gd name="connsiteX104" fmla="*/ 8636594 w 8636594"/>
              <a:gd name="connsiteY104" fmla="*/ 0 h 6031671"/>
              <a:gd name="connsiteX0" fmla="*/ 8636594 w 8636594"/>
              <a:gd name="connsiteY0" fmla="*/ 0 h 6008288"/>
              <a:gd name="connsiteX1" fmla="*/ 5293 w 8636594"/>
              <a:gd name="connsiteY1" fmla="*/ 0 h 6008288"/>
              <a:gd name="connsiteX2" fmla="*/ 0 w 8636594"/>
              <a:gd name="connsiteY2" fmla="*/ 5587843 h 6008288"/>
              <a:gd name="connsiteX3" fmla="*/ 3842810 w 8636594"/>
              <a:gd name="connsiteY3" fmla="*/ 6008288 h 6008288"/>
              <a:gd name="connsiteX4" fmla="*/ 3882352 w 8636594"/>
              <a:gd name="connsiteY4" fmla="*/ 5984588 h 6008288"/>
              <a:gd name="connsiteX5" fmla="*/ 3921445 w 8636594"/>
              <a:gd name="connsiteY5" fmla="*/ 5960574 h 6008288"/>
              <a:gd name="connsiteX6" fmla="*/ 3960096 w 8636594"/>
              <a:gd name="connsiteY6" fmla="*/ 5936250 h 6008288"/>
              <a:gd name="connsiteX7" fmla="*/ 3998311 w 8636594"/>
              <a:gd name="connsiteY7" fmla="*/ 5911619 h 6008288"/>
              <a:gd name="connsiteX8" fmla="*/ 4036095 w 8636594"/>
              <a:gd name="connsiteY8" fmla="*/ 5886685 h 6008288"/>
              <a:gd name="connsiteX9" fmla="*/ 4073456 w 8636594"/>
              <a:gd name="connsiteY9" fmla="*/ 5861452 h 6008288"/>
              <a:gd name="connsiteX10" fmla="*/ 4110400 w 8636594"/>
              <a:gd name="connsiteY10" fmla="*/ 5835922 h 6008288"/>
              <a:gd name="connsiteX11" fmla="*/ 4146933 w 8636594"/>
              <a:gd name="connsiteY11" fmla="*/ 5810100 h 6008288"/>
              <a:gd name="connsiteX12" fmla="*/ 4183061 w 8636594"/>
              <a:gd name="connsiteY12" fmla="*/ 5783988 h 6008288"/>
              <a:gd name="connsiteX13" fmla="*/ 4218791 w 8636594"/>
              <a:gd name="connsiteY13" fmla="*/ 5757591 h 6008288"/>
              <a:gd name="connsiteX14" fmla="*/ 4254129 w 8636594"/>
              <a:gd name="connsiteY14" fmla="*/ 5730912 h 6008288"/>
              <a:gd name="connsiteX15" fmla="*/ 4289081 w 8636594"/>
              <a:gd name="connsiteY15" fmla="*/ 5703955 h 6008288"/>
              <a:gd name="connsiteX16" fmla="*/ 4323654 w 8636594"/>
              <a:gd name="connsiteY16" fmla="*/ 5676722 h 6008288"/>
              <a:gd name="connsiteX17" fmla="*/ 4357854 w 8636594"/>
              <a:gd name="connsiteY17" fmla="*/ 5649218 h 6008288"/>
              <a:gd name="connsiteX18" fmla="*/ 4391688 w 8636594"/>
              <a:gd name="connsiteY18" fmla="*/ 5621446 h 6008288"/>
              <a:gd name="connsiteX19" fmla="*/ 4425162 w 8636594"/>
              <a:gd name="connsiteY19" fmla="*/ 5593409 h 6008288"/>
              <a:gd name="connsiteX20" fmla="*/ 4458281 w 8636594"/>
              <a:gd name="connsiteY20" fmla="*/ 5565111 h 6008288"/>
              <a:gd name="connsiteX21" fmla="*/ 4491053 w 8636594"/>
              <a:gd name="connsiteY21" fmla="*/ 5536556 h 6008288"/>
              <a:gd name="connsiteX22" fmla="*/ 4523484 w 8636594"/>
              <a:gd name="connsiteY22" fmla="*/ 5507747 h 6008288"/>
              <a:gd name="connsiteX23" fmla="*/ 4555580 w 8636594"/>
              <a:gd name="connsiteY23" fmla="*/ 5478687 h 6008288"/>
              <a:gd name="connsiteX24" fmla="*/ 4587347 w 8636594"/>
              <a:gd name="connsiteY24" fmla="*/ 5449380 h 6008288"/>
              <a:gd name="connsiteX25" fmla="*/ 4618793 w 8636594"/>
              <a:gd name="connsiteY25" fmla="*/ 5419830 h 6008288"/>
              <a:gd name="connsiteX26" fmla="*/ 4649922 w 8636594"/>
              <a:gd name="connsiteY26" fmla="*/ 5390040 h 6008288"/>
              <a:gd name="connsiteX27" fmla="*/ 4680742 w 8636594"/>
              <a:gd name="connsiteY27" fmla="*/ 5360014 h 6008288"/>
              <a:gd name="connsiteX28" fmla="*/ 4711259 w 8636594"/>
              <a:gd name="connsiteY28" fmla="*/ 5329755 h 6008288"/>
              <a:gd name="connsiteX29" fmla="*/ 4741478 w 8636594"/>
              <a:gd name="connsiteY29" fmla="*/ 5299266 h 6008288"/>
              <a:gd name="connsiteX30" fmla="*/ 4771408 w 8636594"/>
              <a:gd name="connsiteY30" fmla="*/ 5268551 h 6008288"/>
              <a:gd name="connsiteX31" fmla="*/ 4801053 w 8636594"/>
              <a:gd name="connsiteY31" fmla="*/ 5237614 h 6008288"/>
              <a:gd name="connsiteX32" fmla="*/ 4830420 w 8636594"/>
              <a:gd name="connsiteY32" fmla="*/ 5206458 h 6008288"/>
              <a:gd name="connsiteX33" fmla="*/ 4859516 w 8636594"/>
              <a:gd name="connsiteY33" fmla="*/ 5175087 h 6008288"/>
              <a:gd name="connsiteX34" fmla="*/ 4888347 w 8636594"/>
              <a:gd name="connsiteY34" fmla="*/ 5143504 h 6008288"/>
              <a:gd name="connsiteX35" fmla="*/ 4916919 w 8636594"/>
              <a:gd name="connsiteY35" fmla="*/ 5111713 h 6008288"/>
              <a:gd name="connsiteX36" fmla="*/ 4945238 w 8636594"/>
              <a:gd name="connsiteY36" fmla="*/ 5079717 h 6008288"/>
              <a:gd name="connsiteX37" fmla="*/ 4973311 w 8636594"/>
              <a:gd name="connsiteY37" fmla="*/ 5047519 h 6008288"/>
              <a:gd name="connsiteX38" fmla="*/ 5001145 w 8636594"/>
              <a:gd name="connsiteY38" fmla="*/ 5015124 h 6008288"/>
              <a:gd name="connsiteX39" fmla="*/ 5028745 w 8636594"/>
              <a:gd name="connsiteY39" fmla="*/ 4982535 h 6008288"/>
              <a:gd name="connsiteX40" fmla="*/ 5056117 w 8636594"/>
              <a:gd name="connsiteY40" fmla="*/ 4949755 h 6008288"/>
              <a:gd name="connsiteX41" fmla="*/ 5083269 w 8636594"/>
              <a:gd name="connsiteY41" fmla="*/ 4916787 h 6008288"/>
              <a:gd name="connsiteX42" fmla="*/ 5110207 w 8636594"/>
              <a:gd name="connsiteY42" fmla="*/ 4883636 h 6008288"/>
              <a:gd name="connsiteX43" fmla="*/ 5136937 w 8636594"/>
              <a:gd name="connsiteY43" fmla="*/ 4850305 h 6008288"/>
              <a:gd name="connsiteX44" fmla="*/ 5163464 w 8636594"/>
              <a:gd name="connsiteY44" fmla="*/ 4816797 h 6008288"/>
              <a:gd name="connsiteX45" fmla="*/ 5215940 w 8636594"/>
              <a:gd name="connsiteY45" fmla="*/ 4749265 h 6008288"/>
              <a:gd name="connsiteX46" fmla="*/ 5267684 w 8636594"/>
              <a:gd name="connsiteY46" fmla="*/ 4681068 h 6008288"/>
              <a:gd name="connsiteX47" fmla="*/ 5318748 w 8636594"/>
              <a:gd name="connsiteY47" fmla="*/ 4612234 h 6008288"/>
              <a:gd name="connsiteX48" fmla="*/ 5369182 w 8636594"/>
              <a:gd name="connsiteY48" fmla="*/ 4542793 h 6008288"/>
              <a:gd name="connsiteX49" fmla="*/ 5419038 w 8636594"/>
              <a:gd name="connsiteY49" fmla="*/ 4472771 h 6008288"/>
              <a:gd name="connsiteX50" fmla="*/ 5468365 w 8636594"/>
              <a:gd name="connsiteY50" fmla="*/ 4402196 h 6008288"/>
              <a:gd name="connsiteX51" fmla="*/ 5517215 w 8636594"/>
              <a:gd name="connsiteY51" fmla="*/ 4331098 h 6008288"/>
              <a:gd name="connsiteX52" fmla="*/ 5565637 w 8636594"/>
              <a:gd name="connsiteY52" fmla="*/ 4259503 h 6008288"/>
              <a:gd name="connsiteX53" fmla="*/ 5613684 w 8636594"/>
              <a:gd name="connsiteY53" fmla="*/ 4187441 h 6008288"/>
              <a:gd name="connsiteX54" fmla="*/ 5685160 w 8636594"/>
              <a:gd name="connsiteY54" fmla="*/ 4078531 h 6008288"/>
              <a:gd name="connsiteX55" fmla="*/ 5756074 w 8636594"/>
              <a:gd name="connsiteY55" fmla="*/ 3968727 h 6008288"/>
              <a:gd name="connsiteX56" fmla="*/ 5873483 w 8636594"/>
              <a:gd name="connsiteY56" fmla="*/ 3783989 h 6008288"/>
              <a:gd name="connsiteX57" fmla="*/ 6203209 w 8636594"/>
              <a:gd name="connsiteY57" fmla="*/ 3258640 h 6008288"/>
              <a:gd name="connsiteX58" fmla="*/ 6299430 w 8636594"/>
              <a:gd name="connsiteY58" fmla="*/ 3107321 h 6008288"/>
              <a:gd name="connsiteX59" fmla="*/ 6372650 w 8636594"/>
              <a:gd name="connsiteY59" fmla="*/ 2993735 h 6008288"/>
              <a:gd name="connsiteX60" fmla="*/ 6453197 w 8636594"/>
              <a:gd name="connsiteY60" fmla="*/ 2869788 h 6008288"/>
              <a:gd name="connsiteX61" fmla="*/ 6564167 w 8636594"/>
              <a:gd name="connsiteY61" fmla="*/ 2696807 h 6008288"/>
              <a:gd name="connsiteX62" fmla="*/ 6976233 w 8636594"/>
              <a:gd name="connsiteY62" fmla="*/ 2045274 h 6008288"/>
              <a:gd name="connsiteX63" fmla="*/ 7086755 w 8636594"/>
              <a:gd name="connsiteY63" fmla="*/ 1872743 h 6008288"/>
              <a:gd name="connsiteX64" fmla="*/ 7170279 w 8636594"/>
              <a:gd name="connsiteY64" fmla="*/ 1744202 h 6008288"/>
              <a:gd name="connsiteX65" fmla="*/ 7226351 w 8636594"/>
              <a:gd name="connsiteY65" fmla="*/ 1659017 h 6008288"/>
              <a:gd name="connsiteX66" fmla="*/ 7282789 w 8636594"/>
              <a:gd name="connsiteY66" fmla="*/ 1574303 h 6008288"/>
              <a:gd name="connsiteX67" fmla="*/ 7339643 w 8636594"/>
              <a:gd name="connsiteY67" fmla="*/ 1490113 h 6008288"/>
              <a:gd name="connsiteX68" fmla="*/ 7396957 w 8636594"/>
              <a:gd name="connsiteY68" fmla="*/ 1406503 h 6008288"/>
              <a:gd name="connsiteX69" fmla="*/ 7454781 w 8636594"/>
              <a:gd name="connsiteY69" fmla="*/ 1323526 h 6008288"/>
              <a:gd name="connsiteX70" fmla="*/ 7513161 w 8636594"/>
              <a:gd name="connsiteY70" fmla="*/ 1241237 h 6008288"/>
              <a:gd name="connsiteX71" fmla="*/ 7572144 w 8636594"/>
              <a:gd name="connsiteY71" fmla="*/ 1159689 h 6008288"/>
              <a:gd name="connsiteX72" fmla="*/ 7601877 w 8636594"/>
              <a:gd name="connsiteY72" fmla="*/ 1119210 h 6008288"/>
              <a:gd name="connsiteX73" fmla="*/ 7631779 w 8636594"/>
              <a:gd name="connsiteY73" fmla="*/ 1078937 h 6008288"/>
              <a:gd name="connsiteX74" fmla="*/ 7661855 w 8636594"/>
              <a:gd name="connsiteY74" fmla="*/ 1038876 h 6008288"/>
              <a:gd name="connsiteX75" fmla="*/ 7692111 w 8636594"/>
              <a:gd name="connsiteY75" fmla="*/ 999035 h 6008288"/>
              <a:gd name="connsiteX76" fmla="*/ 7722554 w 8636594"/>
              <a:gd name="connsiteY76" fmla="*/ 959419 h 6008288"/>
              <a:gd name="connsiteX77" fmla="*/ 7753190 w 8636594"/>
              <a:gd name="connsiteY77" fmla="*/ 920037 h 6008288"/>
              <a:gd name="connsiteX78" fmla="*/ 7784023 w 8636594"/>
              <a:gd name="connsiteY78" fmla="*/ 880894 h 6008288"/>
              <a:gd name="connsiteX79" fmla="*/ 7815061 w 8636594"/>
              <a:gd name="connsiteY79" fmla="*/ 841997 h 6008288"/>
              <a:gd name="connsiteX80" fmla="*/ 7846308 w 8636594"/>
              <a:gd name="connsiteY80" fmla="*/ 803354 h 6008288"/>
              <a:gd name="connsiteX81" fmla="*/ 7877772 w 8636594"/>
              <a:gd name="connsiteY81" fmla="*/ 764970 h 6008288"/>
              <a:gd name="connsiteX82" fmla="*/ 7909458 w 8636594"/>
              <a:gd name="connsiteY82" fmla="*/ 726853 h 6008288"/>
              <a:gd name="connsiteX83" fmla="*/ 7941371 w 8636594"/>
              <a:gd name="connsiteY83" fmla="*/ 689010 h 6008288"/>
              <a:gd name="connsiteX84" fmla="*/ 7973518 w 8636594"/>
              <a:gd name="connsiteY84" fmla="*/ 651447 h 6008288"/>
              <a:gd name="connsiteX85" fmla="*/ 8005905 w 8636594"/>
              <a:gd name="connsiteY85" fmla="*/ 614171 h 6008288"/>
              <a:gd name="connsiteX86" fmla="*/ 8038538 w 8636594"/>
              <a:gd name="connsiteY86" fmla="*/ 577189 h 6008288"/>
              <a:gd name="connsiteX87" fmla="*/ 8071421 w 8636594"/>
              <a:gd name="connsiteY87" fmla="*/ 540507 h 6008288"/>
              <a:gd name="connsiteX88" fmla="*/ 8104563 w 8636594"/>
              <a:gd name="connsiteY88" fmla="*/ 504132 h 6008288"/>
              <a:gd name="connsiteX89" fmla="*/ 8137967 w 8636594"/>
              <a:gd name="connsiteY89" fmla="*/ 468072 h 6008288"/>
              <a:gd name="connsiteX90" fmla="*/ 8171641 w 8636594"/>
              <a:gd name="connsiteY90" fmla="*/ 432332 h 6008288"/>
              <a:gd name="connsiteX91" fmla="*/ 8205590 w 8636594"/>
              <a:gd name="connsiteY91" fmla="*/ 396920 h 6008288"/>
              <a:gd name="connsiteX92" fmla="*/ 8239820 w 8636594"/>
              <a:gd name="connsiteY92" fmla="*/ 361843 h 6008288"/>
              <a:gd name="connsiteX93" fmla="*/ 8274337 w 8636594"/>
              <a:gd name="connsiteY93" fmla="*/ 327107 h 6008288"/>
              <a:gd name="connsiteX94" fmla="*/ 8309147 w 8636594"/>
              <a:gd name="connsiteY94" fmla="*/ 292718 h 6008288"/>
              <a:gd name="connsiteX95" fmla="*/ 8344256 w 8636594"/>
              <a:gd name="connsiteY95" fmla="*/ 258685 h 6008288"/>
              <a:gd name="connsiteX96" fmla="*/ 8379669 w 8636594"/>
              <a:gd name="connsiteY96" fmla="*/ 225013 h 6008288"/>
              <a:gd name="connsiteX97" fmla="*/ 8415394 w 8636594"/>
              <a:gd name="connsiteY97" fmla="*/ 191709 h 6008288"/>
              <a:gd name="connsiteX98" fmla="*/ 8451434 w 8636594"/>
              <a:gd name="connsiteY98" fmla="*/ 158780 h 6008288"/>
              <a:gd name="connsiteX99" fmla="*/ 8487798 w 8636594"/>
              <a:gd name="connsiteY99" fmla="*/ 126233 h 6008288"/>
              <a:gd name="connsiteX100" fmla="*/ 8524489 w 8636594"/>
              <a:gd name="connsiteY100" fmla="*/ 94075 h 6008288"/>
              <a:gd name="connsiteX101" fmla="*/ 8561515 w 8636594"/>
              <a:gd name="connsiteY101" fmla="*/ 62312 h 6008288"/>
              <a:gd name="connsiteX102" fmla="*/ 8598881 w 8636594"/>
              <a:gd name="connsiteY102" fmla="*/ 30951 h 6008288"/>
              <a:gd name="connsiteX103" fmla="*/ 8636594 w 8636594"/>
              <a:gd name="connsiteY103" fmla="*/ 0 h 6008288"/>
              <a:gd name="connsiteX0" fmla="*/ 8636594 w 8636594"/>
              <a:gd name="connsiteY0" fmla="*/ 0 h 5984588"/>
              <a:gd name="connsiteX1" fmla="*/ 5293 w 8636594"/>
              <a:gd name="connsiteY1" fmla="*/ 0 h 5984588"/>
              <a:gd name="connsiteX2" fmla="*/ 0 w 8636594"/>
              <a:gd name="connsiteY2" fmla="*/ 5587843 h 5984588"/>
              <a:gd name="connsiteX3" fmla="*/ 3882352 w 8636594"/>
              <a:gd name="connsiteY3" fmla="*/ 5984588 h 5984588"/>
              <a:gd name="connsiteX4" fmla="*/ 3921445 w 8636594"/>
              <a:gd name="connsiteY4" fmla="*/ 5960574 h 5984588"/>
              <a:gd name="connsiteX5" fmla="*/ 3960096 w 8636594"/>
              <a:gd name="connsiteY5" fmla="*/ 5936250 h 5984588"/>
              <a:gd name="connsiteX6" fmla="*/ 3998311 w 8636594"/>
              <a:gd name="connsiteY6" fmla="*/ 5911619 h 5984588"/>
              <a:gd name="connsiteX7" fmla="*/ 4036095 w 8636594"/>
              <a:gd name="connsiteY7" fmla="*/ 5886685 h 5984588"/>
              <a:gd name="connsiteX8" fmla="*/ 4073456 w 8636594"/>
              <a:gd name="connsiteY8" fmla="*/ 5861452 h 5984588"/>
              <a:gd name="connsiteX9" fmla="*/ 4110400 w 8636594"/>
              <a:gd name="connsiteY9" fmla="*/ 5835922 h 5984588"/>
              <a:gd name="connsiteX10" fmla="*/ 4146933 w 8636594"/>
              <a:gd name="connsiteY10" fmla="*/ 5810100 h 5984588"/>
              <a:gd name="connsiteX11" fmla="*/ 4183061 w 8636594"/>
              <a:gd name="connsiteY11" fmla="*/ 5783988 h 5984588"/>
              <a:gd name="connsiteX12" fmla="*/ 4218791 w 8636594"/>
              <a:gd name="connsiteY12" fmla="*/ 5757591 h 5984588"/>
              <a:gd name="connsiteX13" fmla="*/ 4254129 w 8636594"/>
              <a:gd name="connsiteY13" fmla="*/ 5730912 h 5984588"/>
              <a:gd name="connsiteX14" fmla="*/ 4289081 w 8636594"/>
              <a:gd name="connsiteY14" fmla="*/ 5703955 h 5984588"/>
              <a:gd name="connsiteX15" fmla="*/ 4323654 w 8636594"/>
              <a:gd name="connsiteY15" fmla="*/ 5676722 h 5984588"/>
              <a:gd name="connsiteX16" fmla="*/ 4357854 w 8636594"/>
              <a:gd name="connsiteY16" fmla="*/ 5649218 h 5984588"/>
              <a:gd name="connsiteX17" fmla="*/ 4391688 w 8636594"/>
              <a:gd name="connsiteY17" fmla="*/ 5621446 h 5984588"/>
              <a:gd name="connsiteX18" fmla="*/ 4425162 w 8636594"/>
              <a:gd name="connsiteY18" fmla="*/ 5593409 h 5984588"/>
              <a:gd name="connsiteX19" fmla="*/ 4458281 w 8636594"/>
              <a:gd name="connsiteY19" fmla="*/ 5565111 h 5984588"/>
              <a:gd name="connsiteX20" fmla="*/ 4491053 w 8636594"/>
              <a:gd name="connsiteY20" fmla="*/ 5536556 h 5984588"/>
              <a:gd name="connsiteX21" fmla="*/ 4523484 w 8636594"/>
              <a:gd name="connsiteY21" fmla="*/ 5507747 h 5984588"/>
              <a:gd name="connsiteX22" fmla="*/ 4555580 w 8636594"/>
              <a:gd name="connsiteY22" fmla="*/ 5478687 h 5984588"/>
              <a:gd name="connsiteX23" fmla="*/ 4587347 w 8636594"/>
              <a:gd name="connsiteY23" fmla="*/ 5449380 h 5984588"/>
              <a:gd name="connsiteX24" fmla="*/ 4618793 w 8636594"/>
              <a:gd name="connsiteY24" fmla="*/ 5419830 h 5984588"/>
              <a:gd name="connsiteX25" fmla="*/ 4649922 w 8636594"/>
              <a:gd name="connsiteY25" fmla="*/ 5390040 h 5984588"/>
              <a:gd name="connsiteX26" fmla="*/ 4680742 w 8636594"/>
              <a:gd name="connsiteY26" fmla="*/ 5360014 h 5984588"/>
              <a:gd name="connsiteX27" fmla="*/ 4711259 w 8636594"/>
              <a:gd name="connsiteY27" fmla="*/ 5329755 h 5984588"/>
              <a:gd name="connsiteX28" fmla="*/ 4741478 w 8636594"/>
              <a:gd name="connsiteY28" fmla="*/ 5299266 h 5984588"/>
              <a:gd name="connsiteX29" fmla="*/ 4771408 w 8636594"/>
              <a:gd name="connsiteY29" fmla="*/ 5268551 h 5984588"/>
              <a:gd name="connsiteX30" fmla="*/ 4801053 w 8636594"/>
              <a:gd name="connsiteY30" fmla="*/ 5237614 h 5984588"/>
              <a:gd name="connsiteX31" fmla="*/ 4830420 w 8636594"/>
              <a:gd name="connsiteY31" fmla="*/ 5206458 h 5984588"/>
              <a:gd name="connsiteX32" fmla="*/ 4859516 w 8636594"/>
              <a:gd name="connsiteY32" fmla="*/ 5175087 h 5984588"/>
              <a:gd name="connsiteX33" fmla="*/ 4888347 w 8636594"/>
              <a:gd name="connsiteY33" fmla="*/ 5143504 h 5984588"/>
              <a:gd name="connsiteX34" fmla="*/ 4916919 w 8636594"/>
              <a:gd name="connsiteY34" fmla="*/ 5111713 h 5984588"/>
              <a:gd name="connsiteX35" fmla="*/ 4945238 w 8636594"/>
              <a:gd name="connsiteY35" fmla="*/ 5079717 h 5984588"/>
              <a:gd name="connsiteX36" fmla="*/ 4973311 w 8636594"/>
              <a:gd name="connsiteY36" fmla="*/ 5047519 h 5984588"/>
              <a:gd name="connsiteX37" fmla="*/ 5001145 w 8636594"/>
              <a:gd name="connsiteY37" fmla="*/ 5015124 h 5984588"/>
              <a:gd name="connsiteX38" fmla="*/ 5028745 w 8636594"/>
              <a:gd name="connsiteY38" fmla="*/ 4982535 h 5984588"/>
              <a:gd name="connsiteX39" fmla="*/ 5056117 w 8636594"/>
              <a:gd name="connsiteY39" fmla="*/ 4949755 h 5984588"/>
              <a:gd name="connsiteX40" fmla="*/ 5083269 w 8636594"/>
              <a:gd name="connsiteY40" fmla="*/ 4916787 h 5984588"/>
              <a:gd name="connsiteX41" fmla="*/ 5110207 w 8636594"/>
              <a:gd name="connsiteY41" fmla="*/ 4883636 h 5984588"/>
              <a:gd name="connsiteX42" fmla="*/ 5136937 w 8636594"/>
              <a:gd name="connsiteY42" fmla="*/ 4850305 h 5984588"/>
              <a:gd name="connsiteX43" fmla="*/ 5163464 w 8636594"/>
              <a:gd name="connsiteY43" fmla="*/ 4816797 h 5984588"/>
              <a:gd name="connsiteX44" fmla="*/ 5215940 w 8636594"/>
              <a:gd name="connsiteY44" fmla="*/ 4749265 h 5984588"/>
              <a:gd name="connsiteX45" fmla="*/ 5267684 w 8636594"/>
              <a:gd name="connsiteY45" fmla="*/ 4681068 h 5984588"/>
              <a:gd name="connsiteX46" fmla="*/ 5318748 w 8636594"/>
              <a:gd name="connsiteY46" fmla="*/ 4612234 h 5984588"/>
              <a:gd name="connsiteX47" fmla="*/ 5369182 w 8636594"/>
              <a:gd name="connsiteY47" fmla="*/ 4542793 h 5984588"/>
              <a:gd name="connsiteX48" fmla="*/ 5419038 w 8636594"/>
              <a:gd name="connsiteY48" fmla="*/ 4472771 h 5984588"/>
              <a:gd name="connsiteX49" fmla="*/ 5468365 w 8636594"/>
              <a:gd name="connsiteY49" fmla="*/ 4402196 h 5984588"/>
              <a:gd name="connsiteX50" fmla="*/ 5517215 w 8636594"/>
              <a:gd name="connsiteY50" fmla="*/ 4331098 h 5984588"/>
              <a:gd name="connsiteX51" fmla="*/ 5565637 w 8636594"/>
              <a:gd name="connsiteY51" fmla="*/ 4259503 h 5984588"/>
              <a:gd name="connsiteX52" fmla="*/ 5613684 w 8636594"/>
              <a:gd name="connsiteY52" fmla="*/ 4187441 h 5984588"/>
              <a:gd name="connsiteX53" fmla="*/ 5685160 w 8636594"/>
              <a:gd name="connsiteY53" fmla="*/ 4078531 h 5984588"/>
              <a:gd name="connsiteX54" fmla="*/ 5756074 w 8636594"/>
              <a:gd name="connsiteY54" fmla="*/ 3968727 h 5984588"/>
              <a:gd name="connsiteX55" fmla="*/ 5873483 w 8636594"/>
              <a:gd name="connsiteY55" fmla="*/ 3783989 h 5984588"/>
              <a:gd name="connsiteX56" fmla="*/ 6203209 w 8636594"/>
              <a:gd name="connsiteY56" fmla="*/ 3258640 h 5984588"/>
              <a:gd name="connsiteX57" fmla="*/ 6299430 w 8636594"/>
              <a:gd name="connsiteY57" fmla="*/ 3107321 h 5984588"/>
              <a:gd name="connsiteX58" fmla="*/ 6372650 w 8636594"/>
              <a:gd name="connsiteY58" fmla="*/ 2993735 h 5984588"/>
              <a:gd name="connsiteX59" fmla="*/ 6453197 w 8636594"/>
              <a:gd name="connsiteY59" fmla="*/ 2869788 h 5984588"/>
              <a:gd name="connsiteX60" fmla="*/ 6564167 w 8636594"/>
              <a:gd name="connsiteY60" fmla="*/ 2696807 h 5984588"/>
              <a:gd name="connsiteX61" fmla="*/ 6976233 w 8636594"/>
              <a:gd name="connsiteY61" fmla="*/ 2045274 h 5984588"/>
              <a:gd name="connsiteX62" fmla="*/ 7086755 w 8636594"/>
              <a:gd name="connsiteY62" fmla="*/ 1872743 h 5984588"/>
              <a:gd name="connsiteX63" fmla="*/ 7170279 w 8636594"/>
              <a:gd name="connsiteY63" fmla="*/ 1744202 h 5984588"/>
              <a:gd name="connsiteX64" fmla="*/ 7226351 w 8636594"/>
              <a:gd name="connsiteY64" fmla="*/ 1659017 h 5984588"/>
              <a:gd name="connsiteX65" fmla="*/ 7282789 w 8636594"/>
              <a:gd name="connsiteY65" fmla="*/ 1574303 h 5984588"/>
              <a:gd name="connsiteX66" fmla="*/ 7339643 w 8636594"/>
              <a:gd name="connsiteY66" fmla="*/ 1490113 h 5984588"/>
              <a:gd name="connsiteX67" fmla="*/ 7396957 w 8636594"/>
              <a:gd name="connsiteY67" fmla="*/ 1406503 h 5984588"/>
              <a:gd name="connsiteX68" fmla="*/ 7454781 w 8636594"/>
              <a:gd name="connsiteY68" fmla="*/ 1323526 h 5984588"/>
              <a:gd name="connsiteX69" fmla="*/ 7513161 w 8636594"/>
              <a:gd name="connsiteY69" fmla="*/ 1241237 h 5984588"/>
              <a:gd name="connsiteX70" fmla="*/ 7572144 w 8636594"/>
              <a:gd name="connsiteY70" fmla="*/ 1159689 h 5984588"/>
              <a:gd name="connsiteX71" fmla="*/ 7601877 w 8636594"/>
              <a:gd name="connsiteY71" fmla="*/ 1119210 h 5984588"/>
              <a:gd name="connsiteX72" fmla="*/ 7631779 w 8636594"/>
              <a:gd name="connsiteY72" fmla="*/ 1078937 h 5984588"/>
              <a:gd name="connsiteX73" fmla="*/ 7661855 w 8636594"/>
              <a:gd name="connsiteY73" fmla="*/ 1038876 h 5984588"/>
              <a:gd name="connsiteX74" fmla="*/ 7692111 w 8636594"/>
              <a:gd name="connsiteY74" fmla="*/ 999035 h 5984588"/>
              <a:gd name="connsiteX75" fmla="*/ 7722554 w 8636594"/>
              <a:gd name="connsiteY75" fmla="*/ 959419 h 5984588"/>
              <a:gd name="connsiteX76" fmla="*/ 7753190 w 8636594"/>
              <a:gd name="connsiteY76" fmla="*/ 920037 h 5984588"/>
              <a:gd name="connsiteX77" fmla="*/ 7784023 w 8636594"/>
              <a:gd name="connsiteY77" fmla="*/ 880894 h 5984588"/>
              <a:gd name="connsiteX78" fmla="*/ 7815061 w 8636594"/>
              <a:gd name="connsiteY78" fmla="*/ 841997 h 5984588"/>
              <a:gd name="connsiteX79" fmla="*/ 7846308 w 8636594"/>
              <a:gd name="connsiteY79" fmla="*/ 803354 h 5984588"/>
              <a:gd name="connsiteX80" fmla="*/ 7877772 w 8636594"/>
              <a:gd name="connsiteY80" fmla="*/ 764970 h 5984588"/>
              <a:gd name="connsiteX81" fmla="*/ 7909458 w 8636594"/>
              <a:gd name="connsiteY81" fmla="*/ 726853 h 5984588"/>
              <a:gd name="connsiteX82" fmla="*/ 7941371 w 8636594"/>
              <a:gd name="connsiteY82" fmla="*/ 689010 h 5984588"/>
              <a:gd name="connsiteX83" fmla="*/ 7973518 w 8636594"/>
              <a:gd name="connsiteY83" fmla="*/ 651447 h 5984588"/>
              <a:gd name="connsiteX84" fmla="*/ 8005905 w 8636594"/>
              <a:gd name="connsiteY84" fmla="*/ 614171 h 5984588"/>
              <a:gd name="connsiteX85" fmla="*/ 8038538 w 8636594"/>
              <a:gd name="connsiteY85" fmla="*/ 577189 h 5984588"/>
              <a:gd name="connsiteX86" fmla="*/ 8071421 w 8636594"/>
              <a:gd name="connsiteY86" fmla="*/ 540507 h 5984588"/>
              <a:gd name="connsiteX87" fmla="*/ 8104563 w 8636594"/>
              <a:gd name="connsiteY87" fmla="*/ 504132 h 5984588"/>
              <a:gd name="connsiteX88" fmla="*/ 8137967 w 8636594"/>
              <a:gd name="connsiteY88" fmla="*/ 468072 h 5984588"/>
              <a:gd name="connsiteX89" fmla="*/ 8171641 w 8636594"/>
              <a:gd name="connsiteY89" fmla="*/ 432332 h 5984588"/>
              <a:gd name="connsiteX90" fmla="*/ 8205590 w 8636594"/>
              <a:gd name="connsiteY90" fmla="*/ 396920 h 5984588"/>
              <a:gd name="connsiteX91" fmla="*/ 8239820 w 8636594"/>
              <a:gd name="connsiteY91" fmla="*/ 361843 h 5984588"/>
              <a:gd name="connsiteX92" fmla="*/ 8274337 w 8636594"/>
              <a:gd name="connsiteY92" fmla="*/ 327107 h 5984588"/>
              <a:gd name="connsiteX93" fmla="*/ 8309147 w 8636594"/>
              <a:gd name="connsiteY93" fmla="*/ 292718 h 5984588"/>
              <a:gd name="connsiteX94" fmla="*/ 8344256 w 8636594"/>
              <a:gd name="connsiteY94" fmla="*/ 258685 h 5984588"/>
              <a:gd name="connsiteX95" fmla="*/ 8379669 w 8636594"/>
              <a:gd name="connsiteY95" fmla="*/ 225013 h 5984588"/>
              <a:gd name="connsiteX96" fmla="*/ 8415394 w 8636594"/>
              <a:gd name="connsiteY96" fmla="*/ 191709 h 5984588"/>
              <a:gd name="connsiteX97" fmla="*/ 8451434 w 8636594"/>
              <a:gd name="connsiteY97" fmla="*/ 158780 h 5984588"/>
              <a:gd name="connsiteX98" fmla="*/ 8487798 w 8636594"/>
              <a:gd name="connsiteY98" fmla="*/ 126233 h 5984588"/>
              <a:gd name="connsiteX99" fmla="*/ 8524489 w 8636594"/>
              <a:gd name="connsiteY99" fmla="*/ 94075 h 5984588"/>
              <a:gd name="connsiteX100" fmla="*/ 8561515 w 8636594"/>
              <a:gd name="connsiteY100" fmla="*/ 62312 h 5984588"/>
              <a:gd name="connsiteX101" fmla="*/ 8598881 w 8636594"/>
              <a:gd name="connsiteY101" fmla="*/ 30951 h 5984588"/>
              <a:gd name="connsiteX102" fmla="*/ 8636594 w 8636594"/>
              <a:gd name="connsiteY102" fmla="*/ 0 h 5984588"/>
              <a:gd name="connsiteX0" fmla="*/ 8636594 w 8636594"/>
              <a:gd name="connsiteY0" fmla="*/ 0 h 5960574"/>
              <a:gd name="connsiteX1" fmla="*/ 5293 w 8636594"/>
              <a:gd name="connsiteY1" fmla="*/ 0 h 5960574"/>
              <a:gd name="connsiteX2" fmla="*/ 0 w 8636594"/>
              <a:gd name="connsiteY2" fmla="*/ 5587843 h 5960574"/>
              <a:gd name="connsiteX3" fmla="*/ 3921445 w 8636594"/>
              <a:gd name="connsiteY3" fmla="*/ 5960574 h 5960574"/>
              <a:gd name="connsiteX4" fmla="*/ 3960096 w 8636594"/>
              <a:gd name="connsiteY4" fmla="*/ 5936250 h 5960574"/>
              <a:gd name="connsiteX5" fmla="*/ 3998311 w 8636594"/>
              <a:gd name="connsiteY5" fmla="*/ 5911619 h 5960574"/>
              <a:gd name="connsiteX6" fmla="*/ 4036095 w 8636594"/>
              <a:gd name="connsiteY6" fmla="*/ 5886685 h 5960574"/>
              <a:gd name="connsiteX7" fmla="*/ 4073456 w 8636594"/>
              <a:gd name="connsiteY7" fmla="*/ 5861452 h 5960574"/>
              <a:gd name="connsiteX8" fmla="*/ 4110400 w 8636594"/>
              <a:gd name="connsiteY8" fmla="*/ 5835922 h 5960574"/>
              <a:gd name="connsiteX9" fmla="*/ 4146933 w 8636594"/>
              <a:gd name="connsiteY9" fmla="*/ 5810100 h 5960574"/>
              <a:gd name="connsiteX10" fmla="*/ 4183061 w 8636594"/>
              <a:gd name="connsiteY10" fmla="*/ 5783988 h 5960574"/>
              <a:gd name="connsiteX11" fmla="*/ 4218791 w 8636594"/>
              <a:gd name="connsiteY11" fmla="*/ 5757591 h 5960574"/>
              <a:gd name="connsiteX12" fmla="*/ 4254129 w 8636594"/>
              <a:gd name="connsiteY12" fmla="*/ 5730912 h 5960574"/>
              <a:gd name="connsiteX13" fmla="*/ 4289081 w 8636594"/>
              <a:gd name="connsiteY13" fmla="*/ 5703955 h 5960574"/>
              <a:gd name="connsiteX14" fmla="*/ 4323654 w 8636594"/>
              <a:gd name="connsiteY14" fmla="*/ 5676722 h 5960574"/>
              <a:gd name="connsiteX15" fmla="*/ 4357854 w 8636594"/>
              <a:gd name="connsiteY15" fmla="*/ 5649218 h 5960574"/>
              <a:gd name="connsiteX16" fmla="*/ 4391688 w 8636594"/>
              <a:gd name="connsiteY16" fmla="*/ 5621446 h 5960574"/>
              <a:gd name="connsiteX17" fmla="*/ 4425162 w 8636594"/>
              <a:gd name="connsiteY17" fmla="*/ 5593409 h 5960574"/>
              <a:gd name="connsiteX18" fmla="*/ 4458281 w 8636594"/>
              <a:gd name="connsiteY18" fmla="*/ 5565111 h 5960574"/>
              <a:gd name="connsiteX19" fmla="*/ 4491053 w 8636594"/>
              <a:gd name="connsiteY19" fmla="*/ 5536556 h 5960574"/>
              <a:gd name="connsiteX20" fmla="*/ 4523484 w 8636594"/>
              <a:gd name="connsiteY20" fmla="*/ 5507747 h 5960574"/>
              <a:gd name="connsiteX21" fmla="*/ 4555580 w 8636594"/>
              <a:gd name="connsiteY21" fmla="*/ 5478687 h 5960574"/>
              <a:gd name="connsiteX22" fmla="*/ 4587347 w 8636594"/>
              <a:gd name="connsiteY22" fmla="*/ 5449380 h 5960574"/>
              <a:gd name="connsiteX23" fmla="*/ 4618793 w 8636594"/>
              <a:gd name="connsiteY23" fmla="*/ 5419830 h 5960574"/>
              <a:gd name="connsiteX24" fmla="*/ 4649922 w 8636594"/>
              <a:gd name="connsiteY24" fmla="*/ 5390040 h 5960574"/>
              <a:gd name="connsiteX25" fmla="*/ 4680742 w 8636594"/>
              <a:gd name="connsiteY25" fmla="*/ 5360014 h 5960574"/>
              <a:gd name="connsiteX26" fmla="*/ 4711259 w 8636594"/>
              <a:gd name="connsiteY26" fmla="*/ 5329755 h 5960574"/>
              <a:gd name="connsiteX27" fmla="*/ 4741478 w 8636594"/>
              <a:gd name="connsiteY27" fmla="*/ 5299266 h 5960574"/>
              <a:gd name="connsiteX28" fmla="*/ 4771408 w 8636594"/>
              <a:gd name="connsiteY28" fmla="*/ 5268551 h 5960574"/>
              <a:gd name="connsiteX29" fmla="*/ 4801053 w 8636594"/>
              <a:gd name="connsiteY29" fmla="*/ 5237614 h 5960574"/>
              <a:gd name="connsiteX30" fmla="*/ 4830420 w 8636594"/>
              <a:gd name="connsiteY30" fmla="*/ 5206458 h 5960574"/>
              <a:gd name="connsiteX31" fmla="*/ 4859516 w 8636594"/>
              <a:gd name="connsiteY31" fmla="*/ 5175087 h 5960574"/>
              <a:gd name="connsiteX32" fmla="*/ 4888347 w 8636594"/>
              <a:gd name="connsiteY32" fmla="*/ 5143504 h 5960574"/>
              <a:gd name="connsiteX33" fmla="*/ 4916919 w 8636594"/>
              <a:gd name="connsiteY33" fmla="*/ 5111713 h 5960574"/>
              <a:gd name="connsiteX34" fmla="*/ 4945238 w 8636594"/>
              <a:gd name="connsiteY34" fmla="*/ 5079717 h 5960574"/>
              <a:gd name="connsiteX35" fmla="*/ 4973311 w 8636594"/>
              <a:gd name="connsiteY35" fmla="*/ 5047519 h 5960574"/>
              <a:gd name="connsiteX36" fmla="*/ 5001145 w 8636594"/>
              <a:gd name="connsiteY36" fmla="*/ 5015124 h 5960574"/>
              <a:gd name="connsiteX37" fmla="*/ 5028745 w 8636594"/>
              <a:gd name="connsiteY37" fmla="*/ 4982535 h 5960574"/>
              <a:gd name="connsiteX38" fmla="*/ 5056117 w 8636594"/>
              <a:gd name="connsiteY38" fmla="*/ 4949755 h 5960574"/>
              <a:gd name="connsiteX39" fmla="*/ 5083269 w 8636594"/>
              <a:gd name="connsiteY39" fmla="*/ 4916787 h 5960574"/>
              <a:gd name="connsiteX40" fmla="*/ 5110207 w 8636594"/>
              <a:gd name="connsiteY40" fmla="*/ 4883636 h 5960574"/>
              <a:gd name="connsiteX41" fmla="*/ 5136937 w 8636594"/>
              <a:gd name="connsiteY41" fmla="*/ 4850305 h 5960574"/>
              <a:gd name="connsiteX42" fmla="*/ 5163464 w 8636594"/>
              <a:gd name="connsiteY42" fmla="*/ 4816797 h 5960574"/>
              <a:gd name="connsiteX43" fmla="*/ 5215940 w 8636594"/>
              <a:gd name="connsiteY43" fmla="*/ 4749265 h 5960574"/>
              <a:gd name="connsiteX44" fmla="*/ 5267684 w 8636594"/>
              <a:gd name="connsiteY44" fmla="*/ 4681068 h 5960574"/>
              <a:gd name="connsiteX45" fmla="*/ 5318748 w 8636594"/>
              <a:gd name="connsiteY45" fmla="*/ 4612234 h 5960574"/>
              <a:gd name="connsiteX46" fmla="*/ 5369182 w 8636594"/>
              <a:gd name="connsiteY46" fmla="*/ 4542793 h 5960574"/>
              <a:gd name="connsiteX47" fmla="*/ 5419038 w 8636594"/>
              <a:gd name="connsiteY47" fmla="*/ 4472771 h 5960574"/>
              <a:gd name="connsiteX48" fmla="*/ 5468365 w 8636594"/>
              <a:gd name="connsiteY48" fmla="*/ 4402196 h 5960574"/>
              <a:gd name="connsiteX49" fmla="*/ 5517215 w 8636594"/>
              <a:gd name="connsiteY49" fmla="*/ 4331098 h 5960574"/>
              <a:gd name="connsiteX50" fmla="*/ 5565637 w 8636594"/>
              <a:gd name="connsiteY50" fmla="*/ 4259503 h 5960574"/>
              <a:gd name="connsiteX51" fmla="*/ 5613684 w 8636594"/>
              <a:gd name="connsiteY51" fmla="*/ 4187441 h 5960574"/>
              <a:gd name="connsiteX52" fmla="*/ 5685160 w 8636594"/>
              <a:gd name="connsiteY52" fmla="*/ 4078531 h 5960574"/>
              <a:gd name="connsiteX53" fmla="*/ 5756074 w 8636594"/>
              <a:gd name="connsiteY53" fmla="*/ 3968727 h 5960574"/>
              <a:gd name="connsiteX54" fmla="*/ 5873483 w 8636594"/>
              <a:gd name="connsiteY54" fmla="*/ 3783989 h 5960574"/>
              <a:gd name="connsiteX55" fmla="*/ 6203209 w 8636594"/>
              <a:gd name="connsiteY55" fmla="*/ 3258640 h 5960574"/>
              <a:gd name="connsiteX56" fmla="*/ 6299430 w 8636594"/>
              <a:gd name="connsiteY56" fmla="*/ 3107321 h 5960574"/>
              <a:gd name="connsiteX57" fmla="*/ 6372650 w 8636594"/>
              <a:gd name="connsiteY57" fmla="*/ 2993735 h 5960574"/>
              <a:gd name="connsiteX58" fmla="*/ 6453197 w 8636594"/>
              <a:gd name="connsiteY58" fmla="*/ 2869788 h 5960574"/>
              <a:gd name="connsiteX59" fmla="*/ 6564167 w 8636594"/>
              <a:gd name="connsiteY59" fmla="*/ 2696807 h 5960574"/>
              <a:gd name="connsiteX60" fmla="*/ 6976233 w 8636594"/>
              <a:gd name="connsiteY60" fmla="*/ 2045274 h 5960574"/>
              <a:gd name="connsiteX61" fmla="*/ 7086755 w 8636594"/>
              <a:gd name="connsiteY61" fmla="*/ 1872743 h 5960574"/>
              <a:gd name="connsiteX62" fmla="*/ 7170279 w 8636594"/>
              <a:gd name="connsiteY62" fmla="*/ 1744202 h 5960574"/>
              <a:gd name="connsiteX63" fmla="*/ 7226351 w 8636594"/>
              <a:gd name="connsiteY63" fmla="*/ 1659017 h 5960574"/>
              <a:gd name="connsiteX64" fmla="*/ 7282789 w 8636594"/>
              <a:gd name="connsiteY64" fmla="*/ 1574303 h 5960574"/>
              <a:gd name="connsiteX65" fmla="*/ 7339643 w 8636594"/>
              <a:gd name="connsiteY65" fmla="*/ 1490113 h 5960574"/>
              <a:gd name="connsiteX66" fmla="*/ 7396957 w 8636594"/>
              <a:gd name="connsiteY66" fmla="*/ 1406503 h 5960574"/>
              <a:gd name="connsiteX67" fmla="*/ 7454781 w 8636594"/>
              <a:gd name="connsiteY67" fmla="*/ 1323526 h 5960574"/>
              <a:gd name="connsiteX68" fmla="*/ 7513161 w 8636594"/>
              <a:gd name="connsiteY68" fmla="*/ 1241237 h 5960574"/>
              <a:gd name="connsiteX69" fmla="*/ 7572144 w 8636594"/>
              <a:gd name="connsiteY69" fmla="*/ 1159689 h 5960574"/>
              <a:gd name="connsiteX70" fmla="*/ 7601877 w 8636594"/>
              <a:gd name="connsiteY70" fmla="*/ 1119210 h 5960574"/>
              <a:gd name="connsiteX71" fmla="*/ 7631779 w 8636594"/>
              <a:gd name="connsiteY71" fmla="*/ 1078937 h 5960574"/>
              <a:gd name="connsiteX72" fmla="*/ 7661855 w 8636594"/>
              <a:gd name="connsiteY72" fmla="*/ 1038876 h 5960574"/>
              <a:gd name="connsiteX73" fmla="*/ 7692111 w 8636594"/>
              <a:gd name="connsiteY73" fmla="*/ 999035 h 5960574"/>
              <a:gd name="connsiteX74" fmla="*/ 7722554 w 8636594"/>
              <a:gd name="connsiteY74" fmla="*/ 959419 h 5960574"/>
              <a:gd name="connsiteX75" fmla="*/ 7753190 w 8636594"/>
              <a:gd name="connsiteY75" fmla="*/ 920037 h 5960574"/>
              <a:gd name="connsiteX76" fmla="*/ 7784023 w 8636594"/>
              <a:gd name="connsiteY76" fmla="*/ 880894 h 5960574"/>
              <a:gd name="connsiteX77" fmla="*/ 7815061 w 8636594"/>
              <a:gd name="connsiteY77" fmla="*/ 841997 h 5960574"/>
              <a:gd name="connsiteX78" fmla="*/ 7846308 w 8636594"/>
              <a:gd name="connsiteY78" fmla="*/ 803354 h 5960574"/>
              <a:gd name="connsiteX79" fmla="*/ 7877772 w 8636594"/>
              <a:gd name="connsiteY79" fmla="*/ 764970 h 5960574"/>
              <a:gd name="connsiteX80" fmla="*/ 7909458 w 8636594"/>
              <a:gd name="connsiteY80" fmla="*/ 726853 h 5960574"/>
              <a:gd name="connsiteX81" fmla="*/ 7941371 w 8636594"/>
              <a:gd name="connsiteY81" fmla="*/ 689010 h 5960574"/>
              <a:gd name="connsiteX82" fmla="*/ 7973518 w 8636594"/>
              <a:gd name="connsiteY82" fmla="*/ 651447 h 5960574"/>
              <a:gd name="connsiteX83" fmla="*/ 8005905 w 8636594"/>
              <a:gd name="connsiteY83" fmla="*/ 614171 h 5960574"/>
              <a:gd name="connsiteX84" fmla="*/ 8038538 w 8636594"/>
              <a:gd name="connsiteY84" fmla="*/ 577189 h 5960574"/>
              <a:gd name="connsiteX85" fmla="*/ 8071421 w 8636594"/>
              <a:gd name="connsiteY85" fmla="*/ 540507 h 5960574"/>
              <a:gd name="connsiteX86" fmla="*/ 8104563 w 8636594"/>
              <a:gd name="connsiteY86" fmla="*/ 504132 h 5960574"/>
              <a:gd name="connsiteX87" fmla="*/ 8137967 w 8636594"/>
              <a:gd name="connsiteY87" fmla="*/ 468072 h 5960574"/>
              <a:gd name="connsiteX88" fmla="*/ 8171641 w 8636594"/>
              <a:gd name="connsiteY88" fmla="*/ 432332 h 5960574"/>
              <a:gd name="connsiteX89" fmla="*/ 8205590 w 8636594"/>
              <a:gd name="connsiteY89" fmla="*/ 396920 h 5960574"/>
              <a:gd name="connsiteX90" fmla="*/ 8239820 w 8636594"/>
              <a:gd name="connsiteY90" fmla="*/ 361843 h 5960574"/>
              <a:gd name="connsiteX91" fmla="*/ 8274337 w 8636594"/>
              <a:gd name="connsiteY91" fmla="*/ 327107 h 5960574"/>
              <a:gd name="connsiteX92" fmla="*/ 8309147 w 8636594"/>
              <a:gd name="connsiteY92" fmla="*/ 292718 h 5960574"/>
              <a:gd name="connsiteX93" fmla="*/ 8344256 w 8636594"/>
              <a:gd name="connsiteY93" fmla="*/ 258685 h 5960574"/>
              <a:gd name="connsiteX94" fmla="*/ 8379669 w 8636594"/>
              <a:gd name="connsiteY94" fmla="*/ 225013 h 5960574"/>
              <a:gd name="connsiteX95" fmla="*/ 8415394 w 8636594"/>
              <a:gd name="connsiteY95" fmla="*/ 191709 h 5960574"/>
              <a:gd name="connsiteX96" fmla="*/ 8451434 w 8636594"/>
              <a:gd name="connsiteY96" fmla="*/ 158780 h 5960574"/>
              <a:gd name="connsiteX97" fmla="*/ 8487798 w 8636594"/>
              <a:gd name="connsiteY97" fmla="*/ 126233 h 5960574"/>
              <a:gd name="connsiteX98" fmla="*/ 8524489 w 8636594"/>
              <a:gd name="connsiteY98" fmla="*/ 94075 h 5960574"/>
              <a:gd name="connsiteX99" fmla="*/ 8561515 w 8636594"/>
              <a:gd name="connsiteY99" fmla="*/ 62312 h 5960574"/>
              <a:gd name="connsiteX100" fmla="*/ 8598881 w 8636594"/>
              <a:gd name="connsiteY100" fmla="*/ 30951 h 5960574"/>
              <a:gd name="connsiteX101" fmla="*/ 8636594 w 8636594"/>
              <a:gd name="connsiteY101" fmla="*/ 0 h 5960574"/>
              <a:gd name="connsiteX0" fmla="*/ 8636594 w 8636594"/>
              <a:gd name="connsiteY0" fmla="*/ 0 h 5936250"/>
              <a:gd name="connsiteX1" fmla="*/ 5293 w 8636594"/>
              <a:gd name="connsiteY1" fmla="*/ 0 h 5936250"/>
              <a:gd name="connsiteX2" fmla="*/ 0 w 8636594"/>
              <a:gd name="connsiteY2" fmla="*/ 5587843 h 5936250"/>
              <a:gd name="connsiteX3" fmla="*/ 3960096 w 8636594"/>
              <a:gd name="connsiteY3" fmla="*/ 5936250 h 5936250"/>
              <a:gd name="connsiteX4" fmla="*/ 3998311 w 8636594"/>
              <a:gd name="connsiteY4" fmla="*/ 5911619 h 5936250"/>
              <a:gd name="connsiteX5" fmla="*/ 4036095 w 8636594"/>
              <a:gd name="connsiteY5" fmla="*/ 5886685 h 5936250"/>
              <a:gd name="connsiteX6" fmla="*/ 4073456 w 8636594"/>
              <a:gd name="connsiteY6" fmla="*/ 5861452 h 5936250"/>
              <a:gd name="connsiteX7" fmla="*/ 4110400 w 8636594"/>
              <a:gd name="connsiteY7" fmla="*/ 5835922 h 5936250"/>
              <a:gd name="connsiteX8" fmla="*/ 4146933 w 8636594"/>
              <a:gd name="connsiteY8" fmla="*/ 5810100 h 5936250"/>
              <a:gd name="connsiteX9" fmla="*/ 4183061 w 8636594"/>
              <a:gd name="connsiteY9" fmla="*/ 5783988 h 5936250"/>
              <a:gd name="connsiteX10" fmla="*/ 4218791 w 8636594"/>
              <a:gd name="connsiteY10" fmla="*/ 5757591 h 5936250"/>
              <a:gd name="connsiteX11" fmla="*/ 4254129 w 8636594"/>
              <a:gd name="connsiteY11" fmla="*/ 5730912 h 5936250"/>
              <a:gd name="connsiteX12" fmla="*/ 4289081 w 8636594"/>
              <a:gd name="connsiteY12" fmla="*/ 5703955 h 5936250"/>
              <a:gd name="connsiteX13" fmla="*/ 4323654 w 8636594"/>
              <a:gd name="connsiteY13" fmla="*/ 5676722 h 5936250"/>
              <a:gd name="connsiteX14" fmla="*/ 4357854 w 8636594"/>
              <a:gd name="connsiteY14" fmla="*/ 5649218 h 5936250"/>
              <a:gd name="connsiteX15" fmla="*/ 4391688 w 8636594"/>
              <a:gd name="connsiteY15" fmla="*/ 5621446 h 5936250"/>
              <a:gd name="connsiteX16" fmla="*/ 4425162 w 8636594"/>
              <a:gd name="connsiteY16" fmla="*/ 5593409 h 5936250"/>
              <a:gd name="connsiteX17" fmla="*/ 4458281 w 8636594"/>
              <a:gd name="connsiteY17" fmla="*/ 5565111 h 5936250"/>
              <a:gd name="connsiteX18" fmla="*/ 4491053 w 8636594"/>
              <a:gd name="connsiteY18" fmla="*/ 5536556 h 5936250"/>
              <a:gd name="connsiteX19" fmla="*/ 4523484 w 8636594"/>
              <a:gd name="connsiteY19" fmla="*/ 5507747 h 5936250"/>
              <a:gd name="connsiteX20" fmla="*/ 4555580 w 8636594"/>
              <a:gd name="connsiteY20" fmla="*/ 5478687 h 5936250"/>
              <a:gd name="connsiteX21" fmla="*/ 4587347 w 8636594"/>
              <a:gd name="connsiteY21" fmla="*/ 5449380 h 5936250"/>
              <a:gd name="connsiteX22" fmla="*/ 4618793 w 8636594"/>
              <a:gd name="connsiteY22" fmla="*/ 5419830 h 5936250"/>
              <a:gd name="connsiteX23" fmla="*/ 4649922 w 8636594"/>
              <a:gd name="connsiteY23" fmla="*/ 5390040 h 5936250"/>
              <a:gd name="connsiteX24" fmla="*/ 4680742 w 8636594"/>
              <a:gd name="connsiteY24" fmla="*/ 5360014 h 5936250"/>
              <a:gd name="connsiteX25" fmla="*/ 4711259 w 8636594"/>
              <a:gd name="connsiteY25" fmla="*/ 5329755 h 5936250"/>
              <a:gd name="connsiteX26" fmla="*/ 4741478 w 8636594"/>
              <a:gd name="connsiteY26" fmla="*/ 5299266 h 5936250"/>
              <a:gd name="connsiteX27" fmla="*/ 4771408 w 8636594"/>
              <a:gd name="connsiteY27" fmla="*/ 5268551 h 5936250"/>
              <a:gd name="connsiteX28" fmla="*/ 4801053 w 8636594"/>
              <a:gd name="connsiteY28" fmla="*/ 5237614 h 5936250"/>
              <a:gd name="connsiteX29" fmla="*/ 4830420 w 8636594"/>
              <a:gd name="connsiteY29" fmla="*/ 5206458 h 5936250"/>
              <a:gd name="connsiteX30" fmla="*/ 4859516 w 8636594"/>
              <a:gd name="connsiteY30" fmla="*/ 5175087 h 5936250"/>
              <a:gd name="connsiteX31" fmla="*/ 4888347 w 8636594"/>
              <a:gd name="connsiteY31" fmla="*/ 5143504 h 5936250"/>
              <a:gd name="connsiteX32" fmla="*/ 4916919 w 8636594"/>
              <a:gd name="connsiteY32" fmla="*/ 5111713 h 5936250"/>
              <a:gd name="connsiteX33" fmla="*/ 4945238 w 8636594"/>
              <a:gd name="connsiteY33" fmla="*/ 5079717 h 5936250"/>
              <a:gd name="connsiteX34" fmla="*/ 4973311 w 8636594"/>
              <a:gd name="connsiteY34" fmla="*/ 5047519 h 5936250"/>
              <a:gd name="connsiteX35" fmla="*/ 5001145 w 8636594"/>
              <a:gd name="connsiteY35" fmla="*/ 5015124 h 5936250"/>
              <a:gd name="connsiteX36" fmla="*/ 5028745 w 8636594"/>
              <a:gd name="connsiteY36" fmla="*/ 4982535 h 5936250"/>
              <a:gd name="connsiteX37" fmla="*/ 5056117 w 8636594"/>
              <a:gd name="connsiteY37" fmla="*/ 4949755 h 5936250"/>
              <a:gd name="connsiteX38" fmla="*/ 5083269 w 8636594"/>
              <a:gd name="connsiteY38" fmla="*/ 4916787 h 5936250"/>
              <a:gd name="connsiteX39" fmla="*/ 5110207 w 8636594"/>
              <a:gd name="connsiteY39" fmla="*/ 4883636 h 5936250"/>
              <a:gd name="connsiteX40" fmla="*/ 5136937 w 8636594"/>
              <a:gd name="connsiteY40" fmla="*/ 4850305 h 5936250"/>
              <a:gd name="connsiteX41" fmla="*/ 5163464 w 8636594"/>
              <a:gd name="connsiteY41" fmla="*/ 4816797 h 5936250"/>
              <a:gd name="connsiteX42" fmla="*/ 5215940 w 8636594"/>
              <a:gd name="connsiteY42" fmla="*/ 4749265 h 5936250"/>
              <a:gd name="connsiteX43" fmla="*/ 5267684 w 8636594"/>
              <a:gd name="connsiteY43" fmla="*/ 4681068 h 5936250"/>
              <a:gd name="connsiteX44" fmla="*/ 5318748 w 8636594"/>
              <a:gd name="connsiteY44" fmla="*/ 4612234 h 5936250"/>
              <a:gd name="connsiteX45" fmla="*/ 5369182 w 8636594"/>
              <a:gd name="connsiteY45" fmla="*/ 4542793 h 5936250"/>
              <a:gd name="connsiteX46" fmla="*/ 5419038 w 8636594"/>
              <a:gd name="connsiteY46" fmla="*/ 4472771 h 5936250"/>
              <a:gd name="connsiteX47" fmla="*/ 5468365 w 8636594"/>
              <a:gd name="connsiteY47" fmla="*/ 4402196 h 5936250"/>
              <a:gd name="connsiteX48" fmla="*/ 5517215 w 8636594"/>
              <a:gd name="connsiteY48" fmla="*/ 4331098 h 5936250"/>
              <a:gd name="connsiteX49" fmla="*/ 5565637 w 8636594"/>
              <a:gd name="connsiteY49" fmla="*/ 4259503 h 5936250"/>
              <a:gd name="connsiteX50" fmla="*/ 5613684 w 8636594"/>
              <a:gd name="connsiteY50" fmla="*/ 4187441 h 5936250"/>
              <a:gd name="connsiteX51" fmla="*/ 5685160 w 8636594"/>
              <a:gd name="connsiteY51" fmla="*/ 4078531 h 5936250"/>
              <a:gd name="connsiteX52" fmla="*/ 5756074 w 8636594"/>
              <a:gd name="connsiteY52" fmla="*/ 3968727 h 5936250"/>
              <a:gd name="connsiteX53" fmla="*/ 5873483 w 8636594"/>
              <a:gd name="connsiteY53" fmla="*/ 3783989 h 5936250"/>
              <a:gd name="connsiteX54" fmla="*/ 6203209 w 8636594"/>
              <a:gd name="connsiteY54" fmla="*/ 3258640 h 5936250"/>
              <a:gd name="connsiteX55" fmla="*/ 6299430 w 8636594"/>
              <a:gd name="connsiteY55" fmla="*/ 3107321 h 5936250"/>
              <a:gd name="connsiteX56" fmla="*/ 6372650 w 8636594"/>
              <a:gd name="connsiteY56" fmla="*/ 2993735 h 5936250"/>
              <a:gd name="connsiteX57" fmla="*/ 6453197 w 8636594"/>
              <a:gd name="connsiteY57" fmla="*/ 2869788 h 5936250"/>
              <a:gd name="connsiteX58" fmla="*/ 6564167 w 8636594"/>
              <a:gd name="connsiteY58" fmla="*/ 2696807 h 5936250"/>
              <a:gd name="connsiteX59" fmla="*/ 6976233 w 8636594"/>
              <a:gd name="connsiteY59" fmla="*/ 2045274 h 5936250"/>
              <a:gd name="connsiteX60" fmla="*/ 7086755 w 8636594"/>
              <a:gd name="connsiteY60" fmla="*/ 1872743 h 5936250"/>
              <a:gd name="connsiteX61" fmla="*/ 7170279 w 8636594"/>
              <a:gd name="connsiteY61" fmla="*/ 1744202 h 5936250"/>
              <a:gd name="connsiteX62" fmla="*/ 7226351 w 8636594"/>
              <a:gd name="connsiteY62" fmla="*/ 1659017 h 5936250"/>
              <a:gd name="connsiteX63" fmla="*/ 7282789 w 8636594"/>
              <a:gd name="connsiteY63" fmla="*/ 1574303 h 5936250"/>
              <a:gd name="connsiteX64" fmla="*/ 7339643 w 8636594"/>
              <a:gd name="connsiteY64" fmla="*/ 1490113 h 5936250"/>
              <a:gd name="connsiteX65" fmla="*/ 7396957 w 8636594"/>
              <a:gd name="connsiteY65" fmla="*/ 1406503 h 5936250"/>
              <a:gd name="connsiteX66" fmla="*/ 7454781 w 8636594"/>
              <a:gd name="connsiteY66" fmla="*/ 1323526 h 5936250"/>
              <a:gd name="connsiteX67" fmla="*/ 7513161 w 8636594"/>
              <a:gd name="connsiteY67" fmla="*/ 1241237 h 5936250"/>
              <a:gd name="connsiteX68" fmla="*/ 7572144 w 8636594"/>
              <a:gd name="connsiteY68" fmla="*/ 1159689 h 5936250"/>
              <a:gd name="connsiteX69" fmla="*/ 7601877 w 8636594"/>
              <a:gd name="connsiteY69" fmla="*/ 1119210 h 5936250"/>
              <a:gd name="connsiteX70" fmla="*/ 7631779 w 8636594"/>
              <a:gd name="connsiteY70" fmla="*/ 1078937 h 5936250"/>
              <a:gd name="connsiteX71" fmla="*/ 7661855 w 8636594"/>
              <a:gd name="connsiteY71" fmla="*/ 1038876 h 5936250"/>
              <a:gd name="connsiteX72" fmla="*/ 7692111 w 8636594"/>
              <a:gd name="connsiteY72" fmla="*/ 999035 h 5936250"/>
              <a:gd name="connsiteX73" fmla="*/ 7722554 w 8636594"/>
              <a:gd name="connsiteY73" fmla="*/ 959419 h 5936250"/>
              <a:gd name="connsiteX74" fmla="*/ 7753190 w 8636594"/>
              <a:gd name="connsiteY74" fmla="*/ 920037 h 5936250"/>
              <a:gd name="connsiteX75" fmla="*/ 7784023 w 8636594"/>
              <a:gd name="connsiteY75" fmla="*/ 880894 h 5936250"/>
              <a:gd name="connsiteX76" fmla="*/ 7815061 w 8636594"/>
              <a:gd name="connsiteY76" fmla="*/ 841997 h 5936250"/>
              <a:gd name="connsiteX77" fmla="*/ 7846308 w 8636594"/>
              <a:gd name="connsiteY77" fmla="*/ 803354 h 5936250"/>
              <a:gd name="connsiteX78" fmla="*/ 7877772 w 8636594"/>
              <a:gd name="connsiteY78" fmla="*/ 764970 h 5936250"/>
              <a:gd name="connsiteX79" fmla="*/ 7909458 w 8636594"/>
              <a:gd name="connsiteY79" fmla="*/ 726853 h 5936250"/>
              <a:gd name="connsiteX80" fmla="*/ 7941371 w 8636594"/>
              <a:gd name="connsiteY80" fmla="*/ 689010 h 5936250"/>
              <a:gd name="connsiteX81" fmla="*/ 7973518 w 8636594"/>
              <a:gd name="connsiteY81" fmla="*/ 651447 h 5936250"/>
              <a:gd name="connsiteX82" fmla="*/ 8005905 w 8636594"/>
              <a:gd name="connsiteY82" fmla="*/ 614171 h 5936250"/>
              <a:gd name="connsiteX83" fmla="*/ 8038538 w 8636594"/>
              <a:gd name="connsiteY83" fmla="*/ 577189 h 5936250"/>
              <a:gd name="connsiteX84" fmla="*/ 8071421 w 8636594"/>
              <a:gd name="connsiteY84" fmla="*/ 540507 h 5936250"/>
              <a:gd name="connsiteX85" fmla="*/ 8104563 w 8636594"/>
              <a:gd name="connsiteY85" fmla="*/ 504132 h 5936250"/>
              <a:gd name="connsiteX86" fmla="*/ 8137967 w 8636594"/>
              <a:gd name="connsiteY86" fmla="*/ 468072 h 5936250"/>
              <a:gd name="connsiteX87" fmla="*/ 8171641 w 8636594"/>
              <a:gd name="connsiteY87" fmla="*/ 432332 h 5936250"/>
              <a:gd name="connsiteX88" fmla="*/ 8205590 w 8636594"/>
              <a:gd name="connsiteY88" fmla="*/ 396920 h 5936250"/>
              <a:gd name="connsiteX89" fmla="*/ 8239820 w 8636594"/>
              <a:gd name="connsiteY89" fmla="*/ 361843 h 5936250"/>
              <a:gd name="connsiteX90" fmla="*/ 8274337 w 8636594"/>
              <a:gd name="connsiteY90" fmla="*/ 327107 h 5936250"/>
              <a:gd name="connsiteX91" fmla="*/ 8309147 w 8636594"/>
              <a:gd name="connsiteY91" fmla="*/ 292718 h 5936250"/>
              <a:gd name="connsiteX92" fmla="*/ 8344256 w 8636594"/>
              <a:gd name="connsiteY92" fmla="*/ 258685 h 5936250"/>
              <a:gd name="connsiteX93" fmla="*/ 8379669 w 8636594"/>
              <a:gd name="connsiteY93" fmla="*/ 225013 h 5936250"/>
              <a:gd name="connsiteX94" fmla="*/ 8415394 w 8636594"/>
              <a:gd name="connsiteY94" fmla="*/ 191709 h 5936250"/>
              <a:gd name="connsiteX95" fmla="*/ 8451434 w 8636594"/>
              <a:gd name="connsiteY95" fmla="*/ 158780 h 5936250"/>
              <a:gd name="connsiteX96" fmla="*/ 8487798 w 8636594"/>
              <a:gd name="connsiteY96" fmla="*/ 126233 h 5936250"/>
              <a:gd name="connsiteX97" fmla="*/ 8524489 w 8636594"/>
              <a:gd name="connsiteY97" fmla="*/ 94075 h 5936250"/>
              <a:gd name="connsiteX98" fmla="*/ 8561515 w 8636594"/>
              <a:gd name="connsiteY98" fmla="*/ 62312 h 5936250"/>
              <a:gd name="connsiteX99" fmla="*/ 8598881 w 8636594"/>
              <a:gd name="connsiteY99" fmla="*/ 30951 h 5936250"/>
              <a:gd name="connsiteX100" fmla="*/ 8636594 w 8636594"/>
              <a:gd name="connsiteY100" fmla="*/ 0 h 5936250"/>
              <a:gd name="connsiteX0" fmla="*/ 8636594 w 8636594"/>
              <a:gd name="connsiteY0" fmla="*/ 0 h 5911619"/>
              <a:gd name="connsiteX1" fmla="*/ 5293 w 8636594"/>
              <a:gd name="connsiteY1" fmla="*/ 0 h 5911619"/>
              <a:gd name="connsiteX2" fmla="*/ 0 w 8636594"/>
              <a:gd name="connsiteY2" fmla="*/ 5587843 h 5911619"/>
              <a:gd name="connsiteX3" fmla="*/ 3998311 w 8636594"/>
              <a:gd name="connsiteY3" fmla="*/ 5911619 h 5911619"/>
              <a:gd name="connsiteX4" fmla="*/ 4036095 w 8636594"/>
              <a:gd name="connsiteY4" fmla="*/ 5886685 h 5911619"/>
              <a:gd name="connsiteX5" fmla="*/ 4073456 w 8636594"/>
              <a:gd name="connsiteY5" fmla="*/ 5861452 h 5911619"/>
              <a:gd name="connsiteX6" fmla="*/ 4110400 w 8636594"/>
              <a:gd name="connsiteY6" fmla="*/ 5835922 h 5911619"/>
              <a:gd name="connsiteX7" fmla="*/ 4146933 w 8636594"/>
              <a:gd name="connsiteY7" fmla="*/ 5810100 h 5911619"/>
              <a:gd name="connsiteX8" fmla="*/ 4183061 w 8636594"/>
              <a:gd name="connsiteY8" fmla="*/ 5783988 h 5911619"/>
              <a:gd name="connsiteX9" fmla="*/ 4218791 w 8636594"/>
              <a:gd name="connsiteY9" fmla="*/ 5757591 h 5911619"/>
              <a:gd name="connsiteX10" fmla="*/ 4254129 w 8636594"/>
              <a:gd name="connsiteY10" fmla="*/ 5730912 h 5911619"/>
              <a:gd name="connsiteX11" fmla="*/ 4289081 w 8636594"/>
              <a:gd name="connsiteY11" fmla="*/ 5703955 h 5911619"/>
              <a:gd name="connsiteX12" fmla="*/ 4323654 w 8636594"/>
              <a:gd name="connsiteY12" fmla="*/ 5676722 h 5911619"/>
              <a:gd name="connsiteX13" fmla="*/ 4357854 w 8636594"/>
              <a:gd name="connsiteY13" fmla="*/ 5649218 h 5911619"/>
              <a:gd name="connsiteX14" fmla="*/ 4391688 w 8636594"/>
              <a:gd name="connsiteY14" fmla="*/ 5621446 h 5911619"/>
              <a:gd name="connsiteX15" fmla="*/ 4425162 w 8636594"/>
              <a:gd name="connsiteY15" fmla="*/ 5593409 h 5911619"/>
              <a:gd name="connsiteX16" fmla="*/ 4458281 w 8636594"/>
              <a:gd name="connsiteY16" fmla="*/ 5565111 h 5911619"/>
              <a:gd name="connsiteX17" fmla="*/ 4491053 w 8636594"/>
              <a:gd name="connsiteY17" fmla="*/ 5536556 h 5911619"/>
              <a:gd name="connsiteX18" fmla="*/ 4523484 w 8636594"/>
              <a:gd name="connsiteY18" fmla="*/ 5507747 h 5911619"/>
              <a:gd name="connsiteX19" fmla="*/ 4555580 w 8636594"/>
              <a:gd name="connsiteY19" fmla="*/ 5478687 h 5911619"/>
              <a:gd name="connsiteX20" fmla="*/ 4587347 w 8636594"/>
              <a:gd name="connsiteY20" fmla="*/ 5449380 h 5911619"/>
              <a:gd name="connsiteX21" fmla="*/ 4618793 w 8636594"/>
              <a:gd name="connsiteY21" fmla="*/ 5419830 h 5911619"/>
              <a:gd name="connsiteX22" fmla="*/ 4649922 w 8636594"/>
              <a:gd name="connsiteY22" fmla="*/ 5390040 h 5911619"/>
              <a:gd name="connsiteX23" fmla="*/ 4680742 w 8636594"/>
              <a:gd name="connsiteY23" fmla="*/ 5360014 h 5911619"/>
              <a:gd name="connsiteX24" fmla="*/ 4711259 w 8636594"/>
              <a:gd name="connsiteY24" fmla="*/ 5329755 h 5911619"/>
              <a:gd name="connsiteX25" fmla="*/ 4741478 w 8636594"/>
              <a:gd name="connsiteY25" fmla="*/ 5299266 h 5911619"/>
              <a:gd name="connsiteX26" fmla="*/ 4771408 w 8636594"/>
              <a:gd name="connsiteY26" fmla="*/ 5268551 h 5911619"/>
              <a:gd name="connsiteX27" fmla="*/ 4801053 w 8636594"/>
              <a:gd name="connsiteY27" fmla="*/ 5237614 h 5911619"/>
              <a:gd name="connsiteX28" fmla="*/ 4830420 w 8636594"/>
              <a:gd name="connsiteY28" fmla="*/ 5206458 h 5911619"/>
              <a:gd name="connsiteX29" fmla="*/ 4859516 w 8636594"/>
              <a:gd name="connsiteY29" fmla="*/ 5175087 h 5911619"/>
              <a:gd name="connsiteX30" fmla="*/ 4888347 w 8636594"/>
              <a:gd name="connsiteY30" fmla="*/ 5143504 h 5911619"/>
              <a:gd name="connsiteX31" fmla="*/ 4916919 w 8636594"/>
              <a:gd name="connsiteY31" fmla="*/ 5111713 h 5911619"/>
              <a:gd name="connsiteX32" fmla="*/ 4945238 w 8636594"/>
              <a:gd name="connsiteY32" fmla="*/ 5079717 h 5911619"/>
              <a:gd name="connsiteX33" fmla="*/ 4973311 w 8636594"/>
              <a:gd name="connsiteY33" fmla="*/ 5047519 h 5911619"/>
              <a:gd name="connsiteX34" fmla="*/ 5001145 w 8636594"/>
              <a:gd name="connsiteY34" fmla="*/ 5015124 h 5911619"/>
              <a:gd name="connsiteX35" fmla="*/ 5028745 w 8636594"/>
              <a:gd name="connsiteY35" fmla="*/ 4982535 h 5911619"/>
              <a:gd name="connsiteX36" fmla="*/ 5056117 w 8636594"/>
              <a:gd name="connsiteY36" fmla="*/ 4949755 h 5911619"/>
              <a:gd name="connsiteX37" fmla="*/ 5083269 w 8636594"/>
              <a:gd name="connsiteY37" fmla="*/ 4916787 h 5911619"/>
              <a:gd name="connsiteX38" fmla="*/ 5110207 w 8636594"/>
              <a:gd name="connsiteY38" fmla="*/ 4883636 h 5911619"/>
              <a:gd name="connsiteX39" fmla="*/ 5136937 w 8636594"/>
              <a:gd name="connsiteY39" fmla="*/ 4850305 h 5911619"/>
              <a:gd name="connsiteX40" fmla="*/ 5163464 w 8636594"/>
              <a:gd name="connsiteY40" fmla="*/ 4816797 h 5911619"/>
              <a:gd name="connsiteX41" fmla="*/ 5215940 w 8636594"/>
              <a:gd name="connsiteY41" fmla="*/ 4749265 h 5911619"/>
              <a:gd name="connsiteX42" fmla="*/ 5267684 w 8636594"/>
              <a:gd name="connsiteY42" fmla="*/ 4681068 h 5911619"/>
              <a:gd name="connsiteX43" fmla="*/ 5318748 w 8636594"/>
              <a:gd name="connsiteY43" fmla="*/ 4612234 h 5911619"/>
              <a:gd name="connsiteX44" fmla="*/ 5369182 w 8636594"/>
              <a:gd name="connsiteY44" fmla="*/ 4542793 h 5911619"/>
              <a:gd name="connsiteX45" fmla="*/ 5419038 w 8636594"/>
              <a:gd name="connsiteY45" fmla="*/ 4472771 h 5911619"/>
              <a:gd name="connsiteX46" fmla="*/ 5468365 w 8636594"/>
              <a:gd name="connsiteY46" fmla="*/ 4402196 h 5911619"/>
              <a:gd name="connsiteX47" fmla="*/ 5517215 w 8636594"/>
              <a:gd name="connsiteY47" fmla="*/ 4331098 h 5911619"/>
              <a:gd name="connsiteX48" fmla="*/ 5565637 w 8636594"/>
              <a:gd name="connsiteY48" fmla="*/ 4259503 h 5911619"/>
              <a:gd name="connsiteX49" fmla="*/ 5613684 w 8636594"/>
              <a:gd name="connsiteY49" fmla="*/ 4187441 h 5911619"/>
              <a:gd name="connsiteX50" fmla="*/ 5685160 w 8636594"/>
              <a:gd name="connsiteY50" fmla="*/ 4078531 h 5911619"/>
              <a:gd name="connsiteX51" fmla="*/ 5756074 w 8636594"/>
              <a:gd name="connsiteY51" fmla="*/ 3968727 h 5911619"/>
              <a:gd name="connsiteX52" fmla="*/ 5873483 w 8636594"/>
              <a:gd name="connsiteY52" fmla="*/ 3783989 h 5911619"/>
              <a:gd name="connsiteX53" fmla="*/ 6203209 w 8636594"/>
              <a:gd name="connsiteY53" fmla="*/ 3258640 h 5911619"/>
              <a:gd name="connsiteX54" fmla="*/ 6299430 w 8636594"/>
              <a:gd name="connsiteY54" fmla="*/ 3107321 h 5911619"/>
              <a:gd name="connsiteX55" fmla="*/ 6372650 w 8636594"/>
              <a:gd name="connsiteY55" fmla="*/ 2993735 h 5911619"/>
              <a:gd name="connsiteX56" fmla="*/ 6453197 w 8636594"/>
              <a:gd name="connsiteY56" fmla="*/ 2869788 h 5911619"/>
              <a:gd name="connsiteX57" fmla="*/ 6564167 w 8636594"/>
              <a:gd name="connsiteY57" fmla="*/ 2696807 h 5911619"/>
              <a:gd name="connsiteX58" fmla="*/ 6976233 w 8636594"/>
              <a:gd name="connsiteY58" fmla="*/ 2045274 h 5911619"/>
              <a:gd name="connsiteX59" fmla="*/ 7086755 w 8636594"/>
              <a:gd name="connsiteY59" fmla="*/ 1872743 h 5911619"/>
              <a:gd name="connsiteX60" fmla="*/ 7170279 w 8636594"/>
              <a:gd name="connsiteY60" fmla="*/ 1744202 h 5911619"/>
              <a:gd name="connsiteX61" fmla="*/ 7226351 w 8636594"/>
              <a:gd name="connsiteY61" fmla="*/ 1659017 h 5911619"/>
              <a:gd name="connsiteX62" fmla="*/ 7282789 w 8636594"/>
              <a:gd name="connsiteY62" fmla="*/ 1574303 h 5911619"/>
              <a:gd name="connsiteX63" fmla="*/ 7339643 w 8636594"/>
              <a:gd name="connsiteY63" fmla="*/ 1490113 h 5911619"/>
              <a:gd name="connsiteX64" fmla="*/ 7396957 w 8636594"/>
              <a:gd name="connsiteY64" fmla="*/ 1406503 h 5911619"/>
              <a:gd name="connsiteX65" fmla="*/ 7454781 w 8636594"/>
              <a:gd name="connsiteY65" fmla="*/ 1323526 h 5911619"/>
              <a:gd name="connsiteX66" fmla="*/ 7513161 w 8636594"/>
              <a:gd name="connsiteY66" fmla="*/ 1241237 h 5911619"/>
              <a:gd name="connsiteX67" fmla="*/ 7572144 w 8636594"/>
              <a:gd name="connsiteY67" fmla="*/ 1159689 h 5911619"/>
              <a:gd name="connsiteX68" fmla="*/ 7601877 w 8636594"/>
              <a:gd name="connsiteY68" fmla="*/ 1119210 h 5911619"/>
              <a:gd name="connsiteX69" fmla="*/ 7631779 w 8636594"/>
              <a:gd name="connsiteY69" fmla="*/ 1078937 h 5911619"/>
              <a:gd name="connsiteX70" fmla="*/ 7661855 w 8636594"/>
              <a:gd name="connsiteY70" fmla="*/ 1038876 h 5911619"/>
              <a:gd name="connsiteX71" fmla="*/ 7692111 w 8636594"/>
              <a:gd name="connsiteY71" fmla="*/ 999035 h 5911619"/>
              <a:gd name="connsiteX72" fmla="*/ 7722554 w 8636594"/>
              <a:gd name="connsiteY72" fmla="*/ 959419 h 5911619"/>
              <a:gd name="connsiteX73" fmla="*/ 7753190 w 8636594"/>
              <a:gd name="connsiteY73" fmla="*/ 920037 h 5911619"/>
              <a:gd name="connsiteX74" fmla="*/ 7784023 w 8636594"/>
              <a:gd name="connsiteY74" fmla="*/ 880894 h 5911619"/>
              <a:gd name="connsiteX75" fmla="*/ 7815061 w 8636594"/>
              <a:gd name="connsiteY75" fmla="*/ 841997 h 5911619"/>
              <a:gd name="connsiteX76" fmla="*/ 7846308 w 8636594"/>
              <a:gd name="connsiteY76" fmla="*/ 803354 h 5911619"/>
              <a:gd name="connsiteX77" fmla="*/ 7877772 w 8636594"/>
              <a:gd name="connsiteY77" fmla="*/ 764970 h 5911619"/>
              <a:gd name="connsiteX78" fmla="*/ 7909458 w 8636594"/>
              <a:gd name="connsiteY78" fmla="*/ 726853 h 5911619"/>
              <a:gd name="connsiteX79" fmla="*/ 7941371 w 8636594"/>
              <a:gd name="connsiteY79" fmla="*/ 689010 h 5911619"/>
              <a:gd name="connsiteX80" fmla="*/ 7973518 w 8636594"/>
              <a:gd name="connsiteY80" fmla="*/ 651447 h 5911619"/>
              <a:gd name="connsiteX81" fmla="*/ 8005905 w 8636594"/>
              <a:gd name="connsiteY81" fmla="*/ 614171 h 5911619"/>
              <a:gd name="connsiteX82" fmla="*/ 8038538 w 8636594"/>
              <a:gd name="connsiteY82" fmla="*/ 577189 h 5911619"/>
              <a:gd name="connsiteX83" fmla="*/ 8071421 w 8636594"/>
              <a:gd name="connsiteY83" fmla="*/ 540507 h 5911619"/>
              <a:gd name="connsiteX84" fmla="*/ 8104563 w 8636594"/>
              <a:gd name="connsiteY84" fmla="*/ 504132 h 5911619"/>
              <a:gd name="connsiteX85" fmla="*/ 8137967 w 8636594"/>
              <a:gd name="connsiteY85" fmla="*/ 468072 h 5911619"/>
              <a:gd name="connsiteX86" fmla="*/ 8171641 w 8636594"/>
              <a:gd name="connsiteY86" fmla="*/ 432332 h 5911619"/>
              <a:gd name="connsiteX87" fmla="*/ 8205590 w 8636594"/>
              <a:gd name="connsiteY87" fmla="*/ 396920 h 5911619"/>
              <a:gd name="connsiteX88" fmla="*/ 8239820 w 8636594"/>
              <a:gd name="connsiteY88" fmla="*/ 361843 h 5911619"/>
              <a:gd name="connsiteX89" fmla="*/ 8274337 w 8636594"/>
              <a:gd name="connsiteY89" fmla="*/ 327107 h 5911619"/>
              <a:gd name="connsiteX90" fmla="*/ 8309147 w 8636594"/>
              <a:gd name="connsiteY90" fmla="*/ 292718 h 5911619"/>
              <a:gd name="connsiteX91" fmla="*/ 8344256 w 8636594"/>
              <a:gd name="connsiteY91" fmla="*/ 258685 h 5911619"/>
              <a:gd name="connsiteX92" fmla="*/ 8379669 w 8636594"/>
              <a:gd name="connsiteY92" fmla="*/ 225013 h 5911619"/>
              <a:gd name="connsiteX93" fmla="*/ 8415394 w 8636594"/>
              <a:gd name="connsiteY93" fmla="*/ 191709 h 5911619"/>
              <a:gd name="connsiteX94" fmla="*/ 8451434 w 8636594"/>
              <a:gd name="connsiteY94" fmla="*/ 158780 h 5911619"/>
              <a:gd name="connsiteX95" fmla="*/ 8487798 w 8636594"/>
              <a:gd name="connsiteY95" fmla="*/ 126233 h 5911619"/>
              <a:gd name="connsiteX96" fmla="*/ 8524489 w 8636594"/>
              <a:gd name="connsiteY96" fmla="*/ 94075 h 5911619"/>
              <a:gd name="connsiteX97" fmla="*/ 8561515 w 8636594"/>
              <a:gd name="connsiteY97" fmla="*/ 62312 h 5911619"/>
              <a:gd name="connsiteX98" fmla="*/ 8598881 w 8636594"/>
              <a:gd name="connsiteY98" fmla="*/ 30951 h 5911619"/>
              <a:gd name="connsiteX99" fmla="*/ 8636594 w 8636594"/>
              <a:gd name="connsiteY99" fmla="*/ 0 h 5911619"/>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073456 w 8636594"/>
              <a:gd name="connsiteY4" fmla="*/ 5861452 h 5886685"/>
              <a:gd name="connsiteX5" fmla="*/ 4110400 w 8636594"/>
              <a:gd name="connsiteY5" fmla="*/ 5835922 h 5886685"/>
              <a:gd name="connsiteX6" fmla="*/ 4146933 w 8636594"/>
              <a:gd name="connsiteY6" fmla="*/ 5810100 h 5886685"/>
              <a:gd name="connsiteX7" fmla="*/ 4183061 w 8636594"/>
              <a:gd name="connsiteY7" fmla="*/ 5783988 h 5886685"/>
              <a:gd name="connsiteX8" fmla="*/ 4218791 w 8636594"/>
              <a:gd name="connsiteY8" fmla="*/ 5757591 h 5886685"/>
              <a:gd name="connsiteX9" fmla="*/ 4254129 w 8636594"/>
              <a:gd name="connsiteY9" fmla="*/ 5730912 h 5886685"/>
              <a:gd name="connsiteX10" fmla="*/ 4289081 w 8636594"/>
              <a:gd name="connsiteY10" fmla="*/ 5703955 h 5886685"/>
              <a:gd name="connsiteX11" fmla="*/ 4323654 w 8636594"/>
              <a:gd name="connsiteY11" fmla="*/ 5676722 h 5886685"/>
              <a:gd name="connsiteX12" fmla="*/ 4357854 w 8636594"/>
              <a:gd name="connsiteY12" fmla="*/ 5649218 h 5886685"/>
              <a:gd name="connsiteX13" fmla="*/ 4391688 w 8636594"/>
              <a:gd name="connsiteY13" fmla="*/ 5621446 h 5886685"/>
              <a:gd name="connsiteX14" fmla="*/ 4425162 w 8636594"/>
              <a:gd name="connsiteY14" fmla="*/ 5593409 h 5886685"/>
              <a:gd name="connsiteX15" fmla="*/ 4458281 w 8636594"/>
              <a:gd name="connsiteY15" fmla="*/ 5565111 h 5886685"/>
              <a:gd name="connsiteX16" fmla="*/ 4491053 w 8636594"/>
              <a:gd name="connsiteY16" fmla="*/ 5536556 h 5886685"/>
              <a:gd name="connsiteX17" fmla="*/ 4523484 w 8636594"/>
              <a:gd name="connsiteY17" fmla="*/ 5507747 h 5886685"/>
              <a:gd name="connsiteX18" fmla="*/ 4555580 w 8636594"/>
              <a:gd name="connsiteY18" fmla="*/ 5478687 h 5886685"/>
              <a:gd name="connsiteX19" fmla="*/ 4587347 w 8636594"/>
              <a:gd name="connsiteY19" fmla="*/ 5449380 h 5886685"/>
              <a:gd name="connsiteX20" fmla="*/ 4618793 w 8636594"/>
              <a:gd name="connsiteY20" fmla="*/ 5419830 h 5886685"/>
              <a:gd name="connsiteX21" fmla="*/ 4649922 w 8636594"/>
              <a:gd name="connsiteY21" fmla="*/ 5390040 h 5886685"/>
              <a:gd name="connsiteX22" fmla="*/ 4680742 w 8636594"/>
              <a:gd name="connsiteY22" fmla="*/ 5360014 h 5886685"/>
              <a:gd name="connsiteX23" fmla="*/ 4711259 w 8636594"/>
              <a:gd name="connsiteY23" fmla="*/ 5329755 h 5886685"/>
              <a:gd name="connsiteX24" fmla="*/ 4741478 w 8636594"/>
              <a:gd name="connsiteY24" fmla="*/ 5299266 h 5886685"/>
              <a:gd name="connsiteX25" fmla="*/ 4771408 w 8636594"/>
              <a:gd name="connsiteY25" fmla="*/ 5268551 h 5886685"/>
              <a:gd name="connsiteX26" fmla="*/ 4801053 w 8636594"/>
              <a:gd name="connsiteY26" fmla="*/ 5237614 h 5886685"/>
              <a:gd name="connsiteX27" fmla="*/ 4830420 w 8636594"/>
              <a:gd name="connsiteY27" fmla="*/ 5206458 h 5886685"/>
              <a:gd name="connsiteX28" fmla="*/ 4859516 w 8636594"/>
              <a:gd name="connsiteY28" fmla="*/ 5175087 h 5886685"/>
              <a:gd name="connsiteX29" fmla="*/ 4888347 w 8636594"/>
              <a:gd name="connsiteY29" fmla="*/ 5143504 h 5886685"/>
              <a:gd name="connsiteX30" fmla="*/ 4916919 w 8636594"/>
              <a:gd name="connsiteY30" fmla="*/ 5111713 h 5886685"/>
              <a:gd name="connsiteX31" fmla="*/ 4945238 w 8636594"/>
              <a:gd name="connsiteY31" fmla="*/ 5079717 h 5886685"/>
              <a:gd name="connsiteX32" fmla="*/ 4973311 w 8636594"/>
              <a:gd name="connsiteY32" fmla="*/ 5047519 h 5886685"/>
              <a:gd name="connsiteX33" fmla="*/ 5001145 w 8636594"/>
              <a:gd name="connsiteY33" fmla="*/ 5015124 h 5886685"/>
              <a:gd name="connsiteX34" fmla="*/ 5028745 w 8636594"/>
              <a:gd name="connsiteY34" fmla="*/ 4982535 h 5886685"/>
              <a:gd name="connsiteX35" fmla="*/ 5056117 w 8636594"/>
              <a:gd name="connsiteY35" fmla="*/ 4949755 h 5886685"/>
              <a:gd name="connsiteX36" fmla="*/ 5083269 w 8636594"/>
              <a:gd name="connsiteY36" fmla="*/ 4916787 h 5886685"/>
              <a:gd name="connsiteX37" fmla="*/ 5110207 w 8636594"/>
              <a:gd name="connsiteY37" fmla="*/ 4883636 h 5886685"/>
              <a:gd name="connsiteX38" fmla="*/ 5136937 w 8636594"/>
              <a:gd name="connsiteY38" fmla="*/ 4850305 h 5886685"/>
              <a:gd name="connsiteX39" fmla="*/ 5163464 w 8636594"/>
              <a:gd name="connsiteY39" fmla="*/ 4816797 h 5886685"/>
              <a:gd name="connsiteX40" fmla="*/ 5215940 w 8636594"/>
              <a:gd name="connsiteY40" fmla="*/ 4749265 h 5886685"/>
              <a:gd name="connsiteX41" fmla="*/ 5267684 w 8636594"/>
              <a:gd name="connsiteY41" fmla="*/ 4681068 h 5886685"/>
              <a:gd name="connsiteX42" fmla="*/ 5318748 w 8636594"/>
              <a:gd name="connsiteY42" fmla="*/ 4612234 h 5886685"/>
              <a:gd name="connsiteX43" fmla="*/ 5369182 w 8636594"/>
              <a:gd name="connsiteY43" fmla="*/ 4542793 h 5886685"/>
              <a:gd name="connsiteX44" fmla="*/ 5419038 w 8636594"/>
              <a:gd name="connsiteY44" fmla="*/ 4472771 h 5886685"/>
              <a:gd name="connsiteX45" fmla="*/ 5468365 w 8636594"/>
              <a:gd name="connsiteY45" fmla="*/ 4402196 h 5886685"/>
              <a:gd name="connsiteX46" fmla="*/ 5517215 w 8636594"/>
              <a:gd name="connsiteY46" fmla="*/ 4331098 h 5886685"/>
              <a:gd name="connsiteX47" fmla="*/ 5565637 w 8636594"/>
              <a:gd name="connsiteY47" fmla="*/ 4259503 h 5886685"/>
              <a:gd name="connsiteX48" fmla="*/ 5613684 w 8636594"/>
              <a:gd name="connsiteY48" fmla="*/ 4187441 h 5886685"/>
              <a:gd name="connsiteX49" fmla="*/ 5685160 w 8636594"/>
              <a:gd name="connsiteY49" fmla="*/ 4078531 h 5886685"/>
              <a:gd name="connsiteX50" fmla="*/ 5756074 w 8636594"/>
              <a:gd name="connsiteY50" fmla="*/ 3968727 h 5886685"/>
              <a:gd name="connsiteX51" fmla="*/ 5873483 w 8636594"/>
              <a:gd name="connsiteY51" fmla="*/ 3783989 h 5886685"/>
              <a:gd name="connsiteX52" fmla="*/ 6203209 w 8636594"/>
              <a:gd name="connsiteY52" fmla="*/ 3258640 h 5886685"/>
              <a:gd name="connsiteX53" fmla="*/ 6299430 w 8636594"/>
              <a:gd name="connsiteY53" fmla="*/ 3107321 h 5886685"/>
              <a:gd name="connsiteX54" fmla="*/ 6372650 w 8636594"/>
              <a:gd name="connsiteY54" fmla="*/ 2993735 h 5886685"/>
              <a:gd name="connsiteX55" fmla="*/ 6453197 w 8636594"/>
              <a:gd name="connsiteY55" fmla="*/ 2869788 h 5886685"/>
              <a:gd name="connsiteX56" fmla="*/ 6564167 w 8636594"/>
              <a:gd name="connsiteY56" fmla="*/ 2696807 h 5886685"/>
              <a:gd name="connsiteX57" fmla="*/ 6976233 w 8636594"/>
              <a:gd name="connsiteY57" fmla="*/ 2045274 h 5886685"/>
              <a:gd name="connsiteX58" fmla="*/ 7086755 w 8636594"/>
              <a:gd name="connsiteY58" fmla="*/ 1872743 h 5886685"/>
              <a:gd name="connsiteX59" fmla="*/ 7170279 w 8636594"/>
              <a:gd name="connsiteY59" fmla="*/ 1744202 h 5886685"/>
              <a:gd name="connsiteX60" fmla="*/ 7226351 w 8636594"/>
              <a:gd name="connsiteY60" fmla="*/ 1659017 h 5886685"/>
              <a:gd name="connsiteX61" fmla="*/ 7282789 w 8636594"/>
              <a:gd name="connsiteY61" fmla="*/ 1574303 h 5886685"/>
              <a:gd name="connsiteX62" fmla="*/ 7339643 w 8636594"/>
              <a:gd name="connsiteY62" fmla="*/ 1490113 h 5886685"/>
              <a:gd name="connsiteX63" fmla="*/ 7396957 w 8636594"/>
              <a:gd name="connsiteY63" fmla="*/ 1406503 h 5886685"/>
              <a:gd name="connsiteX64" fmla="*/ 7454781 w 8636594"/>
              <a:gd name="connsiteY64" fmla="*/ 1323526 h 5886685"/>
              <a:gd name="connsiteX65" fmla="*/ 7513161 w 8636594"/>
              <a:gd name="connsiteY65" fmla="*/ 1241237 h 5886685"/>
              <a:gd name="connsiteX66" fmla="*/ 7572144 w 8636594"/>
              <a:gd name="connsiteY66" fmla="*/ 1159689 h 5886685"/>
              <a:gd name="connsiteX67" fmla="*/ 7601877 w 8636594"/>
              <a:gd name="connsiteY67" fmla="*/ 1119210 h 5886685"/>
              <a:gd name="connsiteX68" fmla="*/ 7631779 w 8636594"/>
              <a:gd name="connsiteY68" fmla="*/ 1078937 h 5886685"/>
              <a:gd name="connsiteX69" fmla="*/ 7661855 w 8636594"/>
              <a:gd name="connsiteY69" fmla="*/ 1038876 h 5886685"/>
              <a:gd name="connsiteX70" fmla="*/ 7692111 w 8636594"/>
              <a:gd name="connsiteY70" fmla="*/ 999035 h 5886685"/>
              <a:gd name="connsiteX71" fmla="*/ 7722554 w 8636594"/>
              <a:gd name="connsiteY71" fmla="*/ 959419 h 5886685"/>
              <a:gd name="connsiteX72" fmla="*/ 7753190 w 8636594"/>
              <a:gd name="connsiteY72" fmla="*/ 920037 h 5886685"/>
              <a:gd name="connsiteX73" fmla="*/ 7784023 w 8636594"/>
              <a:gd name="connsiteY73" fmla="*/ 880894 h 5886685"/>
              <a:gd name="connsiteX74" fmla="*/ 7815061 w 8636594"/>
              <a:gd name="connsiteY74" fmla="*/ 841997 h 5886685"/>
              <a:gd name="connsiteX75" fmla="*/ 7846308 w 8636594"/>
              <a:gd name="connsiteY75" fmla="*/ 803354 h 5886685"/>
              <a:gd name="connsiteX76" fmla="*/ 7877772 w 8636594"/>
              <a:gd name="connsiteY76" fmla="*/ 764970 h 5886685"/>
              <a:gd name="connsiteX77" fmla="*/ 7909458 w 8636594"/>
              <a:gd name="connsiteY77" fmla="*/ 726853 h 5886685"/>
              <a:gd name="connsiteX78" fmla="*/ 7941371 w 8636594"/>
              <a:gd name="connsiteY78" fmla="*/ 689010 h 5886685"/>
              <a:gd name="connsiteX79" fmla="*/ 7973518 w 8636594"/>
              <a:gd name="connsiteY79" fmla="*/ 651447 h 5886685"/>
              <a:gd name="connsiteX80" fmla="*/ 8005905 w 8636594"/>
              <a:gd name="connsiteY80" fmla="*/ 614171 h 5886685"/>
              <a:gd name="connsiteX81" fmla="*/ 8038538 w 8636594"/>
              <a:gd name="connsiteY81" fmla="*/ 577189 h 5886685"/>
              <a:gd name="connsiteX82" fmla="*/ 8071421 w 8636594"/>
              <a:gd name="connsiteY82" fmla="*/ 540507 h 5886685"/>
              <a:gd name="connsiteX83" fmla="*/ 8104563 w 8636594"/>
              <a:gd name="connsiteY83" fmla="*/ 504132 h 5886685"/>
              <a:gd name="connsiteX84" fmla="*/ 8137967 w 8636594"/>
              <a:gd name="connsiteY84" fmla="*/ 468072 h 5886685"/>
              <a:gd name="connsiteX85" fmla="*/ 8171641 w 8636594"/>
              <a:gd name="connsiteY85" fmla="*/ 432332 h 5886685"/>
              <a:gd name="connsiteX86" fmla="*/ 8205590 w 8636594"/>
              <a:gd name="connsiteY86" fmla="*/ 396920 h 5886685"/>
              <a:gd name="connsiteX87" fmla="*/ 8239820 w 8636594"/>
              <a:gd name="connsiteY87" fmla="*/ 361843 h 5886685"/>
              <a:gd name="connsiteX88" fmla="*/ 8274337 w 8636594"/>
              <a:gd name="connsiteY88" fmla="*/ 327107 h 5886685"/>
              <a:gd name="connsiteX89" fmla="*/ 8309147 w 8636594"/>
              <a:gd name="connsiteY89" fmla="*/ 292718 h 5886685"/>
              <a:gd name="connsiteX90" fmla="*/ 8344256 w 8636594"/>
              <a:gd name="connsiteY90" fmla="*/ 258685 h 5886685"/>
              <a:gd name="connsiteX91" fmla="*/ 8379669 w 8636594"/>
              <a:gd name="connsiteY91" fmla="*/ 225013 h 5886685"/>
              <a:gd name="connsiteX92" fmla="*/ 8415394 w 8636594"/>
              <a:gd name="connsiteY92" fmla="*/ 191709 h 5886685"/>
              <a:gd name="connsiteX93" fmla="*/ 8451434 w 8636594"/>
              <a:gd name="connsiteY93" fmla="*/ 158780 h 5886685"/>
              <a:gd name="connsiteX94" fmla="*/ 8487798 w 8636594"/>
              <a:gd name="connsiteY94" fmla="*/ 126233 h 5886685"/>
              <a:gd name="connsiteX95" fmla="*/ 8524489 w 8636594"/>
              <a:gd name="connsiteY95" fmla="*/ 94075 h 5886685"/>
              <a:gd name="connsiteX96" fmla="*/ 8561515 w 8636594"/>
              <a:gd name="connsiteY96" fmla="*/ 62312 h 5886685"/>
              <a:gd name="connsiteX97" fmla="*/ 8598881 w 8636594"/>
              <a:gd name="connsiteY97" fmla="*/ 30951 h 5886685"/>
              <a:gd name="connsiteX98" fmla="*/ 8636594 w 8636594"/>
              <a:gd name="connsiteY98" fmla="*/ 0 h 5886685"/>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110400 w 8636594"/>
              <a:gd name="connsiteY4" fmla="*/ 5835922 h 5886685"/>
              <a:gd name="connsiteX5" fmla="*/ 4146933 w 8636594"/>
              <a:gd name="connsiteY5" fmla="*/ 5810100 h 5886685"/>
              <a:gd name="connsiteX6" fmla="*/ 4183061 w 8636594"/>
              <a:gd name="connsiteY6" fmla="*/ 5783988 h 5886685"/>
              <a:gd name="connsiteX7" fmla="*/ 4218791 w 8636594"/>
              <a:gd name="connsiteY7" fmla="*/ 5757591 h 5886685"/>
              <a:gd name="connsiteX8" fmla="*/ 4254129 w 8636594"/>
              <a:gd name="connsiteY8" fmla="*/ 5730912 h 5886685"/>
              <a:gd name="connsiteX9" fmla="*/ 4289081 w 8636594"/>
              <a:gd name="connsiteY9" fmla="*/ 5703955 h 5886685"/>
              <a:gd name="connsiteX10" fmla="*/ 4323654 w 8636594"/>
              <a:gd name="connsiteY10" fmla="*/ 5676722 h 5886685"/>
              <a:gd name="connsiteX11" fmla="*/ 4357854 w 8636594"/>
              <a:gd name="connsiteY11" fmla="*/ 5649218 h 5886685"/>
              <a:gd name="connsiteX12" fmla="*/ 4391688 w 8636594"/>
              <a:gd name="connsiteY12" fmla="*/ 5621446 h 5886685"/>
              <a:gd name="connsiteX13" fmla="*/ 4425162 w 8636594"/>
              <a:gd name="connsiteY13" fmla="*/ 5593409 h 5886685"/>
              <a:gd name="connsiteX14" fmla="*/ 4458281 w 8636594"/>
              <a:gd name="connsiteY14" fmla="*/ 5565111 h 5886685"/>
              <a:gd name="connsiteX15" fmla="*/ 4491053 w 8636594"/>
              <a:gd name="connsiteY15" fmla="*/ 5536556 h 5886685"/>
              <a:gd name="connsiteX16" fmla="*/ 4523484 w 8636594"/>
              <a:gd name="connsiteY16" fmla="*/ 5507747 h 5886685"/>
              <a:gd name="connsiteX17" fmla="*/ 4555580 w 8636594"/>
              <a:gd name="connsiteY17" fmla="*/ 5478687 h 5886685"/>
              <a:gd name="connsiteX18" fmla="*/ 4587347 w 8636594"/>
              <a:gd name="connsiteY18" fmla="*/ 5449380 h 5886685"/>
              <a:gd name="connsiteX19" fmla="*/ 4618793 w 8636594"/>
              <a:gd name="connsiteY19" fmla="*/ 5419830 h 5886685"/>
              <a:gd name="connsiteX20" fmla="*/ 4649922 w 8636594"/>
              <a:gd name="connsiteY20" fmla="*/ 5390040 h 5886685"/>
              <a:gd name="connsiteX21" fmla="*/ 4680742 w 8636594"/>
              <a:gd name="connsiteY21" fmla="*/ 5360014 h 5886685"/>
              <a:gd name="connsiteX22" fmla="*/ 4711259 w 8636594"/>
              <a:gd name="connsiteY22" fmla="*/ 5329755 h 5886685"/>
              <a:gd name="connsiteX23" fmla="*/ 4741478 w 8636594"/>
              <a:gd name="connsiteY23" fmla="*/ 5299266 h 5886685"/>
              <a:gd name="connsiteX24" fmla="*/ 4771408 w 8636594"/>
              <a:gd name="connsiteY24" fmla="*/ 5268551 h 5886685"/>
              <a:gd name="connsiteX25" fmla="*/ 4801053 w 8636594"/>
              <a:gd name="connsiteY25" fmla="*/ 5237614 h 5886685"/>
              <a:gd name="connsiteX26" fmla="*/ 4830420 w 8636594"/>
              <a:gd name="connsiteY26" fmla="*/ 5206458 h 5886685"/>
              <a:gd name="connsiteX27" fmla="*/ 4859516 w 8636594"/>
              <a:gd name="connsiteY27" fmla="*/ 5175087 h 5886685"/>
              <a:gd name="connsiteX28" fmla="*/ 4888347 w 8636594"/>
              <a:gd name="connsiteY28" fmla="*/ 5143504 h 5886685"/>
              <a:gd name="connsiteX29" fmla="*/ 4916919 w 8636594"/>
              <a:gd name="connsiteY29" fmla="*/ 5111713 h 5886685"/>
              <a:gd name="connsiteX30" fmla="*/ 4945238 w 8636594"/>
              <a:gd name="connsiteY30" fmla="*/ 5079717 h 5886685"/>
              <a:gd name="connsiteX31" fmla="*/ 4973311 w 8636594"/>
              <a:gd name="connsiteY31" fmla="*/ 5047519 h 5886685"/>
              <a:gd name="connsiteX32" fmla="*/ 5001145 w 8636594"/>
              <a:gd name="connsiteY32" fmla="*/ 5015124 h 5886685"/>
              <a:gd name="connsiteX33" fmla="*/ 5028745 w 8636594"/>
              <a:gd name="connsiteY33" fmla="*/ 4982535 h 5886685"/>
              <a:gd name="connsiteX34" fmla="*/ 5056117 w 8636594"/>
              <a:gd name="connsiteY34" fmla="*/ 4949755 h 5886685"/>
              <a:gd name="connsiteX35" fmla="*/ 5083269 w 8636594"/>
              <a:gd name="connsiteY35" fmla="*/ 4916787 h 5886685"/>
              <a:gd name="connsiteX36" fmla="*/ 5110207 w 8636594"/>
              <a:gd name="connsiteY36" fmla="*/ 4883636 h 5886685"/>
              <a:gd name="connsiteX37" fmla="*/ 5136937 w 8636594"/>
              <a:gd name="connsiteY37" fmla="*/ 4850305 h 5886685"/>
              <a:gd name="connsiteX38" fmla="*/ 5163464 w 8636594"/>
              <a:gd name="connsiteY38" fmla="*/ 4816797 h 5886685"/>
              <a:gd name="connsiteX39" fmla="*/ 5215940 w 8636594"/>
              <a:gd name="connsiteY39" fmla="*/ 4749265 h 5886685"/>
              <a:gd name="connsiteX40" fmla="*/ 5267684 w 8636594"/>
              <a:gd name="connsiteY40" fmla="*/ 4681068 h 5886685"/>
              <a:gd name="connsiteX41" fmla="*/ 5318748 w 8636594"/>
              <a:gd name="connsiteY41" fmla="*/ 4612234 h 5886685"/>
              <a:gd name="connsiteX42" fmla="*/ 5369182 w 8636594"/>
              <a:gd name="connsiteY42" fmla="*/ 4542793 h 5886685"/>
              <a:gd name="connsiteX43" fmla="*/ 5419038 w 8636594"/>
              <a:gd name="connsiteY43" fmla="*/ 4472771 h 5886685"/>
              <a:gd name="connsiteX44" fmla="*/ 5468365 w 8636594"/>
              <a:gd name="connsiteY44" fmla="*/ 4402196 h 5886685"/>
              <a:gd name="connsiteX45" fmla="*/ 5517215 w 8636594"/>
              <a:gd name="connsiteY45" fmla="*/ 4331098 h 5886685"/>
              <a:gd name="connsiteX46" fmla="*/ 5565637 w 8636594"/>
              <a:gd name="connsiteY46" fmla="*/ 4259503 h 5886685"/>
              <a:gd name="connsiteX47" fmla="*/ 5613684 w 8636594"/>
              <a:gd name="connsiteY47" fmla="*/ 4187441 h 5886685"/>
              <a:gd name="connsiteX48" fmla="*/ 5685160 w 8636594"/>
              <a:gd name="connsiteY48" fmla="*/ 4078531 h 5886685"/>
              <a:gd name="connsiteX49" fmla="*/ 5756074 w 8636594"/>
              <a:gd name="connsiteY49" fmla="*/ 3968727 h 5886685"/>
              <a:gd name="connsiteX50" fmla="*/ 5873483 w 8636594"/>
              <a:gd name="connsiteY50" fmla="*/ 3783989 h 5886685"/>
              <a:gd name="connsiteX51" fmla="*/ 6203209 w 8636594"/>
              <a:gd name="connsiteY51" fmla="*/ 3258640 h 5886685"/>
              <a:gd name="connsiteX52" fmla="*/ 6299430 w 8636594"/>
              <a:gd name="connsiteY52" fmla="*/ 3107321 h 5886685"/>
              <a:gd name="connsiteX53" fmla="*/ 6372650 w 8636594"/>
              <a:gd name="connsiteY53" fmla="*/ 2993735 h 5886685"/>
              <a:gd name="connsiteX54" fmla="*/ 6453197 w 8636594"/>
              <a:gd name="connsiteY54" fmla="*/ 2869788 h 5886685"/>
              <a:gd name="connsiteX55" fmla="*/ 6564167 w 8636594"/>
              <a:gd name="connsiteY55" fmla="*/ 2696807 h 5886685"/>
              <a:gd name="connsiteX56" fmla="*/ 6976233 w 8636594"/>
              <a:gd name="connsiteY56" fmla="*/ 2045274 h 5886685"/>
              <a:gd name="connsiteX57" fmla="*/ 7086755 w 8636594"/>
              <a:gd name="connsiteY57" fmla="*/ 1872743 h 5886685"/>
              <a:gd name="connsiteX58" fmla="*/ 7170279 w 8636594"/>
              <a:gd name="connsiteY58" fmla="*/ 1744202 h 5886685"/>
              <a:gd name="connsiteX59" fmla="*/ 7226351 w 8636594"/>
              <a:gd name="connsiteY59" fmla="*/ 1659017 h 5886685"/>
              <a:gd name="connsiteX60" fmla="*/ 7282789 w 8636594"/>
              <a:gd name="connsiteY60" fmla="*/ 1574303 h 5886685"/>
              <a:gd name="connsiteX61" fmla="*/ 7339643 w 8636594"/>
              <a:gd name="connsiteY61" fmla="*/ 1490113 h 5886685"/>
              <a:gd name="connsiteX62" fmla="*/ 7396957 w 8636594"/>
              <a:gd name="connsiteY62" fmla="*/ 1406503 h 5886685"/>
              <a:gd name="connsiteX63" fmla="*/ 7454781 w 8636594"/>
              <a:gd name="connsiteY63" fmla="*/ 1323526 h 5886685"/>
              <a:gd name="connsiteX64" fmla="*/ 7513161 w 8636594"/>
              <a:gd name="connsiteY64" fmla="*/ 1241237 h 5886685"/>
              <a:gd name="connsiteX65" fmla="*/ 7572144 w 8636594"/>
              <a:gd name="connsiteY65" fmla="*/ 1159689 h 5886685"/>
              <a:gd name="connsiteX66" fmla="*/ 7601877 w 8636594"/>
              <a:gd name="connsiteY66" fmla="*/ 1119210 h 5886685"/>
              <a:gd name="connsiteX67" fmla="*/ 7631779 w 8636594"/>
              <a:gd name="connsiteY67" fmla="*/ 1078937 h 5886685"/>
              <a:gd name="connsiteX68" fmla="*/ 7661855 w 8636594"/>
              <a:gd name="connsiteY68" fmla="*/ 1038876 h 5886685"/>
              <a:gd name="connsiteX69" fmla="*/ 7692111 w 8636594"/>
              <a:gd name="connsiteY69" fmla="*/ 999035 h 5886685"/>
              <a:gd name="connsiteX70" fmla="*/ 7722554 w 8636594"/>
              <a:gd name="connsiteY70" fmla="*/ 959419 h 5886685"/>
              <a:gd name="connsiteX71" fmla="*/ 7753190 w 8636594"/>
              <a:gd name="connsiteY71" fmla="*/ 920037 h 5886685"/>
              <a:gd name="connsiteX72" fmla="*/ 7784023 w 8636594"/>
              <a:gd name="connsiteY72" fmla="*/ 880894 h 5886685"/>
              <a:gd name="connsiteX73" fmla="*/ 7815061 w 8636594"/>
              <a:gd name="connsiteY73" fmla="*/ 841997 h 5886685"/>
              <a:gd name="connsiteX74" fmla="*/ 7846308 w 8636594"/>
              <a:gd name="connsiteY74" fmla="*/ 803354 h 5886685"/>
              <a:gd name="connsiteX75" fmla="*/ 7877772 w 8636594"/>
              <a:gd name="connsiteY75" fmla="*/ 764970 h 5886685"/>
              <a:gd name="connsiteX76" fmla="*/ 7909458 w 8636594"/>
              <a:gd name="connsiteY76" fmla="*/ 726853 h 5886685"/>
              <a:gd name="connsiteX77" fmla="*/ 7941371 w 8636594"/>
              <a:gd name="connsiteY77" fmla="*/ 689010 h 5886685"/>
              <a:gd name="connsiteX78" fmla="*/ 7973518 w 8636594"/>
              <a:gd name="connsiteY78" fmla="*/ 651447 h 5886685"/>
              <a:gd name="connsiteX79" fmla="*/ 8005905 w 8636594"/>
              <a:gd name="connsiteY79" fmla="*/ 614171 h 5886685"/>
              <a:gd name="connsiteX80" fmla="*/ 8038538 w 8636594"/>
              <a:gd name="connsiteY80" fmla="*/ 577189 h 5886685"/>
              <a:gd name="connsiteX81" fmla="*/ 8071421 w 8636594"/>
              <a:gd name="connsiteY81" fmla="*/ 540507 h 5886685"/>
              <a:gd name="connsiteX82" fmla="*/ 8104563 w 8636594"/>
              <a:gd name="connsiteY82" fmla="*/ 504132 h 5886685"/>
              <a:gd name="connsiteX83" fmla="*/ 8137967 w 8636594"/>
              <a:gd name="connsiteY83" fmla="*/ 468072 h 5886685"/>
              <a:gd name="connsiteX84" fmla="*/ 8171641 w 8636594"/>
              <a:gd name="connsiteY84" fmla="*/ 432332 h 5886685"/>
              <a:gd name="connsiteX85" fmla="*/ 8205590 w 8636594"/>
              <a:gd name="connsiteY85" fmla="*/ 396920 h 5886685"/>
              <a:gd name="connsiteX86" fmla="*/ 8239820 w 8636594"/>
              <a:gd name="connsiteY86" fmla="*/ 361843 h 5886685"/>
              <a:gd name="connsiteX87" fmla="*/ 8274337 w 8636594"/>
              <a:gd name="connsiteY87" fmla="*/ 327107 h 5886685"/>
              <a:gd name="connsiteX88" fmla="*/ 8309147 w 8636594"/>
              <a:gd name="connsiteY88" fmla="*/ 292718 h 5886685"/>
              <a:gd name="connsiteX89" fmla="*/ 8344256 w 8636594"/>
              <a:gd name="connsiteY89" fmla="*/ 258685 h 5886685"/>
              <a:gd name="connsiteX90" fmla="*/ 8379669 w 8636594"/>
              <a:gd name="connsiteY90" fmla="*/ 225013 h 5886685"/>
              <a:gd name="connsiteX91" fmla="*/ 8415394 w 8636594"/>
              <a:gd name="connsiteY91" fmla="*/ 191709 h 5886685"/>
              <a:gd name="connsiteX92" fmla="*/ 8451434 w 8636594"/>
              <a:gd name="connsiteY92" fmla="*/ 158780 h 5886685"/>
              <a:gd name="connsiteX93" fmla="*/ 8487798 w 8636594"/>
              <a:gd name="connsiteY93" fmla="*/ 126233 h 5886685"/>
              <a:gd name="connsiteX94" fmla="*/ 8524489 w 8636594"/>
              <a:gd name="connsiteY94" fmla="*/ 94075 h 5886685"/>
              <a:gd name="connsiteX95" fmla="*/ 8561515 w 8636594"/>
              <a:gd name="connsiteY95" fmla="*/ 62312 h 5886685"/>
              <a:gd name="connsiteX96" fmla="*/ 8598881 w 8636594"/>
              <a:gd name="connsiteY96" fmla="*/ 30951 h 5886685"/>
              <a:gd name="connsiteX97" fmla="*/ 8636594 w 8636594"/>
              <a:gd name="connsiteY97" fmla="*/ 0 h 5886685"/>
              <a:gd name="connsiteX0" fmla="*/ 8636594 w 8636594"/>
              <a:gd name="connsiteY0" fmla="*/ 0 h 5835922"/>
              <a:gd name="connsiteX1" fmla="*/ 5293 w 8636594"/>
              <a:gd name="connsiteY1" fmla="*/ 0 h 5835922"/>
              <a:gd name="connsiteX2" fmla="*/ 0 w 8636594"/>
              <a:gd name="connsiteY2" fmla="*/ 5587843 h 5835922"/>
              <a:gd name="connsiteX3" fmla="*/ 4110400 w 8636594"/>
              <a:gd name="connsiteY3" fmla="*/ 5835922 h 5835922"/>
              <a:gd name="connsiteX4" fmla="*/ 4146933 w 8636594"/>
              <a:gd name="connsiteY4" fmla="*/ 5810100 h 5835922"/>
              <a:gd name="connsiteX5" fmla="*/ 4183061 w 8636594"/>
              <a:gd name="connsiteY5" fmla="*/ 5783988 h 5835922"/>
              <a:gd name="connsiteX6" fmla="*/ 4218791 w 8636594"/>
              <a:gd name="connsiteY6" fmla="*/ 5757591 h 5835922"/>
              <a:gd name="connsiteX7" fmla="*/ 4254129 w 8636594"/>
              <a:gd name="connsiteY7" fmla="*/ 5730912 h 5835922"/>
              <a:gd name="connsiteX8" fmla="*/ 4289081 w 8636594"/>
              <a:gd name="connsiteY8" fmla="*/ 5703955 h 5835922"/>
              <a:gd name="connsiteX9" fmla="*/ 4323654 w 8636594"/>
              <a:gd name="connsiteY9" fmla="*/ 5676722 h 5835922"/>
              <a:gd name="connsiteX10" fmla="*/ 4357854 w 8636594"/>
              <a:gd name="connsiteY10" fmla="*/ 5649218 h 5835922"/>
              <a:gd name="connsiteX11" fmla="*/ 4391688 w 8636594"/>
              <a:gd name="connsiteY11" fmla="*/ 5621446 h 5835922"/>
              <a:gd name="connsiteX12" fmla="*/ 4425162 w 8636594"/>
              <a:gd name="connsiteY12" fmla="*/ 5593409 h 5835922"/>
              <a:gd name="connsiteX13" fmla="*/ 4458281 w 8636594"/>
              <a:gd name="connsiteY13" fmla="*/ 5565111 h 5835922"/>
              <a:gd name="connsiteX14" fmla="*/ 4491053 w 8636594"/>
              <a:gd name="connsiteY14" fmla="*/ 5536556 h 5835922"/>
              <a:gd name="connsiteX15" fmla="*/ 4523484 w 8636594"/>
              <a:gd name="connsiteY15" fmla="*/ 5507747 h 5835922"/>
              <a:gd name="connsiteX16" fmla="*/ 4555580 w 8636594"/>
              <a:gd name="connsiteY16" fmla="*/ 5478687 h 5835922"/>
              <a:gd name="connsiteX17" fmla="*/ 4587347 w 8636594"/>
              <a:gd name="connsiteY17" fmla="*/ 5449380 h 5835922"/>
              <a:gd name="connsiteX18" fmla="*/ 4618793 w 8636594"/>
              <a:gd name="connsiteY18" fmla="*/ 5419830 h 5835922"/>
              <a:gd name="connsiteX19" fmla="*/ 4649922 w 8636594"/>
              <a:gd name="connsiteY19" fmla="*/ 5390040 h 5835922"/>
              <a:gd name="connsiteX20" fmla="*/ 4680742 w 8636594"/>
              <a:gd name="connsiteY20" fmla="*/ 5360014 h 5835922"/>
              <a:gd name="connsiteX21" fmla="*/ 4711259 w 8636594"/>
              <a:gd name="connsiteY21" fmla="*/ 5329755 h 5835922"/>
              <a:gd name="connsiteX22" fmla="*/ 4741478 w 8636594"/>
              <a:gd name="connsiteY22" fmla="*/ 5299266 h 5835922"/>
              <a:gd name="connsiteX23" fmla="*/ 4771408 w 8636594"/>
              <a:gd name="connsiteY23" fmla="*/ 5268551 h 5835922"/>
              <a:gd name="connsiteX24" fmla="*/ 4801053 w 8636594"/>
              <a:gd name="connsiteY24" fmla="*/ 5237614 h 5835922"/>
              <a:gd name="connsiteX25" fmla="*/ 4830420 w 8636594"/>
              <a:gd name="connsiteY25" fmla="*/ 5206458 h 5835922"/>
              <a:gd name="connsiteX26" fmla="*/ 4859516 w 8636594"/>
              <a:gd name="connsiteY26" fmla="*/ 5175087 h 5835922"/>
              <a:gd name="connsiteX27" fmla="*/ 4888347 w 8636594"/>
              <a:gd name="connsiteY27" fmla="*/ 5143504 h 5835922"/>
              <a:gd name="connsiteX28" fmla="*/ 4916919 w 8636594"/>
              <a:gd name="connsiteY28" fmla="*/ 5111713 h 5835922"/>
              <a:gd name="connsiteX29" fmla="*/ 4945238 w 8636594"/>
              <a:gd name="connsiteY29" fmla="*/ 5079717 h 5835922"/>
              <a:gd name="connsiteX30" fmla="*/ 4973311 w 8636594"/>
              <a:gd name="connsiteY30" fmla="*/ 5047519 h 5835922"/>
              <a:gd name="connsiteX31" fmla="*/ 5001145 w 8636594"/>
              <a:gd name="connsiteY31" fmla="*/ 5015124 h 5835922"/>
              <a:gd name="connsiteX32" fmla="*/ 5028745 w 8636594"/>
              <a:gd name="connsiteY32" fmla="*/ 4982535 h 5835922"/>
              <a:gd name="connsiteX33" fmla="*/ 5056117 w 8636594"/>
              <a:gd name="connsiteY33" fmla="*/ 4949755 h 5835922"/>
              <a:gd name="connsiteX34" fmla="*/ 5083269 w 8636594"/>
              <a:gd name="connsiteY34" fmla="*/ 4916787 h 5835922"/>
              <a:gd name="connsiteX35" fmla="*/ 5110207 w 8636594"/>
              <a:gd name="connsiteY35" fmla="*/ 4883636 h 5835922"/>
              <a:gd name="connsiteX36" fmla="*/ 5136937 w 8636594"/>
              <a:gd name="connsiteY36" fmla="*/ 4850305 h 5835922"/>
              <a:gd name="connsiteX37" fmla="*/ 5163464 w 8636594"/>
              <a:gd name="connsiteY37" fmla="*/ 4816797 h 5835922"/>
              <a:gd name="connsiteX38" fmla="*/ 5215940 w 8636594"/>
              <a:gd name="connsiteY38" fmla="*/ 4749265 h 5835922"/>
              <a:gd name="connsiteX39" fmla="*/ 5267684 w 8636594"/>
              <a:gd name="connsiteY39" fmla="*/ 4681068 h 5835922"/>
              <a:gd name="connsiteX40" fmla="*/ 5318748 w 8636594"/>
              <a:gd name="connsiteY40" fmla="*/ 4612234 h 5835922"/>
              <a:gd name="connsiteX41" fmla="*/ 5369182 w 8636594"/>
              <a:gd name="connsiteY41" fmla="*/ 4542793 h 5835922"/>
              <a:gd name="connsiteX42" fmla="*/ 5419038 w 8636594"/>
              <a:gd name="connsiteY42" fmla="*/ 4472771 h 5835922"/>
              <a:gd name="connsiteX43" fmla="*/ 5468365 w 8636594"/>
              <a:gd name="connsiteY43" fmla="*/ 4402196 h 5835922"/>
              <a:gd name="connsiteX44" fmla="*/ 5517215 w 8636594"/>
              <a:gd name="connsiteY44" fmla="*/ 4331098 h 5835922"/>
              <a:gd name="connsiteX45" fmla="*/ 5565637 w 8636594"/>
              <a:gd name="connsiteY45" fmla="*/ 4259503 h 5835922"/>
              <a:gd name="connsiteX46" fmla="*/ 5613684 w 8636594"/>
              <a:gd name="connsiteY46" fmla="*/ 4187441 h 5835922"/>
              <a:gd name="connsiteX47" fmla="*/ 5685160 w 8636594"/>
              <a:gd name="connsiteY47" fmla="*/ 4078531 h 5835922"/>
              <a:gd name="connsiteX48" fmla="*/ 5756074 w 8636594"/>
              <a:gd name="connsiteY48" fmla="*/ 3968727 h 5835922"/>
              <a:gd name="connsiteX49" fmla="*/ 5873483 w 8636594"/>
              <a:gd name="connsiteY49" fmla="*/ 3783989 h 5835922"/>
              <a:gd name="connsiteX50" fmla="*/ 6203209 w 8636594"/>
              <a:gd name="connsiteY50" fmla="*/ 3258640 h 5835922"/>
              <a:gd name="connsiteX51" fmla="*/ 6299430 w 8636594"/>
              <a:gd name="connsiteY51" fmla="*/ 3107321 h 5835922"/>
              <a:gd name="connsiteX52" fmla="*/ 6372650 w 8636594"/>
              <a:gd name="connsiteY52" fmla="*/ 2993735 h 5835922"/>
              <a:gd name="connsiteX53" fmla="*/ 6453197 w 8636594"/>
              <a:gd name="connsiteY53" fmla="*/ 2869788 h 5835922"/>
              <a:gd name="connsiteX54" fmla="*/ 6564167 w 8636594"/>
              <a:gd name="connsiteY54" fmla="*/ 2696807 h 5835922"/>
              <a:gd name="connsiteX55" fmla="*/ 6976233 w 8636594"/>
              <a:gd name="connsiteY55" fmla="*/ 2045274 h 5835922"/>
              <a:gd name="connsiteX56" fmla="*/ 7086755 w 8636594"/>
              <a:gd name="connsiteY56" fmla="*/ 1872743 h 5835922"/>
              <a:gd name="connsiteX57" fmla="*/ 7170279 w 8636594"/>
              <a:gd name="connsiteY57" fmla="*/ 1744202 h 5835922"/>
              <a:gd name="connsiteX58" fmla="*/ 7226351 w 8636594"/>
              <a:gd name="connsiteY58" fmla="*/ 1659017 h 5835922"/>
              <a:gd name="connsiteX59" fmla="*/ 7282789 w 8636594"/>
              <a:gd name="connsiteY59" fmla="*/ 1574303 h 5835922"/>
              <a:gd name="connsiteX60" fmla="*/ 7339643 w 8636594"/>
              <a:gd name="connsiteY60" fmla="*/ 1490113 h 5835922"/>
              <a:gd name="connsiteX61" fmla="*/ 7396957 w 8636594"/>
              <a:gd name="connsiteY61" fmla="*/ 1406503 h 5835922"/>
              <a:gd name="connsiteX62" fmla="*/ 7454781 w 8636594"/>
              <a:gd name="connsiteY62" fmla="*/ 1323526 h 5835922"/>
              <a:gd name="connsiteX63" fmla="*/ 7513161 w 8636594"/>
              <a:gd name="connsiteY63" fmla="*/ 1241237 h 5835922"/>
              <a:gd name="connsiteX64" fmla="*/ 7572144 w 8636594"/>
              <a:gd name="connsiteY64" fmla="*/ 1159689 h 5835922"/>
              <a:gd name="connsiteX65" fmla="*/ 7601877 w 8636594"/>
              <a:gd name="connsiteY65" fmla="*/ 1119210 h 5835922"/>
              <a:gd name="connsiteX66" fmla="*/ 7631779 w 8636594"/>
              <a:gd name="connsiteY66" fmla="*/ 1078937 h 5835922"/>
              <a:gd name="connsiteX67" fmla="*/ 7661855 w 8636594"/>
              <a:gd name="connsiteY67" fmla="*/ 1038876 h 5835922"/>
              <a:gd name="connsiteX68" fmla="*/ 7692111 w 8636594"/>
              <a:gd name="connsiteY68" fmla="*/ 999035 h 5835922"/>
              <a:gd name="connsiteX69" fmla="*/ 7722554 w 8636594"/>
              <a:gd name="connsiteY69" fmla="*/ 959419 h 5835922"/>
              <a:gd name="connsiteX70" fmla="*/ 7753190 w 8636594"/>
              <a:gd name="connsiteY70" fmla="*/ 920037 h 5835922"/>
              <a:gd name="connsiteX71" fmla="*/ 7784023 w 8636594"/>
              <a:gd name="connsiteY71" fmla="*/ 880894 h 5835922"/>
              <a:gd name="connsiteX72" fmla="*/ 7815061 w 8636594"/>
              <a:gd name="connsiteY72" fmla="*/ 841997 h 5835922"/>
              <a:gd name="connsiteX73" fmla="*/ 7846308 w 8636594"/>
              <a:gd name="connsiteY73" fmla="*/ 803354 h 5835922"/>
              <a:gd name="connsiteX74" fmla="*/ 7877772 w 8636594"/>
              <a:gd name="connsiteY74" fmla="*/ 764970 h 5835922"/>
              <a:gd name="connsiteX75" fmla="*/ 7909458 w 8636594"/>
              <a:gd name="connsiteY75" fmla="*/ 726853 h 5835922"/>
              <a:gd name="connsiteX76" fmla="*/ 7941371 w 8636594"/>
              <a:gd name="connsiteY76" fmla="*/ 689010 h 5835922"/>
              <a:gd name="connsiteX77" fmla="*/ 7973518 w 8636594"/>
              <a:gd name="connsiteY77" fmla="*/ 651447 h 5835922"/>
              <a:gd name="connsiteX78" fmla="*/ 8005905 w 8636594"/>
              <a:gd name="connsiteY78" fmla="*/ 614171 h 5835922"/>
              <a:gd name="connsiteX79" fmla="*/ 8038538 w 8636594"/>
              <a:gd name="connsiteY79" fmla="*/ 577189 h 5835922"/>
              <a:gd name="connsiteX80" fmla="*/ 8071421 w 8636594"/>
              <a:gd name="connsiteY80" fmla="*/ 540507 h 5835922"/>
              <a:gd name="connsiteX81" fmla="*/ 8104563 w 8636594"/>
              <a:gd name="connsiteY81" fmla="*/ 504132 h 5835922"/>
              <a:gd name="connsiteX82" fmla="*/ 8137967 w 8636594"/>
              <a:gd name="connsiteY82" fmla="*/ 468072 h 5835922"/>
              <a:gd name="connsiteX83" fmla="*/ 8171641 w 8636594"/>
              <a:gd name="connsiteY83" fmla="*/ 432332 h 5835922"/>
              <a:gd name="connsiteX84" fmla="*/ 8205590 w 8636594"/>
              <a:gd name="connsiteY84" fmla="*/ 396920 h 5835922"/>
              <a:gd name="connsiteX85" fmla="*/ 8239820 w 8636594"/>
              <a:gd name="connsiteY85" fmla="*/ 361843 h 5835922"/>
              <a:gd name="connsiteX86" fmla="*/ 8274337 w 8636594"/>
              <a:gd name="connsiteY86" fmla="*/ 327107 h 5835922"/>
              <a:gd name="connsiteX87" fmla="*/ 8309147 w 8636594"/>
              <a:gd name="connsiteY87" fmla="*/ 292718 h 5835922"/>
              <a:gd name="connsiteX88" fmla="*/ 8344256 w 8636594"/>
              <a:gd name="connsiteY88" fmla="*/ 258685 h 5835922"/>
              <a:gd name="connsiteX89" fmla="*/ 8379669 w 8636594"/>
              <a:gd name="connsiteY89" fmla="*/ 225013 h 5835922"/>
              <a:gd name="connsiteX90" fmla="*/ 8415394 w 8636594"/>
              <a:gd name="connsiteY90" fmla="*/ 191709 h 5835922"/>
              <a:gd name="connsiteX91" fmla="*/ 8451434 w 8636594"/>
              <a:gd name="connsiteY91" fmla="*/ 158780 h 5835922"/>
              <a:gd name="connsiteX92" fmla="*/ 8487798 w 8636594"/>
              <a:gd name="connsiteY92" fmla="*/ 126233 h 5835922"/>
              <a:gd name="connsiteX93" fmla="*/ 8524489 w 8636594"/>
              <a:gd name="connsiteY93" fmla="*/ 94075 h 5835922"/>
              <a:gd name="connsiteX94" fmla="*/ 8561515 w 8636594"/>
              <a:gd name="connsiteY94" fmla="*/ 62312 h 5835922"/>
              <a:gd name="connsiteX95" fmla="*/ 8598881 w 8636594"/>
              <a:gd name="connsiteY95" fmla="*/ 30951 h 5835922"/>
              <a:gd name="connsiteX96" fmla="*/ 8636594 w 8636594"/>
              <a:gd name="connsiteY96" fmla="*/ 0 h 5835922"/>
              <a:gd name="connsiteX0" fmla="*/ 8636594 w 8636594"/>
              <a:gd name="connsiteY0" fmla="*/ 0 h 5810100"/>
              <a:gd name="connsiteX1" fmla="*/ 5293 w 8636594"/>
              <a:gd name="connsiteY1" fmla="*/ 0 h 5810100"/>
              <a:gd name="connsiteX2" fmla="*/ 0 w 8636594"/>
              <a:gd name="connsiteY2" fmla="*/ 5587843 h 5810100"/>
              <a:gd name="connsiteX3" fmla="*/ 4146933 w 8636594"/>
              <a:gd name="connsiteY3" fmla="*/ 5810100 h 5810100"/>
              <a:gd name="connsiteX4" fmla="*/ 4183061 w 8636594"/>
              <a:gd name="connsiteY4" fmla="*/ 5783988 h 5810100"/>
              <a:gd name="connsiteX5" fmla="*/ 4218791 w 8636594"/>
              <a:gd name="connsiteY5" fmla="*/ 5757591 h 5810100"/>
              <a:gd name="connsiteX6" fmla="*/ 4254129 w 8636594"/>
              <a:gd name="connsiteY6" fmla="*/ 5730912 h 5810100"/>
              <a:gd name="connsiteX7" fmla="*/ 4289081 w 8636594"/>
              <a:gd name="connsiteY7" fmla="*/ 5703955 h 5810100"/>
              <a:gd name="connsiteX8" fmla="*/ 4323654 w 8636594"/>
              <a:gd name="connsiteY8" fmla="*/ 5676722 h 5810100"/>
              <a:gd name="connsiteX9" fmla="*/ 4357854 w 8636594"/>
              <a:gd name="connsiteY9" fmla="*/ 5649218 h 5810100"/>
              <a:gd name="connsiteX10" fmla="*/ 4391688 w 8636594"/>
              <a:gd name="connsiteY10" fmla="*/ 5621446 h 5810100"/>
              <a:gd name="connsiteX11" fmla="*/ 4425162 w 8636594"/>
              <a:gd name="connsiteY11" fmla="*/ 5593409 h 5810100"/>
              <a:gd name="connsiteX12" fmla="*/ 4458281 w 8636594"/>
              <a:gd name="connsiteY12" fmla="*/ 5565111 h 5810100"/>
              <a:gd name="connsiteX13" fmla="*/ 4491053 w 8636594"/>
              <a:gd name="connsiteY13" fmla="*/ 5536556 h 5810100"/>
              <a:gd name="connsiteX14" fmla="*/ 4523484 w 8636594"/>
              <a:gd name="connsiteY14" fmla="*/ 5507747 h 5810100"/>
              <a:gd name="connsiteX15" fmla="*/ 4555580 w 8636594"/>
              <a:gd name="connsiteY15" fmla="*/ 5478687 h 5810100"/>
              <a:gd name="connsiteX16" fmla="*/ 4587347 w 8636594"/>
              <a:gd name="connsiteY16" fmla="*/ 5449380 h 5810100"/>
              <a:gd name="connsiteX17" fmla="*/ 4618793 w 8636594"/>
              <a:gd name="connsiteY17" fmla="*/ 5419830 h 5810100"/>
              <a:gd name="connsiteX18" fmla="*/ 4649922 w 8636594"/>
              <a:gd name="connsiteY18" fmla="*/ 5390040 h 5810100"/>
              <a:gd name="connsiteX19" fmla="*/ 4680742 w 8636594"/>
              <a:gd name="connsiteY19" fmla="*/ 5360014 h 5810100"/>
              <a:gd name="connsiteX20" fmla="*/ 4711259 w 8636594"/>
              <a:gd name="connsiteY20" fmla="*/ 5329755 h 5810100"/>
              <a:gd name="connsiteX21" fmla="*/ 4741478 w 8636594"/>
              <a:gd name="connsiteY21" fmla="*/ 5299266 h 5810100"/>
              <a:gd name="connsiteX22" fmla="*/ 4771408 w 8636594"/>
              <a:gd name="connsiteY22" fmla="*/ 5268551 h 5810100"/>
              <a:gd name="connsiteX23" fmla="*/ 4801053 w 8636594"/>
              <a:gd name="connsiteY23" fmla="*/ 5237614 h 5810100"/>
              <a:gd name="connsiteX24" fmla="*/ 4830420 w 8636594"/>
              <a:gd name="connsiteY24" fmla="*/ 5206458 h 5810100"/>
              <a:gd name="connsiteX25" fmla="*/ 4859516 w 8636594"/>
              <a:gd name="connsiteY25" fmla="*/ 5175087 h 5810100"/>
              <a:gd name="connsiteX26" fmla="*/ 4888347 w 8636594"/>
              <a:gd name="connsiteY26" fmla="*/ 5143504 h 5810100"/>
              <a:gd name="connsiteX27" fmla="*/ 4916919 w 8636594"/>
              <a:gd name="connsiteY27" fmla="*/ 5111713 h 5810100"/>
              <a:gd name="connsiteX28" fmla="*/ 4945238 w 8636594"/>
              <a:gd name="connsiteY28" fmla="*/ 5079717 h 5810100"/>
              <a:gd name="connsiteX29" fmla="*/ 4973311 w 8636594"/>
              <a:gd name="connsiteY29" fmla="*/ 5047519 h 5810100"/>
              <a:gd name="connsiteX30" fmla="*/ 5001145 w 8636594"/>
              <a:gd name="connsiteY30" fmla="*/ 5015124 h 5810100"/>
              <a:gd name="connsiteX31" fmla="*/ 5028745 w 8636594"/>
              <a:gd name="connsiteY31" fmla="*/ 4982535 h 5810100"/>
              <a:gd name="connsiteX32" fmla="*/ 5056117 w 8636594"/>
              <a:gd name="connsiteY32" fmla="*/ 4949755 h 5810100"/>
              <a:gd name="connsiteX33" fmla="*/ 5083269 w 8636594"/>
              <a:gd name="connsiteY33" fmla="*/ 4916787 h 5810100"/>
              <a:gd name="connsiteX34" fmla="*/ 5110207 w 8636594"/>
              <a:gd name="connsiteY34" fmla="*/ 4883636 h 5810100"/>
              <a:gd name="connsiteX35" fmla="*/ 5136937 w 8636594"/>
              <a:gd name="connsiteY35" fmla="*/ 4850305 h 5810100"/>
              <a:gd name="connsiteX36" fmla="*/ 5163464 w 8636594"/>
              <a:gd name="connsiteY36" fmla="*/ 4816797 h 5810100"/>
              <a:gd name="connsiteX37" fmla="*/ 5215940 w 8636594"/>
              <a:gd name="connsiteY37" fmla="*/ 4749265 h 5810100"/>
              <a:gd name="connsiteX38" fmla="*/ 5267684 w 8636594"/>
              <a:gd name="connsiteY38" fmla="*/ 4681068 h 5810100"/>
              <a:gd name="connsiteX39" fmla="*/ 5318748 w 8636594"/>
              <a:gd name="connsiteY39" fmla="*/ 4612234 h 5810100"/>
              <a:gd name="connsiteX40" fmla="*/ 5369182 w 8636594"/>
              <a:gd name="connsiteY40" fmla="*/ 4542793 h 5810100"/>
              <a:gd name="connsiteX41" fmla="*/ 5419038 w 8636594"/>
              <a:gd name="connsiteY41" fmla="*/ 4472771 h 5810100"/>
              <a:gd name="connsiteX42" fmla="*/ 5468365 w 8636594"/>
              <a:gd name="connsiteY42" fmla="*/ 4402196 h 5810100"/>
              <a:gd name="connsiteX43" fmla="*/ 5517215 w 8636594"/>
              <a:gd name="connsiteY43" fmla="*/ 4331098 h 5810100"/>
              <a:gd name="connsiteX44" fmla="*/ 5565637 w 8636594"/>
              <a:gd name="connsiteY44" fmla="*/ 4259503 h 5810100"/>
              <a:gd name="connsiteX45" fmla="*/ 5613684 w 8636594"/>
              <a:gd name="connsiteY45" fmla="*/ 4187441 h 5810100"/>
              <a:gd name="connsiteX46" fmla="*/ 5685160 w 8636594"/>
              <a:gd name="connsiteY46" fmla="*/ 4078531 h 5810100"/>
              <a:gd name="connsiteX47" fmla="*/ 5756074 w 8636594"/>
              <a:gd name="connsiteY47" fmla="*/ 3968727 h 5810100"/>
              <a:gd name="connsiteX48" fmla="*/ 5873483 w 8636594"/>
              <a:gd name="connsiteY48" fmla="*/ 3783989 h 5810100"/>
              <a:gd name="connsiteX49" fmla="*/ 6203209 w 8636594"/>
              <a:gd name="connsiteY49" fmla="*/ 3258640 h 5810100"/>
              <a:gd name="connsiteX50" fmla="*/ 6299430 w 8636594"/>
              <a:gd name="connsiteY50" fmla="*/ 3107321 h 5810100"/>
              <a:gd name="connsiteX51" fmla="*/ 6372650 w 8636594"/>
              <a:gd name="connsiteY51" fmla="*/ 2993735 h 5810100"/>
              <a:gd name="connsiteX52" fmla="*/ 6453197 w 8636594"/>
              <a:gd name="connsiteY52" fmla="*/ 2869788 h 5810100"/>
              <a:gd name="connsiteX53" fmla="*/ 6564167 w 8636594"/>
              <a:gd name="connsiteY53" fmla="*/ 2696807 h 5810100"/>
              <a:gd name="connsiteX54" fmla="*/ 6976233 w 8636594"/>
              <a:gd name="connsiteY54" fmla="*/ 2045274 h 5810100"/>
              <a:gd name="connsiteX55" fmla="*/ 7086755 w 8636594"/>
              <a:gd name="connsiteY55" fmla="*/ 1872743 h 5810100"/>
              <a:gd name="connsiteX56" fmla="*/ 7170279 w 8636594"/>
              <a:gd name="connsiteY56" fmla="*/ 1744202 h 5810100"/>
              <a:gd name="connsiteX57" fmla="*/ 7226351 w 8636594"/>
              <a:gd name="connsiteY57" fmla="*/ 1659017 h 5810100"/>
              <a:gd name="connsiteX58" fmla="*/ 7282789 w 8636594"/>
              <a:gd name="connsiteY58" fmla="*/ 1574303 h 5810100"/>
              <a:gd name="connsiteX59" fmla="*/ 7339643 w 8636594"/>
              <a:gd name="connsiteY59" fmla="*/ 1490113 h 5810100"/>
              <a:gd name="connsiteX60" fmla="*/ 7396957 w 8636594"/>
              <a:gd name="connsiteY60" fmla="*/ 1406503 h 5810100"/>
              <a:gd name="connsiteX61" fmla="*/ 7454781 w 8636594"/>
              <a:gd name="connsiteY61" fmla="*/ 1323526 h 5810100"/>
              <a:gd name="connsiteX62" fmla="*/ 7513161 w 8636594"/>
              <a:gd name="connsiteY62" fmla="*/ 1241237 h 5810100"/>
              <a:gd name="connsiteX63" fmla="*/ 7572144 w 8636594"/>
              <a:gd name="connsiteY63" fmla="*/ 1159689 h 5810100"/>
              <a:gd name="connsiteX64" fmla="*/ 7601877 w 8636594"/>
              <a:gd name="connsiteY64" fmla="*/ 1119210 h 5810100"/>
              <a:gd name="connsiteX65" fmla="*/ 7631779 w 8636594"/>
              <a:gd name="connsiteY65" fmla="*/ 1078937 h 5810100"/>
              <a:gd name="connsiteX66" fmla="*/ 7661855 w 8636594"/>
              <a:gd name="connsiteY66" fmla="*/ 1038876 h 5810100"/>
              <a:gd name="connsiteX67" fmla="*/ 7692111 w 8636594"/>
              <a:gd name="connsiteY67" fmla="*/ 999035 h 5810100"/>
              <a:gd name="connsiteX68" fmla="*/ 7722554 w 8636594"/>
              <a:gd name="connsiteY68" fmla="*/ 959419 h 5810100"/>
              <a:gd name="connsiteX69" fmla="*/ 7753190 w 8636594"/>
              <a:gd name="connsiteY69" fmla="*/ 920037 h 5810100"/>
              <a:gd name="connsiteX70" fmla="*/ 7784023 w 8636594"/>
              <a:gd name="connsiteY70" fmla="*/ 880894 h 5810100"/>
              <a:gd name="connsiteX71" fmla="*/ 7815061 w 8636594"/>
              <a:gd name="connsiteY71" fmla="*/ 841997 h 5810100"/>
              <a:gd name="connsiteX72" fmla="*/ 7846308 w 8636594"/>
              <a:gd name="connsiteY72" fmla="*/ 803354 h 5810100"/>
              <a:gd name="connsiteX73" fmla="*/ 7877772 w 8636594"/>
              <a:gd name="connsiteY73" fmla="*/ 764970 h 5810100"/>
              <a:gd name="connsiteX74" fmla="*/ 7909458 w 8636594"/>
              <a:gd name="connsiteY74" fmla="*/ 726853 h 5810100"/>
              <a:gd name="connsiteX75" fmla="*/ 7941371 w 8636594"/>
              <a:gd name="connsiteY75" fmla="*/ 689010 h 5810100"/>
              <a:gd name="connsiteX76" fmla="*/ 7973518 w 8636594"/>
              <a:gd name="connsiteY76" fmla="*/ 651447 h 5810100"/>
              <a:gd name="connsiteX77" fmla="*/ 8005905 w 8636594"/>
              <a:gd name="connsiteY77" fmla="*/ 614171 h 5810100"/>
              <a:gd name="connsiteX78" fmla="*/ 8038538 w 8636594"/>
              <a:gd name="connsiteY78" fmla="*/ 577189 h 5810100"/>
              <a:gd name="connsiteX79" fmla="*/ 8071421 w 8636594"/>
              <a:gd name="connsiteY79" fmla="*/ 540507 h 5810100"/>
              <a:gd name="connsiteX80" fmla="*/ 8104563 w 8636594"/>
              <a:gd name="connsiteY80" fmla="*/ 504132 h 5810100"/>
              <a:gd name="connsiteX81" fmla="*/ 8137967 w 8636594"/>
              <a:gd name="connsiteY81" fmla="*/ 468072 h 5810100"/>
              <a:gd name="connsiteX82" fmla="*/ 8171641 w 8636594"/>
              <a:gd name="connsiteY82" fmla="*/ 432332 h 5810100"/>
              <a:gd name="connsiteX83" fmla="*/ 8205590 w 8636594"/>
              <a:gd name="connsiteY83" fmla="*/ 396920 h 5810100"/>
              <a:gd name="connsiteX84" fmla="*/ 8239820 w 8636594"/>
              <a:gd name="connsiteY84" fmla="*/ 361843 h 5810100"/>
              <a:gd name="connsiteX85" fmla="*/ 8274337 w 8636594"/>
              <a:gd name="connsiteY85" fmla="*/ 327107 h 5810100"/>
              <a:gd name="connsiteX86" fmla="*/ 8309147 w 8636594"/>
              <a:gd name="connsiteY86" fmla="*/ 292718 h 5810100"/>
              <a:gd name="connsiteX87" fmla="*/ 8344256 w 8636594"/>
              <a:gd name="connsiteY87" fmla="*/ 258685 h 5810100"/>
              <a:gd name="connsiteX88" fmla="*/ 8379669 w 8636594"/>
              <a:gd name="connsiteY88" fmla="*/ 225013 h 5810100"/>
              <a:gd name="connsiteX89" fmla="*/ 8415394 w 8636594"/>
              <a:gd name="connsiteY89" fmla="*/ 191709 h 5810100"/>
              <a:gd name="connsiteX90" fmla="*/ 8451434 w 8636594"/>
              <a:gd name="connsiteY90" fmla="*/ 158780 h 5810100"/>
              <a:gd name="connsiteX91" fmla="*/ 8487798 w 8636594"/>
              <a:gd name="connsiteY91" fmla="*/ 126233 h 5810100"/>
              <a:gd name="connsiteX92" fmla="*/ 8524489 w 8636594"/>
              <a:gd name="connsiteY92" fmla="*/ 94075 h 5810100"/>
              <a:gd name="connsiteX93" fmla="*/ 8561515 w 8636594"/>
              <a:gd name="connsiteY93" fmla="*/ 62312 h 5810100"/>
              <a:gd name="connsiteX94" fmla="*/ 8598881 w 8636594"/>
              <a:gd name="connsiteY94" fmla="*/ 30951 h 5810100"/>
              <a:gd name="connsiteX95" fmla="*/ 8636594 w 8636594"/>
              <a:gd name="connsiteY95" fmla="*/ 0 h 5810100"/>
              <a:gd name="connsiteX0" fmla="*/ 8636594 w 8636594"/>
              <a:gd name="connsiteY0" fmla="*/ 0 h 5783988"/>
              <a:gd name="connsiteX1" fmla="*/ 5293 w 8636594"/>
              <a:gd name="connsiteY1" fmla="*/ 0 h 5783988"/>
              <a:gd name="connsiteX2" fmla="*/ 0 w 8636594"/>
              <a:gd name="connsiteY2" fmla="*/ 5587843 h 5783988"/>
              <a:gd name="connsiteX3" fmla="*/ 4183061 w 8636594"/>
              <a:gd name="connsiteY3" fmla="*/ 5783988 h 5783988"/>
              <a:gd name="connsiteX4" fmla="*/ 4218791 w 8636594"/>
              <a:gd name="connsiteY4" fmla="*/ 5757591 h 5783988"/>
              <a:gd name="connsiteX5" fmla="*/ 4254129 w 8636594"/>
              <a:gd name="connsiteY5" fmla="*/ 5730912 h 5783988"/>
              <a:gd name="connsiteX6" fmla="*/ 4289081 w 8636594"/>
              <a:gd name="connsiteY6" fmla="*/ 5703955 h 5783988"/>
              <a:gd name="connsiteX7" fmla="*/ 4323654 w 8636594"/>
              <a:gd name="connsiteY7" fmla="*/ 5676722 h 5783988"/>
              <a:gd name="connsiteX8" fmla="*/ 4357854 w 8636594"/>
              <a:gd name="connsiteY8" fmla="*/ 5649218 h 5783988"/>
              <a:gd name="connsiteX9" fmla="*/ 4391688 w 8636594"/>
              <a:gd name="connsiteY9" fmla="*/ 5621446 h 5783988"/>
              <a:gd name="connsiteX10" fmla="*/ 4425162 w 8636594"/>
              <a:gd name="connsiteY10" fmla="*/ 5593409 h 5783988"/>
              <a:gd name="connsiteX11" fmla="*/ 4458281 w 8636594"/>
              <a:gd name="connsiteY11" fmla="*/ 5565111 h 5783988"/>
              <a:gd name="connsiteX12" fmla="*/ 4491053 w 8636594"/>
              <a:gd name="connsiteY12" fmla="*/ 5536556 h 5783988"/>
              <a:gd name="connsiteX13" fmla="*/ 4523484 w 8636594"/>
              <a:gd name="connsiteY13" fmla="*/ 5507747 h 5783988"/>
              <a:gd name="connsiteX14" fmla="*/ 4555580 w 8636594"/>
              <a:gd name="connsiteY14" fmla="*/ 5478687 h 5783988"/>
              <a:gd name="connsiteX15" fmla="*/ 4587347 w 8636594"/>
              <a:gd name="connsiteY15" fmla="*/ 5449380 h 5783988"/>
              <a:gd name="connsiteX16" fmla="*/ 4618793 w 8636594"/>
              <a:gd name="connsiteY16" fmla="*/ 5419830 h 5783988"/>
              <a:gd name="connsiteX17" fmla="*/ 4649922 w 8636594"/>
              <a:gd name="connsiteY17" fmla="*/ 5390040 h 5783988"/>
              <a:gd name="connsiteX18" fmla="*/ 4680742 w 8636594"/>
              <a:gd name="connsiteY18" fmla="*/ 5360014 h 5783988"/>
              <a:gd name="connsiteX19" fmla="*/ 4711259 w 8636594"/>
              <a:gd name="connsiteY19" fmla="*/ 5329755 h 5783988"/>
              <a:gd name="connsiteX20" fmla="*/ 4741478 w 8636594"/>
              <a:gd name="connsiteY20" fmla="*/ 5299266 h 5783988"/>
              <a:gd name="connsiteX21" fmla="*/ 4771408 w 8636594"/>
              <a:gd name="connsiteY21" fmla="*/ 5268551 h 5783988"/>
              <a:gd name="connsiteX22" fmla="*/ 4801053 w 8636594"/>
              <a:gd name="connsiteY22" fmla="*/ 5237614 h 5783988"/>
              <a:gd name="connsiteX23" fmla="*/ 4830420 w 8636594"/>
              <a:gd name="connsiteY23" fmla="*/ 5206458 h 5783988"/>
              <a:gd name="connsiteX24" fmla="*/ 4859516 w 8636594"/>
              <a:gd name="connsiteY24" fmla="*/ 5175087 h 5783988"/>
              <a:gd name="connsiteX25" fmla="*/ 4888347 w 8636594"/>
              <a:gd name="connsiteY25" fmla="*/ 5143504 h 5783988"/>
              <a:gd name="connsiteX26" fmla="*/ 4916919 w 8636594"/>
              <a:gd name="connsiteY26" fmla="*/ 5111713 h 5783988"/>
              <a:gd name="connsiteX27" fmla="*/ 4945238 w 8636594"/>
              <a:gd name="connsiteY27" fmla="*/ 5079717 h 5783988"/>
              <a:gd name="connsiteX28" fmla="*/ 4973311 w 8636594"/>
              <a:gd name="connsiteY28" fmla="*/ 5047519 h 5783988"/>
              <a:gd name="connsiteX29" fmla="*/ 5001145 w 8636594"/>
              <a:gd name="connsiteY29" fmla="*/ 5015124 h 5783988"/>
              <a:gd name="connsiteX30" fmla="*/ 5028745 w 8636594"/>
              <a:gd name="connsiteY30" fmla="*/ 4982535 h 5783988"/>
              <a:gd name="connsiteX31" fmla="*/ 5056117 w 8636594"/>
              <a:gd name="connsiteY31" fmla="*/ 4949755 h 5783988"/>
              <a:gd name="connsiteX32" fmla="*/ 5083269 w 8636594"/>
              <a:gd name="connsiteY32" fmla="*/ 4916787 h 5783988"/>
              <a:gd name="connsiteX33" fmla="*/ 5110207 w 8636594"/>
              <a:gd name="connsiteY33" fmla="*/ 4883636 h 5783988"/>
              <a:gd name="connsiteX34" fmla="*/ 5136937 w 8636594"/>
              <a:gd name="connsiteY34" fmla="*/ 4850305 h 5783988"/>
              <a:gd name="connsiteX35" fmla="*/ 5163464 w 8636594"/>
              <a:gd name="connsiteY35" fmla="*/ 4816797 h 5783988"/>
              <a:gd name="connsiteX36" fmla="*/ 5215940 w 8636594"/>
              <a:gd name="connsiteY36" fmla="*/ 4749265 h 5783988"/>
              <a:gd name="connsiteX37" fmla="*/ 5267684 w 8636594"/>
              <a:gd name="connsiteY37" fmla="*/ 4681068 h 5783988"/>
              <a:gd name="connsiteX38" fmla="*/ 5318748 w 8636594"/>
              <a:gd name="connsiteY38" fmla="*/ 4612234 h 5783988"/>
              <a:gd name="connsiteX39" fmla="*/ 5369182 w 8636594"/>
              <a:gd name="connsiteY39" fmla="*/ 4542793 h 5783988"/>
              <a:gd name="connsiteX40" fmla="*/ 5419038 w 8636594"/>
              <a:gd name="connsiteY40" fmla="*/ 4472771 h 5783988"/>
              <a:gd name="connsiteX41" fmla="*/ 5468365 w 8636594"/>
              <a:gd name="connsiteY41" fmla="*/ 4402196 h 5783988"/>
              <a:gd name="connsiteX42" fmla="*/ 5517215 w 8636594"/>
              <a:gd name="connsiteY42" fmla="*/ 4331098 h 5783988"/>
              <a:gd name="connsiteX43" fmla="*/ 5565637 w 8636594"/>
              <a:gd name="connsiteY43" fmla="*/ 4259503 h 5783988"/>
              <a:gd name="connsiteX44" fmla="*/ 5613684 w 8636594"/>
              <a:gd name="connsiteY44" fmla="*/ 4187441 h 5783988"/>
              <a:gd name="connsiteX45" fmla="*/ 5685160 w 8636594"/>
              <a:gd name="connsiteY45" fmla="*/ 4078531 h 5783988"/>
              <a:gd name="connsiteX46" fmla="*/ 5756074 w 8636594"/>
              <a:gd name="connsiteY46" fmla="*/ 3968727 h 5783988"/>
              <a:gd name="connsiteX47" fmla="*/ 5873483 w 8636594"/>
              <a:gd name="connsiteY47" fmla="*/ 3783989 h 5783988"/>
              <a:gd name="connsiteX48" fmla="*/ 6203209 w 8636594"/>
              <a:gd name="connsiteY48" fmla="*/ 3258640 h 5783988"/>
              <a:gd name="connsiteX49" fmla="*/ 6299430 w 8636594"/>
              <a:gd name="connsiteY49" fmla="*/ 3107321 h 5783988"/>
              <a:gd name="connsiteX50" fmla="*/ 6372650 w 8636594"/>
              <a:gd name="connsiteY50" fmla="*/ 2993735 h 5783988"/>
              <a:gd name="connsiteX51" fmla="*/ 6453197 w 8636594"/>
              <a:gd name="connsiteY51" fmla="*/ 2869788 h 5783988"/>
              <a:gd name="connsiteX52" fmla="*/ 6564167 w 8636594"/>
              <a:gd name="connsiteY52" fmla="*/ 2696807 h 5783988"/>
              <a:gd name="connsiteX53" fmla="*/ 6976233 w 8636594"/>
              <a:gd name="connsiteY53" fmla="*/ 2045274 h 5783988"/>
              <a:gd name="connsiteX54" fmla="*/ 7086755 w 8636594"/>
              <a:gd name="connsiteY54" fmla="*/ 1872743 h 5783988"/>
              <a:gd name="connsiteX55" fmla="*/ 7170279 w 8636594"/>
              <a:gd name="connsiteY55" fmla="*/ 1744202 h 5783988"/>
              <a:gd name="connsiteX56" fmla="*/ 7226351 w 8636594"/>
              <a:gd name="connsiteY56" fmla="*/ 1659017 h 5783988"/>
              <a:gd name="connsiteX57" fmla="*/ 7282789 w 8636594"/>
              <a:gd name="connsiteY57" fmla="*/ 1574303 h 5783988"/>
              <a:gd name="connsiteX58" fmla="*/ 7339643 w 8636594"/>
              <a:gd name="connsiteY58" fmla="*/ 1490113 h 5783988"/>
              <a:gd name="connsiteX59" fmla="*/ 7396957 w 8636594"/>
              <a:gd name="connsiteY59" fmla="*/ 1406503 h 5783988"/>
              <a:gd name="connsiteX60" fmla="*/ 7454781 w 8636594"/>
              <a:gd name="connsiteY60" fmla="*/ 1323526 h 5783988"/>
              <a:gd name="connsiteX61" fmla="*/ 7513161 w 8636594"/>
              <a:gd name="connsiteY61" fmla="*/ 1241237 h 5783988"/>
              <a:gd name="connsiteX62" fmla="*/ 7572144 w 8636594"/>
              <a:gd name="connsiteY62" fmla="*/ 1159689 h 5783988"/>
              <a:gd name="connsiteX63" fmla="*/ 7601877 w 8636594"/>
              <a:gd name="connsiteY63" fmla="*/ 1119210 h 5783988"/>
              <a:gd name="connsiteX64" fmla="*/ 7631779 w 8636594"/>
              <a:gd name="connsiteY64" fmla="*/ 1078937 h 5783988"/>
              <a:gd name="connsiteX65" fmla="*/ 7661855 w 8636594"/>
              <a:gd name="connsiteY65" fmla="*/ 1038876 h 5783988"/>
              <a:gd name="connsiteX66" fmla="*/ 7692111 w 8636594"/>
              <a:gd name="connsiteY66" fmla="*/ 999035 h 5783988"/>
              <a:gd name="connsiteX67" fmla="*/ 7722554 w 8636594"/>
              <a:gd name="connsiteY67" fmla="*/ 959419 h 5783988"/>
              <a:gd name="connsiteX68" fmla="*/ 7753190 w 8636594"/>
              <a:gd name="connsiteY68" fmla="*/ 920037 h 5783988"/>
              <a:gd name="connsiteX69" fmla="*/ 7784023 w 8636594"/>
              <a:gd name="connsiteY69" fmla="*/ 880894 h 5783988"/>
              <a:gd name="connsiteX70" fmla="*/ 7815061 w 8636594"/>
              <a:gd name="connsiteY70" fmla="*/ 841997 h 5783988"/>
              <a:gd name="connsiteX71" fmla="*/ 7846308 w 8636594"/>
              <a:gd name="connsiteY71" fmla="*/ 803354 h 5783988"/>
              <a:gd name="connsiteX72" fmla="*/ 7877772 w 8636594"/>
              <a:gd name="connsiteY72" fmla="*/ 764970 h 5783988"/>
              <a:gd name="connsiteX73" fmla="*/ 7909458 w 8636594"/>
              <a:gd name="connsiteY73" fmla="*/ 726853 h 5783988"/>
              <a:gd name="connsiteX74" fmla="*/ 7941371 w 8636594"/>
              <a:gd name="connsiteY74" fmla="*/ 689010 h 5783988"/>
              <a:gd name="connsiteX75" fmla="*/ 7973518 w 8636594"/>
              <a:gd name="connsiteY75" fmla="*/ 651447 h 5783988"/>
              <a:gd name="connsiteX76" fmla="*/ 8005905 w 8636594"/>
              <a:gd name="connsiteY76" fmla="*/ 614171 h 5783988"/>
              <a:gd name="connsiteX77" fmla="*/ 8038538 w 8636594"/>
              <a:gd name="connsiteY77" fmla="*/ 577189 h 5783988"/>
              <a:gd name="connsiteX78" fmla="*/ 8071421 w 8636594"/>
              <a:gd name="connsiteY78" fmla="*/ 540507 h 5783988"/>
              <a:gd name="connsiteX79" fmla="*/ 8104563 w 8636594"/>
              <a:gd name="connsiteY79" fmla="*/ 504132 h 5783988"/>
              <a:gd name="connsiteX80" fmla="*/ 8137967 w 8636594"/>
              <a:gd name="connsiteY80" fmla="*/ 468072 h 5783988"/>
              <a:gd name="connsiteX81" fmla="*/ 8171641 w 8636594"/>
              <a:gd name="connsiteY81" fmla="*/ 432332 h 5783988"/>
              <a:gd name="connsiteX82" fmla="*/ 8205590 w 8636594"/>
              <a:gd name="connsiteY82" fmla="*/ 396920 h 5783988"/>
              <a:gd name="connsiteX83" fmla="*/ 8239820 w 8636594"/>
              <a:gd name="connsiteY83" fmla="*/ 361843 h 5783988"/>
              <a:gd name="connsiteX84" fmla="*/ 8274337 w 8636594"/>
              <a:gd name="connsiteY84" fmla="*/ 327107 h 5783988"/>
              <a:gd name="connsiteX85" fmla="*/ 8309147 w 8636594"/>
              <a:gd name="connsiteY85" fmla="*/ 292718 h 5783988"/>
              <a:gd name="connsiteX86" fmla="*/ 8344256 w 8636594"/>
              <a:gd name="connsiteY86" fmla="*/ 258685 h 5783988"/>
              <a:gd name="connsiteX87" fmla="*/ 8379669 w 8636594"/>
              <a:gd name="connsiteY87" fmla="*/ 225013 h 5783988"/>
              <a:gd name="connsiteX88" fmla="*/ 8415394 w 8636594"/>
              <a:gd name="connsiteY88" fmla="*/ 191709 h 5783988"/>
              <a:gd name="connsiteX89" fmla="*/ 8451434 w 8636594"/>
              <a:gd name="connsiteY89" fmla="*/ 158780 h 5783988"/>
              <a:gd name="connsiteX90" fmla="*/ 8487798 w 8636594"/>
              <a:gd name="connsiteY90" fmla="*/ 126233 h 5783988"/>
              <a:gd name="connsiteX91" fmla="*/ 8524489 w 8636594"/>
              <a:gd name="connsiteY91" fmla="*/ 94075 h 5783988"/>
              <a:gd name="connsiteX92" fmla="*/ 8561515 w 8636594"/>
              <a:gd name="connsiteY92" fmla="*/ 62312 h 5783988"/>
              <a:gd name="connsiteX93" fmla="*/ 8598881 w 8636594"/>
              <a:gd name="connsiteY93" fmla="*/ 30951 h 5783988"/>
              <a:gd name="connsiteX94" fmla="*/ 8636594 w 8636594"/>
              <a:gd name="connsiteY94" fmla="*/ 0 h 5783988"/>
              <a:gd name="connsiteX0" fmla="*/ 8636594 w 8636594"/>
              <a:gd name="connsiteY0" fmla="*/ 0 h 5757591"/>
              <a:gd name="connsiteX1" fmla="*/ 5293 w 8636594"/>
              <a:gd name="connsiteY1" fmla="*/ 0 h 5757591"/>
              <a:gd name="connsiteX2" fmla="*/ 0 w 8636594"/>
              <a:gd name="connsiteY2" fmla="*/ 5587843 h 5757591"/>
              <a:gd name="connsiteX3" fmla="*/ 4218791 w 8636594"/>
              <a:gd name="connsiteY3" fmla="*/ 5757591 h 5757591"/>
              <a:gd name="connsiteX4" fmla="*/ 4254129 w 8636594"/>
              <a:gd name="connsiteY4" fmla="*/ 5730912 h 5757591"/>
              <a:gd name="connsiteX5" fmla="*/ 4289081 w 8636594"/>
              <a:gd name="connsiteY5" fmla="*/ 5703955 h 5757591"/>
              <a:gd name="connsiteX6" fmla="*/ 4323654 w 8636594"/>
              <a:gd name="connsiteY6" fmla="*/ 5676722 h 5757591"/>
              <a:gd name="connsiteX7" fmla="*/ 4357854 w 8636594"/>
              <a:gd name="connsiteY7" fmla="*/ 5649218 h 5757591"/>
              <a:gd name="connsiteX8" fmla="*/ 4391688 w 8636594"/>
              <a:gd name="connsiteY8" fmla="*/ 5621446 h 5757591"/>
              <a:gd name="connsiteX9" fmla="*/ 4425162 w 8636594"/>
              <a:gd name="connsiteY9" fmla="*/ 5593409 h 5757591"/>
              <a:gd name="connsiteX10" fmla="*/ 4458281 w 8636594"/>
              <a:gd name="connsiteY10" fmla="*/ 5565111 h 5757591"/>
              <a:gd name="connsiteX11" fmla="*/ 4491053 w 8636594"/>
              <a:gd name="connsiteY11" fmla="*/ 5536556 h 5757591"/>
              <a:gd name="connsiteX12" fmla="*/ 4523484 w 8636594"/>
              <a:gd name="connsiteY12" fmla="*/ 5507747 h 5757591"/>
              <a:gd name="connsiteX13" fmla="*/ 4555580 w 8636594"/>
              <a:gd name="connsiteY13" fmla="*/ 5478687 h 5757591"/>
              <a:gd name="connsiteX14" fmla="*/ 4587347 w 8636594"/>
              <a:gd name="connsiteY14" fmla="*/ 5449380 h 5757591"/>
              <a:gd name="connsiteX15" fmla="*/ 4618793 w 8636594"/>
              <a:gd name="connsiteY15" fmla="*/ 5419830 h 5757591"/>
              <a:gd name="connsiteX16" fmla="*/ 4649922 w 8636594"/>
              <a:gd name="connsiteY16" fmla="*/ 5390040 h 5757591"/>
              <a:gd name="connsiteX17" fmla="*/ 4680742 w 8636594"/>
              <a:gd name="connsiteY17" fmla="*/ 5360014 h 5757591"/>
              <a:gd name="connsiteX18" fmla="*/ 4711259 w 8636594"/>
              <a:gd name="connsiteY18" fmla="*/ 5329755 h 5757591"/>
              <a:gd name="connsiteX19" fmla="*/ 4741478 w 8636594"/>
              <a:gd name="connsiteY19" fmla="*/ 5299266 h 5757591"/>
              <a:gd name="connsiteX20" fmla="*/ 4771408 w 8636594"/>
              <a:gd name="connsiteY20" fmla="*/ 5268551 h 5757591"/>
              <a:gd name="connsiteX21" fmla="*/ 4801053 w 8636594"/>
              <a:gd name="connsiteY21" fmla="*/ 5237614 h 5757591"/>
              <a:gd name="connsiteX22" fmla="*/ 4830420 w 8636594"/>
              <a:gd name="connsiteY22" fmla="*/ 5206458 h 5757591"/>
              <a:gd name="connsiteX23" fmla="*/ 4859516 w 8636594"/>
              <a:gd name="connsiteY23" fmla="*/ 5175087 h 5757591"/>
              <a:gd name="connsiteX24" fmla="*/ 4888347 w 8636594"/>
              <a:gd name="connsiteY24" fmla="*/ 5143504 h 5757591"/>
              <a:gd name="connsiteX25" fmla="*/ 4916919 w 8636594"/>
              <a:gd name="connsiteY25" fmla="*/ 5111713 h 5757591"/>
              <a:gd name="connsiteX26" fmla="*/ 4945238 w 8636594"/>
              <a:gd name="connsiteY26" fmla="*/ 5079717 h 5757591"/>
              <a:gd name="connsiteX27" fmla="*/ 4973311 w 8636594"/>
              <a:gd name="connsiteY27" fmla="*/ 5047519 h 5757591"/>
              <a:gd name="connsiteX28" fmla="*/ 5001145 w 8636594"/>
              <a:gd name="connsiteY28" fmla="*/ 5015124 h 5757591"/>
              <a:gd name="connsiteX29" fmla="*/ 5028745 w 8636594"/>
              <a:gd name="connsiteY29" fmla="*/ 4982535 h 5757591"/>
              <a:gd name="connsiteX30" fmla="*/ 5056117 w 8636594"/>
              <a:gd name="connsiteY30" fmla="*/ 4949755 h 5757591"/>
              <a:gd name="connsiteX31" fmla="*/ 5083269 w 8636594"/>
              <a:gd name="connsiteY31" fmla="*/ 4916787 h 5757591"/>
              <a:gd name="connsiteX32" fmla="*/ 5110207 w 8636594"/>
              <a:gd name="connsiteY32" fmla="*/ 4883636 h 5757591"/>
              <a:gd name="connsiteX33" fmla="*/ 5136937 w 8636594"/>
              <a:gd name="connsiteY33" fmla="*/ 4850305 h 5757591"/>
              <a:gd name="connsiteX34" fmla="*/ 5163464 w 8636594"/>
              <a:gd name="connsiteY34" fmla="*/ 4816797 h 5757591"/>
              <a:gd name="connsiteX35" fmla="*/ 5215940 w 8636594"/>
              <a:gd name="connsiteY35" fmla="*/ 4749265 h 5757591"/>
              <a:gd name="connsiteX36" fmla="*/ 5267684 w 8636594"/>
              <a:gd name="connsiteY36" fmla="*/ 4681068 h 5757591"/>
              <a:gd name="connsiteX37" fmla="*/ 5318748 w 8636594"/>
              <a:gd name="connsiteY37" fmla="*/ 4612234 h 5757591"/>
              <a:gd name="connsiteX38" fmla="*/ 5369182 w 8636594"/>
              <a:gd name="connsiteY38" fmla="*/ 4542793 h 5757591"/>
              <a:gd name="connsiteX39" fmla="*/ 5419038 w 8636594"/>
              <a:gd name="connsiteY39" fmla="*/ 4472771 h 5757591"/>
              <a:gd name="connsiteX40" fmla="*/ 5468365 w 8636594"/>
              <a:gd name="connsiteY40" fmla="*/ 4402196 h 5757591"/>
              <a:gd name="connsiteX41" fmla="*/ 5517215 w 8636594"/>
              <a:gd name="connsiteY41" fmla="*/ 4331098 h 5757591"/>
              <a:gd name="connsiteX42" fmla="*/ 5565637 w 8636594"/>
              <a:gd name="connsiteY42" fmla="*/ 4259503 h 5757591"/>
              <a:gd name="connsiteX43" fmla="*/ 5613684 w 8636594"/>
              <a:gd name="connsiteY43" fmla="*/ 4187441 h 5757591"/>
              <a:gd name="connsiteX44" fmla="*/ 5685160 w 8636594"/>
              <a:gd name="connsiteY44" fmla="*/ 4078531 h 5757591"/>
              <a:gd name="connsiteX45" fmla="*/ 5756074 w 8636594"/>
              <a:gd name="connsiteY45" fmla="*/ 3968727 h 5757591"/>
              <a:gd name="connsiteX46" fmla="*/ 5873483 w 8636594"/>
              <a:gd name="connsiteY46" fmla="*/ 3783989 h 5757591"/>
              <a:gd name="connsiteX47" fmla="*/ 6203209 w 8636594"/>
              <a:gd name="connsiteY47" fmla="*/ 3258640 h 5757591"/>
              <a:gd name="connsiteX48" fmla="*/ 6299430 w 8636594"/>
              <a:gd name="connsiteY48" fmla="*/ 3107321 h 5757591"/>
              <a:gd name="connsiteX49" fmla="*/ 6372650 w 8636594"/>
              <a:gd name="connsiteY49" fmla="*/ 2993735 h 5757591"/>
              <a:gd name="connsiteX50" fmla="*/ 6453197 w 8636594"/>
              <a:gd name="connsiteY50" fmla="*/ 2869788 h 5757591"/>
              <a:gd name="connsiteX51" fmla="*/ 6564167 w 8636594"/>
              <a:gd name="connsiteY51" fmla="*/ 2696807 h 5757591"/>
              <a:gd name="connsiteX52" fmla="*/ 6976233 w 8636594"/>
              <a:gd name="connsiteY52" fmla="*/ 2045274 h 5757591"/>
              <a:gd name="connsiteX53" fmla="*/ 7086755 w 8636594"/>
              <a:gd name="connsiteY53" fmla="*/ 1872743 h 5757591"/>
              <a:gd name="connsiteX54" fmla="*/ 7170279 w 8636594"/>
              <a:gd name="connsiteY54" fmla="*/ 1744202 h 5757591"/>
              <a:gd name="connsiteX55" fmla="*/ 7226351 w 8636594"/>
              <a:gd name="connsiteY55" fmla="*/ 1659017 h 5757591"/>
              <a:gd name="connsiteX56" fmla="*/ 7282789 w 8636594"/>
              <a:gd name="connsiteY56" fmla="*/ 1574303 h 5757591"/>
              <a:gd name="connsiteX57" fmla="*/ 7339643 w 8636594"/>
              <a:gd name="connsiteY57" fmla="*/ 1490113 h 5757591"/>
              <a:gd name="connsiteX58" fmla="*/ 7396957 w 8636594"/>
              <a:gd name="connsiteY58" fmla="*/ 1406503 h 5757591"/>
              <a:gd name="connsiteX59" fmla="*/ 7454781 w 8636594"/>
              <a:gd name="connsiteY59" fmla="*/ 1323526 h 5757591"/>
              <a:gd name="connsiteX60" fmla="*/ 7513161 w 8636594"/>
              <a:gd name="connsiteY60" fmla="*/ 1241237 h 5757591"/>
              <a:gd name="connsiteX61" fmla="*/ 7572144 w 8636594"/>
              <a:gd name="connsiteY61" fmla="*/ 1159689 h 5757591"/>
              <a:gd name="connsiteX62" fmla="*/ 7601877 w 8636594"/>
              <a:gd name="connsiteY62" fmla="*/ 1119210 h 5757591"/>
              <a:gd name="connsiteX63" fmla="*/ 7631779 w 8636594"/>
              <a:gd name="connsiteY63" fmla="*/ 1078937 h 5757591"/>
              <a:gd name="connsiteX64" fmla="*/ 7661855 w 8636594"/>
              <a:gd name="connsiteY64" fmla="*/ 1038876 h 5757591"/>
              <a:gd name="connsiteX65" fmla="*/ 7692111 w 8636594"/>
              <a:gd name="connsiteY65" fmla="*/ 999035 h 5757591"/>
              <a:gd name="connsiteX66" fmla="*/ 7722554 w 8636594"/>
              <a:gd name="connsiteY66" fmla="*/ 959419 h 5757591"/>
              <a:gd name="connsiteX67" fmla="*/ 7753190 w 8636594"/>
              <a:gd name="connsiteY67" fmla="*/ 920037 h 5757591"/>
              <a:gd name="connsiteX68" fmla="*/ 7784023 w 8636594"/>
              <a:gd name="connsiteY68" fmla="*/ 880894 h 5757591"/>
              <a:gd name="connsiteX69" fmla="*/ 7815061 w 8636594"/>
              <a:gd name="connsiteY69" fmla="*/ 841997 h 5757591"/>
              <a:gd name="connsiteX70" fmla="*/ 7846308 w 8636594"/>
              <a:gd name="connsiteY70" fmla="*/ 803354 h 5757591"/>
              <a:gd name="connsiteX71" fmla="*/ 7877772 w 8636594"/>
              <a:gd name="connsiteY71" fmla="*/ 764970 h 5757591"/>
              <a:gd name="connsiteX72" fmla="*/ 7909458 w 8636594"/>
              <a:gd name="connsiteY72" fmla="*/ 726853 h 5757591"/>
              <a:gd name="connsiteX73" fmla="*/ 7941371 w 8636594"/>
              <a:gd name="connsiteY73" fmla="*/ 689010 h 5757591"/>
              <a:gd name="connsiteX74" fmla="*/ 7973518 w 8636594"/>
              <a:gd name="connsiteY74" fmla="*/ 651447 h 5757591"/>
              <a:gd name="connsiteX75" fmla="*/ 8005905 w 8636594"/>
              <a:gd name="connsiteY75" fmla="*/ 614171 h 5757591"/>
              <a:gd name="connsiteX76" fmla="*/ 8038538 w 8636594"/>
              <a:gd name="connsiteY76" fmla="*/ 577189 h 5757591"/>
              <a:gd name="connsiteX77" fmla="*/ 8071421 w 8636594"/>
              <a:gd name="connsiteY77" fmla="*/ 540507 h 5757591"/>
              <a:gd name="connsiteX78" fmla="*/ 8104563 w 8636594"/>
              <a:gd name="connsiteY78" fmla="*/ 504132 h 5757591"/>
              <a:gd name="connsiteX79" fmla="*/ 8137967 w 8636594"/>
              <a:gd name="connsiteY79" fmla="*/ 468072 h 5757591"/>
              <a:gd name="connsiteX80" fmla="*/ 8171641 w 8636594"/>
              <a:gd name="connsiteY80" fmla="*/ 432332 h 5757591"/>
              <a:gd name="connsiteX81" fmla="*/ 8205590 w 8636594"/>
              <a:gd name="connsiteY81" fmla="*/ 396920 h 5757591"/>
              <a:gd name="connsiteX82" fmla="*/ 8239820 w 8636594"/>
              <a:gd name="connsiteY82" fmla="*/ 361843 h 5757591"/>
              <a:gd name="connsiteX83" fmla="*/ 8274337 w 8636594"/>
              <a:gd name="connsiteY83" fmla="*/ 327107 h 5757591"/>
              <a:gd name="connsiteX84" fmla="*/ 8309147 w 8636594"/>
              <a:gd name="connsiteY84" fmla="*/ 292718 h 5757591"/>
              <a:gd name="connsiteX85" fmla="*/ 8344256 w 8636594"/>
              <a:gd name="connsiteY85" fmla="*/ 258685 h 5757591"/>
              <a:gd name="connsiteX86" fmla="*/ 8379669 w 8636594"/>
              <a:gd name="connsiteY86" fmla="*/ 225013 h 5757591"/>
              <a:gd name="connsiteX87" fmla="*/ 8415394 w 8636594"/>
              <a:gd name="connsiteY87" fmla="*/ 191709 h 5757591"/>
              <a:gd name="connsiteX88" fmla="*/ 8451434 w 8636594"/>
              <a:gd name="connsiteY88" fmla="*/ 158780 h 5757591"/>
              <a:gd name="connsiteX89" fmla="*/ 8487798 w 8636594"/>
              <a:gd name="connsiteY89" fmla="*/ 126233 h 5757591"/>
              <a:gd name="connsiteX90" fmla="*/ 8524489 w 8636594"/>
              <a:gd name="connsiteY90" fmla="*/ 94075 h 5757591"/>
              <a:gd name="connsiteX91" fmla="*/ 8561515 w 8636594"/>
              <a:gd name="connsiteY91" fmla="*/ 62312 h 5757591"/>
              <a:gd name="connsiteX92" fmla="*/ 8598881 w 8636594"/>
              <a:gd name="connsiteY92" fmla="*/ 30951 h 5757591"/>
              <a:gd name="connsiteX93" fmla="*/ 8636594 w 8636594"/>
              <a:gd name="connsiteY93" fmla="*/ 0 h 5757591"/>
              <a:gd name="connsiteX0" fmla="*/ 8636594 w 8636594"/>
              <a:gd name="connsiteY0" fmla="*/ 0 h 5730912"/>
              <a:gd name="connsiteX1" fmla="*/ 5293 w 8636594"/>
              <a:gd name="connsiteY1" fmla="*/ 0 h 5730912"/>
              <a:gd name="connsiteX2" fmla="*/ 0 w 8636594"/>
              <a:gd name="connsiteY2" fmla="*/ 5587843 h 5730912"/>
              <a:gd name="connsiteX3" fmla="*/ 4254129 w 8636594"/>
              <a:gd name="connsiteY3" fmla="*/ 5730912 h 5730912"/>
              <a:gd name="connsiteX4" fmla="*/ 4289081 w 8636594"/>
              <a:gd name="connsiteY4" fmla="*/ 5703955 h 5730912"/>
              <a:gd name="connsiteX5" fmla="*/ 4323654 w 8636594"/>
              <a:gd name="connsiteY5" fmla="*/ 5676722 h 5730912"/>
              <a:gd name="connsiteX6" fmla="*/ 4357854 w 8636594"/>
              <a:gd name="connsiteY6" fmla="*/ 5649218 h 5730912"/>
              <a:gd name="connsiteX7" fmla="*/ 4391688 w 8636594"/>
              <a:gd name="connsiteY7" fmla="*/ 5621446 h 5730912"/>
              <a:gd name="connsiteX8" fmla="*/ 4425162 w 8636594"/>
              <a:gd name="connsiteY8" fmla="*/ 5593409 h 5730912"/>
              <a:gd name="connsiteX9" fmla="*/ 4458281 w 8636594"/>
              <a:gd name="connsiteY9" fmla="*/ 5565111 h 5730912"/>
              <a:gd name="connsiteX10" fmla="*/ 4491053 w 8636594"/>
              <a:gd name="connsiteY10" fmla="*/ 5536556 h 5730912"/>
              <a:gd name="connsiteX11" fmla="*/ 4523484 w 8636594"/>
              <a:gd name="connsiteY11" fmla="*/ 5507747 h 5730912"/>
              <a:gd name="connsiteX12" fmla="*/ 4555580 w 8636594"/>
              <a:gd name="connsiteY12" fmla="*/ 5478687 h 5730912"/>
              <a:gd name="connsiteX13" fmla="*/ 4587347 w 8636594"/>
              <a:gd name="connsiteY13" fmla="*/ 5449380 h 5730912"/>
              <a:gd name="connsiteX14" fmla="*/ 4618793 w 8636594"/>
              <a:gd name="connsiteY14" fmla="*/ 5419830 h 5730912"/>
              <a:gd name="connsiteX15" fmla="*/ 4649922 w 8636594"/>
              <a:gd name="connsiteY15" fmla="*/ 5390040 h 5730912"/>
              <a:gd name="connsiteX16" fmla="*/ 4680742 w 8636594"/>
              <a:gd name="connsiteY16" fmla="*/ 5360014 h 5730912"/>
              <a:gd name="connsiteX17" fmla="*/ 4711259 w 8636594"/>
              <a:gd name="connsiteY17" fmla="*/ 5329755 h 5730912"/>
              <a:gd name="connsiteX18" fmla="*/ 4741478 w 8636594"/>
              <a:gd name="connsiteY18" fmla="*/ 5299266 h 5730912"/>
              <a:gd name="connsiteX19" fmla="*/ 4771408 w 8636594"/>
              <a:gd name="connsiteY19" fmla="*/ 5268551 h 5730912"/>
              <a:gd name="connsiteX20" fmla="*/ 4801053 w 8636594"/>
              <a:gd name="connsiteY20" fmla="*/ 5237614 h 5730912"/>
              <a:gd name="connsiteX21" fmla="*/ 4830420 w 8636594"/>
              <a:gd name="connsiteY21" fmla="*/ 5206458 h 5730912"/>
              <a:gd name="connsiteX22" fmla="*/ 4859516 w 8636594"/>
              <a:gd name="connsiteY22" fmla="*/ 5175087 h 5730912"/>
              <a:gd name="connsiteX23" fmla="*/ 4888347 w 8636594"/>
              <a:gd name="connsiteY23" fmla="*/ 5143504 h 5730912"/>
              <a:gd name="connsiteX24" fmla="*/ 4916919 w 8636594"/>
              <a:gd name="connsiteY24" fmla="*/ 5111713 h 5730912"/>
              <a:gd name="connsiteX25" fmla="*/ 4945238 w 8636594"/>
              <a:gd name="connsiteY25" fmla="*/ 5079717 h 5730912"/>
              <a:gd name="connsiteX26" fmla="*/ 4973311 w 8636594"/>
              <a:gd name="connsiteY26" fmla="*/ 5047519 h 5730912"/>
              <a:gd name="connsiteX27" fmla="*/ 5001145 w 8636594"/>
              <a:gd name="connsiteY27" fmla="*/ 5015124 h 5730912"/>
              <a:gd name="connsiteX28" fmla="*/ 5028745 w 8636594"/>
              <a:gd name="connsiteY28" fmla="*/ 4982535 h 5730912"/>
              <a:gd name="connsiteX29" fmla="*/ 5056117 w 8636594"/>
              <a:gd name="connsiteY29" fmla="*/ 4949755 h 5730912"/>
              <a:gd name="connsiteX30" fmla="*/ 5083269 w 8636594"/>
              <a:gd name="connsiteY30" fmla="*/ 4916787 h 5730912"/>
              <a:gd name="connsiteX31" fmla="*/ 5110207 w 8636594"/>
              <a:gd name="connsiteY31" fmla="*/ 4883636 h 5730912"/>
              <a:gd name="connsiteX32" fmla="*/ 5136937 w 8636594"/>
              <a:gd name="connsiteY32" fmla="*/ 4850305 h 5730912"/>
              <a:gd name="connsiteX33" fmla="*/ 5163464 w 8636594"/>
              <a:gd name="connsiteY33" fmla="*/ 4816797 h 5730912"/>
              <a:gd name="connsiteX34" fmla="*/ 5215940 w 8636594"/>
              <a:gd name="connsiteY34" fmla="*/ 4749265 h 5730912"/>
              <a:gd name="connsiteX35" fmla="*/ 5267684 w 8636594"/>
              <a:gd name="connsiteY35" fmla="*/ 4681068 h 5730912"/>
              <a:gd name="connsiteX36" fmla="*/ 5318748 w 8636594"/>
              <a:gd name="connsiteY36" fmla="*/ 4612234 h 5730912"/>
              <a:gd name="connsiteX37" fmla="*/ 5369182 w 8636594"/>
              <a:gd name="connsiteY37" fmla="*/ 4542793 h 5730912"/>
              <a:gd name="connsiteX38" fmla="*/ 5419038 w 8636594"/>
              <a:gd name="connsiteY38" fmla="*/ 4472771 h 5730912"/>
              <a:gd name="connsiteX39" fmla="*/ 5468365 w 8636594"/>
              <a:gd name="connsiteY39" fmla="*/ 4402196 h 5730912"/>
              <a:gd name="connsiteX40" fmla="*/ 5517215 w 8636594"/>
              <a:gd name="connsiteY40" fmla="*/ 4331098 h 5730912"/>
              <a:gd name="connsiteX41" fmla="*/ 5565637 w 8636594"/>
              <a:gd name="connsiteY41" fmla="*/ 4259503 h 5730912"/>
              <a:gd name="connsiteX42" fmla="*/ 5613684 w 8636594"/>
              <a:gd name="connsiteY42" fmla="*/ 4187441 h 5730912"/>
              <a:gd name="connsiteX43" fmla="*/ 5685160 w 8636594"/>
              <a:gd name="connsiteY43" fmla="*/ 4078531 h 5730912"/>
              <a:gd name="connsiteX44" fmla="*/ 5756074 w 8636594"/>
              <a:gd name="connsiteY44" fmla="*/ 3968727 h 5730912"/>
              <a:gd name="connsiteX45" fmla="*/ 5873483 w 8636594"/>
              <a:gd name="connsiteY45" fmla="*/ 3783989 h 5730912"/>
              <a:gd name="connsiteX46" fmla="*/ 6203209 w 8636594"/>
              <a:gd name="connsiteY46" fmla="*/ 3258640 h 5730912"/>
              <a:gd name="connsiteX47" fmla="*/ 6299430 w 8636594"/>
              <a:gd name="connsiteY47" fmla="*/ 3107321 h 5730912"/>
              <a:gd name="connsiteX48" fmla="*/ 6372650 w 8636594"/>
              <a:gd name="connsiteY48" fmla="*/ 2993735 h 5730912"/>
              <a:gd name="connsiteX49" fmla="*/ 6453197 w 8636594"/>
              <a:gd name="connsiteY49" fmla="*/ 2869788 h 5730912"/>
              <a:gd name="connsiteX50" fmla="*/ 6564167 w 8636594"/>
              <a:gd name="connsiteY50" fmla="*/ 2696807 h 5730912"/>
              <a:gd name="connsiteX51" fmla="*/ 6976233 w 8636594"/>
              <a:gd name="connsiteY51" fmla="*/ 2045274 h 5730912"/>
              <a:gd name="connsiteX52" fmla="*/ 7086755 w 8636594"/>
              <a:gd name="connsiteY52" fmla="*/ 1872743 h 5730912"/>
              <a:gd name="connsiteX53" fmla="*/ 7170279 w 8636594"/>
              <a:gd name="connsiteY53" fmla="*/ 1744202 h 5730912"/>
              <a:gd name="connsiteX54" fmla="*/ 7226351 w 8636594"/>
              <a:gd name="connsiteY54" fmla="*/ 1659017 h 5730912"/>
              <a:gd name="connsiteX55" fmla="*/ 7282789 w 8636594"/>
              <a:gd name="connsiteY55" fmla="*/ 1574303 h 5730912"/>
              <a:gd name="connsiteX56" fmla="*/ 7339643 w 8636594"/>
              <a:gd name="connsiteY56" fmla="*/ 1490113 h 5730912"/>
              <a:gd name="connsiteX57" fmla="*/ 7396957 w 8636594"/>
              <a:gd name="connsiteY57" fmla="*/ 1406503 h 5730912"/>
              <a:gd name="connsiteX58" fmla="*/ 7454781 w 8636594"/>
              <a:gd name="connsiteY58" fmla="*/ 1323526 h 5730912"/>
              <a:gd name="connsiteX59" fmla="*/ 7513161 w 8636594"/>
              <a:gd name="connsiteY59" fmla="*/ 1241237 h 5730912"/>
              <a:gd name="connsiteX60" fmla="*/ 7572144 w 8636594"/>
              <a:gd name="connsiteY60" fmla="*/ 1159689 h 5730912"/>
              <a:gd name="connsiteX61" fmla="*/ 7601877 w 8636594"/>
              <a:gd name="connsiteY61" fmla="*/ 1119210 h 5730912"/>
              <a:gd name="connsiteX62" fmla="*/ 7631779 w 8636594"/>
              <a:gd name="connsiteY62" fmla="*/ 1078937 h 5730912"/>
              <a:gd name="connsiteX63" fmla="*/ 7661855 w 8636594"/>
              <a:gd name="connsiteY63" fmla="*/ 1038876 h 5730912"/>
              <a:gd name="connsiteX64" fmla="*/ 7692111 w 8636594"/>
              <a:gd name="connsiteY64" fmla="*/ 999035 h 5730912"/>
              <a:gd name="connsiteX65" fmla="*/ 7722554 w 8636594"/>
              <a:gd name="connsiteY65" fmla="*/ 959419 h 5730912"/>
              <a:gd name="connsiteX66" fmla="*/ 7753190 w 8636594"/>
              <a:gd name="connsiteY66" fmla="*/ 920037 h 5730912"/>
              <a:gd name="connsiteX67" fmla="*/ 7784023 w 8636594"/>
              <a:gd name="connsiteY67" fmla="*/ 880894 h 5730912"/>
              <a:gd name="connsiteX68" fmla="*/ 7815061 w 8636594"/>
              <a:gd name="connsiteY68" fmla="*/ 841997 h 5730912"/>
              <a:gd name="connsiteX69" fmla="*/ 7846308 w 8636594"/>
              <a:gd name="connsiteY69" fmla="*/ 803354 h 5730912"/>
              <a:gd name="connsiteX70" fmla="*/ 7877772 w 8636594"/>
              <a:gd name="connsiteY70" fmla="*/ 764970 h 5730912"/>
              <a:gd name="connsiteX71" fmla="*/ 7909458 w 8636594"/>
              <a:gd name="connsiteY71" fmla="*/ 726853 h 5730912"/>
              <a:gd name="connsiteX72" fmla="*/ 7941371 w 8636594"/>
              <a:gd name="connsiteY72" fmla="*/ 689010 h 5730912"/>
              <a:gd name="connsiteX73" fmla="*/ 7973518 w 8636594"/>
              <a:gd name="connsiteY73" fmla="*/ 651447 h 5730912"/>
              <a:gd name="connsiteX74" fmla="*/ 8005905 w 8636594"/>
              <a:gd name="connsiteY74" fmla="*/ 614171 h 5730912"/>
              <a:gd name="connsiteX75" fmla="*/ 8038538 w 8636594"/>
              <a:gd name="connsiteY75" fmla="*/ 577189 h 5730912"/>
              <a:gd name="connsiteX76" fmla="*/ 8071421 w 8636594"/>
              <a:gd name="connsiteY76" fmla="*/ 540507 h 5730912"/>
              <a:gd name="connsiteX77" fmla="*/ 8104563 w 8636594"/>
              <a:gd name="connsiteY77" fmla="*/ 504132 h 5730912"/>
              <a:gd name="connsiteX78" fmla="*/ 8137967 w 8636594"/>
              <a:gd name="connsiteY78" fmla="*/ 468072 h 5730912"/>
              <a:gd name="connsiteX79" fmla="*/ 8171641 w 8636594"/>
              <a:gd name="connsiteY79" fmla="*/ 432332 h 5730912"/>
              <a:gd name="connsiteX80" fmla="*/ 8205590 w 8636594"/>
              <a:gd name="connsiteY80" fmla="*/ 396920 h 5730912"/>
              <a:gd name="connsiteX81" fmla="*/ 8239820 w 8636594"/>
              <a:gd name="connsiteY81" fmla="*/ 361843 h 5730912"/>
              <a:gd name="connsiteX82" fmla="*/ 8274337 w 8636594"/>
              <a:gd name="connsiteY82" fmla="*/ 327107 h 5730912"/>
              <a:gd name="connsiteX83" fmla="*/ 8309147 w 8636594"/>
              <a:gd name="connsiteY83" fmla="*/ 292718 h 5730912"/>
              <a:gd name="connsiteX84" fmla="*/ 8344256 w 8636594"/>
              <a:gd name="connsiteY84" fmla="*/ 258685 h 5730912"/>
              <a:gd name="connsiteX85" fmla="*/ 8379669 w 8636594"/>
              <a:gd name="connsiteY85" fmla="*/ 225013 h 5730912"/>
              <a:gd name="connsiteX86" fmla="*/ 8415394 w 8636594"/>
              <a:gd name="connsiteY86" fmla="*/ 191709 h 5730912"/>
              <a:gd name="connsiteX87" fmla="*/ 8451434 w 8636594"/>
              <a:gd name="connsiteY87" fmla="*/ 158780 h 5730912"/>
              <a:gd name="connsiteX88" fmla="*/ 8487798 w 8636594"/>
              <a:gd name="connsiteY88" fmla="*/ 126233 h 5730912"/>
              <a:gd name="connsiteX89" fmla="*/ 8524489 w 8636594"/>
              <a:gd name="connsiteY89" fmla="*/ 94075 h 5730912"/>
              <a:gd name="connsiteX90" fmla="*/ 8561515 w 8636594"/>
              <a:gd name="connsiteY90" fmla="*/ 62312 h 5730912"/>
              <a:gd name="connsiteX91" fmla="*/ 8598881 w 8636594"/>
              <a:gd name="connsiteY91" fmla="*/ 30951 h 5730912"/>
              <a:gd name="connsiteX92" fmla="*/ 8636594 w 8636594"/>
              <a:gd name="connsiteY92" fmla="*/ 0 h 5730912"/>
              <a:gd name="connsiteX0" fmla="*/ 8636594 w 8636594"/>
              <a:gd name="connsiteY0" fmla="*/ 0 h 5703955"/>
              <a:gd name="connsiteX1" fmla="*/ 5293 w 8636594"/>
              <a:gd name="connsiteY1" fmla="*/ 0 h 5703955"/>
              <a:gd name="connsiteX2" fmla="*/ 0 w 8636594"/>
              <a:gd name="connsiteY2" fmla="*/ 5587843 h 5703955"/>
              <a:gd name="connsiteX3" fmla="*/ 4289081 w 8636594"/>
              <a:gd name="connsiteY3" fmla="*/ 5703955 h 5703955"/>
              <a:gd name="connsiteX4" fmla="*/ 4323654 w 8636594"/>
              <a:gd name="connsiteY4" fmla="*/ 5676722 h 5703955"/>
              <a:gd name="connsiteX5" fmla="*/ 4357854 w 8636594"/>
              <a:gd name="connsiteY5" fmla="*/ 5649218 h 5703955"/>
              <a:gd name="connsiteX6" fmla="*/ 4391688 w 8636594"/>
              <a:gd name="connsiteY6" fmla="*/ 5621446 h 5703955"/>
              <a:gd name="connsiteX7" fmla="*/ 4425162 w 8636594"/>
              <a:gd name="connsiteY7" fmla="*/ 5593409 h 5703955"/>
              <a:gd name="connsiteX8" fmla="*/ 4458281 w 8636594"/>
              <a:gd name="connsiteY8" fmla="*/ 5565111 h 5703955"/>
              <a:gd name="connsiteX9" fmla="*/ 4491053 w 8636594"/>
              <a:gd name="connsiteY9" fmla="*/ 5536556 h 5703955"/>
              <a:gd name="connsiteX10" fmla="*/ 4523484 w 8636594"/>
              <a:gd name="connsiteY10" fmla="*/ 5507747 h 5703955"/>
              <a:gd name="connsiteX11" fmla="*/ 4555580 w 8636594"/>
              <a:gd name="connsiteY11" fmla="*/ 5478687 h 5703955"/>
              <a:gd name="connsiteX12" fmla="*/ 4587347 w 8636594"/>
              <a:gd name="connsiteY12" fmla="*/ 5449380 h 5703955"/>
              <a:gd name="connsiteX13" fmla="*/ 4618793 w 8636594"/>
              <a:gd name="connsiteY13" fmla="*/ 5419830 h 5703955"/>
              <a:gd name="connsiteX14" fmla="*/ 4649922 w 8636594"/>
              <a:gd name="connsiteY14" fmla="*/ 5390040 h 5703955"/>
              <a:gd name="connsiteX15" fmla="*/ 4680742 w 8636594"/>
              <a:gd name="connsiteY15" fmla="*/ 5360014 h 5703955"/>
              <a:gd name="connsiteX16" fmla="*/ 4711259 w 8636594"/>
              <a:gd name="connsiteY16" fmla="*/ 5329755 h 5703955"/>
              <a:gd name="connsiteX17" fmla="*/ 4741478 w 8636594"/>
              <a:gd name="connsiteY17" fmla="*/ 5299266 h 5703955"/>
              <a:gd name="connsiteX18" fmla="*/ 4771408 w 8636594"/>
              <a:gd name="connsiteY18" fmla="*/ 5268551 h 5703955"/>
              <a:gd name="connsiteX19" fmla="*/ 4801053 w 8636594"/>
              <a:gd name="connsiteY19" fmla="*/ 5237614 h 5703955"/>
              <a:gd name="connsiteX20" fmla="*/ 4830420 w 8636594"/>
              <a:gd name="connsiteY20" fmla="*/ 5206458 h 5703955"/>
              <a:gd name="connsiteX21" fmla="*/ 4859516 w 8636594"/>
              <a:gd name="connsiteY21" fmla="*/ 5175087 h 5703955"/>
              <a:gd name="connsiteX22" fmla="*/ 4888347 w 8636594"/>
              <a:gd name="connsiteY22" fmla="*/ 5143504 h 5703955"/>
              <a:gd name="connsiteX23" fmla="*/ 4916919 w 8636594"/>
              <a:gd name="connsiteY23" fmla="*/ 5111713 h 5703955"/>
              <a:gd name="connsiteX24" fmla="*/ 4945238 w 8636594"/>
              <a:gd name="connsiteY24" fmla="*/ 5079717 h 5703955"/>
              <a:gd name="connsiteX25" fmla="*/ 4973311 w 8636594"/>
              <a:gd name="connsiteY25" fmla="*/ 5047519 h 5703955"/>
              <a:gd name="connsiteX26" fmla="*/ 5001145 w 8636594"/>
              <a:gd name="connsiteY26" fmla="*/ 5015124 h 5703955"/>
              <a:gd name="connsiteX27" fmla="*/ 5028745 w 8636594"/>
              <a:gd name="connsiteY27" fmla="*/ 4982535 h 5703955"/>
              <a:gd name="connsiteX28" fmla="*/ 5056117 w 8636594"/>
              <a:gd name="connsiteY28" fmla="*/ 4949755 h 5703955"/>
              <a:gd name="connsiteX29" fmla="*/ 5083269 w 8636594"/>
              <a:gd name="connsiteY29" fmla="*/ 4916787 h 5703955"/>
              <a:gd name="connsiteX30" fmla="*/ 5110207 w 8636594"/>
              <a:gd name="connsiteY30" fmla="*/ 4883636 h 5703955"/>
              <a:gd name="connsiteX31" fmla="*/ 5136937 w 8636594"/>
              <a:gd name="connsiteY31" fmla="*/ 4850305 h 5703955"/>
              <a:gd name="connsiteX32" fmla="*/ 5163464 w 8636594"/>
              <a:gd name="connsiteY32" fmla="*/ 4816797 h 5703955"/>
              <a:gd name="connsiteX33" fmla="*/ 5215940 w 8636594"/>
              <a:gd name="connsiteY33" fmla="*/ 4749265 h 5703955"/>
              <a:gd name="connsiteX34" fmla="*/ 5267684 w 8636594"/>
              <a:gd name="connsiteY34" fmla="*/ 4681068 h 5703955"/>
              <a:gd name="connsiteX35" fmla="*/ 5318748 w 8636594"/>
              <a:gd name="connsiteY35" fmla="*/ 4612234 h 5703955"/>
              <a:gd name="connsiteX36" fmla="*/ 5369182 w 8636594"/>
              <a:gd name="connsiteY36" fmla="*/ 4542793 h 5703955"/>
              <a:gd name="connsiteX37" fmla="*/ 5419038 w 8636594"/>
              <a:gd name="connsiteY37" fmla="*/ 4472771 h 5703955"/>
              <a:gd name="connsiteX38" fmla="*/ 5468365 w 8636594"/>
              <a:gd name="connsiteY38" fmla="*/ 4402196 h 5703955"/>
              <a:gd name="connsiteX39" fmla="*/ 5517215 w 8636594"/>
              <a:gd name="connsiteY39" fmla="*/ 4331098 h 5703955"/>
              <a:gd name="connsiteX40" fmla="*/ 5565637 w 8636594"/>
              <a:gd name="connsiteY40" fmla="*/ 4259503 h 5703955"/>
              <a:gd name="connsiteX41" fmla="*/ 5613684 w 8636594"/>
              <a:gd name="connsiteY41" fmla="*/ 4187441 h 5703955"/>
              <a:gd name="connsiteX42" fmla="*/ 5685160 w 8636594"/>
              <a:gd name="connsiteY42" fmla="*/ 4078531 h 5703955"/>
              <a:gd name="connsiteX43" fmla="*/ 5756074 w 8636594"/>
              <a:gd name="connsiteY43" fmla="*/ 3968727 h 5703955"/>
              <a:gd name="connsiteX44" fmla="*/ 5873483 w 8636594"/>
              <a:gd name="connsiteY44" fmla="*/ 3783989 h 5703955"/>
              <a:gd name="connsiteX45" fmla="*/ 6203209 w 8636594"/>
              <a:gd name="connsiteY45" fmla="*/ 3258640 h 5703955"/>
              <a:gd name="connsiteX46" fmla="*/ 6299430 w 8636594"/>
              <a:gd name="connsiteY46" fmla="*/ 3107321 h 5703955"/>
              <a:gd name="connsiteX47" fmla="*/ 6372650 w 8636594"/>
              <a:gd name="connsiteY47" fmla="*/ 2993735 h 5703955"/>
              <a:gd name="connsiteX48" fmla="*/ 6453197 w 8636594"/>
              <a:gd name="connsiteY48" fmla="*/ 2869788 h 5703955"/>
              <a:gd name="connsiteX49" fmla="*/ 6564167 w 8636594"/>
              <a:gd name="connsiteY49" fmla="*/ 2696807 h 5703955"/>
              <a:gd name="connsiteX50" fmla="*/ 6976233 w 8636594"/>
              <a:gd name="connsiteY50" fmla="*/ 2045274 h 5703955"/>
              <a:gd name="connsiteX51" fmla="*/ 7086755 w 8636594"/>
              <a:gd name="connsiteY51" fmla="*/ 1872743 h 5703955"/>
              <a:gd name="connsiteX52" fmla="*/ 7170279 w 8636594"/>
              <a:gd name="connsiteY52" fmla="*/ 1744202 h 5703955"/>
              <a:gd name="connsiteX53" fmla="*/ 7226351 w 8636594"/>
              <a:gd name="connsiteY53" fmla="*/ 1659017 h 5703955"/>
              <a:gd name="connsiteX54" fmla="*/ 7282789 w 8636594"/>
              <a:gd name="connsiteY54" fmla="*/ 1574303 h 5703955"/>
              <a:gd name="connsiteX55" fmla="*/ 7339643 w 8636594"/>
              <a:gd name="connsiteY55" fmla="*/ 1490113 h 5703955"/>
              <a:gd name="connsiteX56" fmla="*/ 7396957 w 8636594"/>
              <a:gd name="connsiteY56" fmla="*/ 1406503 h 5703955"/>
              <a:gd name="connsiteX57" fmla="*/ 7454781 w 8636594"/>
              <a:gd name="connsiteY57" fmla="*/ 1323526 h 5703955"/>
              <a:gd name="connsiteX58" fmla="*/ 7513161 w 8636594"/>
              <a:gd name="connsiteY58" fmla="*/ 1241237 h 5703955"/>
              <a:gd name="connsiteX59" fmla="*/ 7572144 w 8636594"/>
              <a:gd name="connsiteY59" fmla="*/ 1159689 h 5703955"/>
              <a:gd name="connsiteX60" fmla="*/ 7601877 w 8636594"/>
              <a:gd name="connsiteY60" fmla="*/ 1119210 h 5703955"/>
              <a:gd name="connsiteX61" fmla="*/ 7631779 w 8636594"/>
              <a:gd name="connsiteY61" fmla="*/ 1078937 h 5703955"/>
              <a:gd name="connsiteX62" fmla="*/ 7661855 w 8636594"/>
              <a:gd name="connsiteY62" fmla="*/ 1038876 h 5703955"/>
              <a:gd name="connsiteX63" fmla="*/ 7692111 w 8636594"/>
              <a:gd name="connsiteY63" fmla="*/ 999035 h 5703955"/>
              <a:gd name="connsiteX64" fmla="*/ 7722554 w 8636594"/>
              <a:gd name="connsiteY64" fmla="*/ 959419 h 5703955"/>
              <a:gd name="connsiteX65" fmla="*/ 7753190 w 8636594"/>
              <a:gd name="connsiteY65" fmla="*/ 920037 h 5703955"/>
              <a:gd name="connsiteX66" fmla="*/ 7784023 w 8636594"/>
              <a:gd name="connsiteY66" fmla="*/ 880894 h 5703955"/>
              <a:gd name="connsiteX67" fmla="*/ 7815061 w 8636594"/>
              <a:gd name="connsiteY67" fmla="*/ 841997 h 5703955"/>
              <a:gd name="connsiteX68" fmla="*/ 7846308 w 8636594"/>
              <a:gd name="connsiteY68" fmla="*/ 803354 h 5703955"/>
              <a:gd name="connsiteX69" fmla="*/ 7877772 w 8636594"/>
              <a:gd name="connsiteY69" fmla="*/ 764970 h 5703955"/>
              <a:gd name="connsiteX70" fmla="*/ 7909458 w 8636594"/>
              <a:gd name="connsiteY70" fmla="*/ 726853 h 5703955"/>
              <a:gd name="connsiteX71" fmla="*/ 7941371 w 8636594"/>
              <a:gd name="connsiteY71" fmla="*/ 689010 h 5703955"/>
              <a:gd name="connsiteX72" fmla="*/ 7973518 w 8636594"/>
              <a:gd name="connsiteY72" fmla="*/ 651447 h 5703955"/>
              <a:gd name="connsiteX73" fmla="*/ 8005905 w 8636594"/>
              <a:gd name="connsiteY73" fmla="*/ 614171 h 5703955"/>
              <a:gd name="connsiteX74" fmla="*/ 8038538 w 8636594"/>
              <a:gd name="connsiteY74" fmla="*/ 577189 h 5703955"/>
              <a:gd name="connsiteX75" fmla="*/ 8071421 w 8636594"/>
              <a:gd name="connsiteY75" fmla="*/ 540507 h 5703955"/>
              <a:gd name="connsiteX76" fmla="*/ 8104563 w 8636594"/>
              <a:gd name="connsiteY76" fmla="*/ 504132 h 5703955"/>
              <a:gd name="connsiteX77" fmla="*/ 8137967 w 8636594"/>
              <a:gd name="connsiteY77" fmla="*/ 468072 h 5703955"/>
              <a:gd name="connsiteX78" fmla="*/ 8171641 w 8636594"/>
              <a:gd name="connsiteY78" fmla="*/ 432332 h 5703955"/>
              <a:gd name="connsiteX79" fmla="*/ 8205590 w 8636594"/>
              <a:gd name="connsiteY79" fmla="*/ 396920 h 5703955"/>
              <a:gd name="connsiteX80" fmla="*/ 8239820 w 8636594"/>
              <a:gd name="connsiteY80" fmla="*/ 361843 h 5703955"/>
              <a:gd name="connsiteX81" fmla="*/ 8274337 w 8636594"/>
              <a:gd name="connsiteY81" fmla="*/ 327107 h 5703955"/>
              <a:gd name="connsiteX82" fmla="*/ 8309147 w 8636594"/>
              <a:gd name="connsiteY82" fmla="*/ 292718 h 5703955"/>
              <a:gd name="connsiteX83" fmla="*/ 8344256 w 8636594"/>
              <a:gd name="connsiteY83" fmla="*/ 258685 h 5703955"/>
              <a:gd name="connsiteX84" fmla="*/ 8379669 w 8636594"/>
              <a:gd name="connsiteY84" fmla="*/ 225013 h 5703955"/>
              <a:gd name="connsiteX85" fmla="*/ 8415394 w 8636594"/>
              <a:gd name="connsiteY85" fmla="*/ 191709 h 5703955"/>
              <a:gd name="connsiteX86" fmla="*/ 8451434 w 8636594"/>
              <a:gd name="connsiteY86" fmla="*/ 158780 h 5703955"/>
              <a:gd name="connsiteX87" fmla="*/ 8487798 w 8636594"/>
              <a:gd name="connsiteY87" fmla="*/ 126233 h 5703955"/>
              <a:gd name="connsiteX88" fmla="*/ 8524489 w 8636594"/>
              <a:gd name="connsiteY88" fmla="*/ 94075 h 5703955"/>
              <a:gd name="connsiteX89" fmla="*/ 8561515 w 8636594"/>
              <a:gd name="connsiteY89" fmla="*/ 62312 h 5703955"/>
              <a:gd name="connsiteX90" fmla="*/ 8598881 w 8636594"/>
              <a:gd name="connsiteY90" fmla="*/ 30951 h 5703955"/>
              <a:gd name="connsiteX91" fmla="*/ 8636594 w 8636594"/>
              <a:gd name="connsiteY91" fmla="*/ 0 h 5703955"/>
              <a:gd name="connsiteX0" fmla="*/ 8636594 w 8636594"/>
              <a:gd name="connsiteY0" fmla="*/ 0 h 5676722"/>
              <a:gd name="connsiteX1" fmla="*/ 5293 w 8636594"/>
              <a:gd name="connsiteY1" fmla="*/ 0 h 5676722"/>
              <a:gd name="connsiteX2" fmla="*/ 0 w 8636594"/>
              <a:gd name="connsiteY2" fmla="*/ 5587843 h 5676722"/>
              <a:gd name="connsiteX3" fmla="*/ 4323654 w 8636594"/>
              <a:gd name="connsiteY3" fmla="*/ 5676722 h 5676722"/>
              <a:gd name="connsiteX4" fmla="*/ 4357854 w 8636594"/>
              <a:gd name="connsiteY4" fmla="*/ 5649218 h 5676722"/>
              <a:gd name="connsiteX5" fmla="*/ 4391688 w 8636594"/>
              <a:gd name="connsiteY5" fmla="*/ 5621446 h 5676722"/>
              <a:gd name="connsiteX6" fmla="*/ 4425162 w 8636594"/>
              <a:gd name="connsiteY6" fmla="*/ 5593409 h 5676722"/>
              <a:gd name="connsiteX7" fmla="*/ 4458281 w 8636594"/>
              <a:gd name="connsiteY7" fmla="*/ 5565111 h 5676722"/>
              <a:gd name="connsiteX8" fmla="*/ 4491053 w 8636594"/>
              <a:gd name="connsiteY8" fmla="*/ 5536556 h 5676722"/>
              <a:gd name="connsiteX9" fmla="*/ 4523484 w 8636594"/>
              <a:gd name="connsiteY9" fmla="*/ 5507747 h 5676722"/>
              <a:gd name="connsiteX10" fmla="*/ 4555580 w 8636594"/>
              <a:gd name="connsiteY10" fmla="*/ 5478687 h 5676722"/>
              <a:gd name="connsiteX11" fmla="*/ 4587347 w 8636594"/>
              <a:gd name="connsiteY11" fmla="*/ 5449380 h 5676722"/>
              <a:gd name="connsiteX12" fmla="*/ 4618793 w 8636594"/>
              <a:gd name="connsiteY12" fmla="*/ 5419830 h 5676722"/>
              <a:gd name="connsiteX13" fmla="*/ 4649922 w 8636594"/>
              <a:gd name="connsiteY13" fmla="*/ 5390040 h 5676722"/>
              <a:gd name="connsiteX14" fmla="*/ 4680742 w 8636594"/>
              <a:gd name="connsiteY14" fmla="*/ 5360014 h 5676722"/>
              <a:gd name="connsiteX15" fmla="*/ 4711259 w 8636594"/>
              <a:gd name="connsiteY15" fmla="*/ 5329755 h 5676722"/>
              <a:gd name="connsiteX16" fmla="*/ 4741478 w 8636594"/>
              <a:gd name="connsiteY16" fmla="*/ 5299266 h 5676722"/>
              <a:gd name="connsiteX17" fmla="*/ 4771408 w 8636594"/>
              <a:gd name="connsiteY17" fmla="*/ 5268551 h 5676722"/>
              <a:gd name="connsiteX18" fmla="*/ 4801053 w 8636594"/>
              <a:gd name="connsiteY18" fmla="*/ 5237614 h 5676722"/>
              <a:gd name="connsiteX19" fmla="*/ 4830420 w 8636594"/>
              <a:gd name="connsiteY19" fmla="*/ 5206458 h 5676722"/>
              <a:gd name="connsiteX20" fmla="*/ 4859516 w 8636594"/>
              <a:gd name="connsiteY20" fmla="*/ 5175087 h 5676722"/>
              <a:gd name="connsiteX21" fmla="*/ 4888347 w 8636594"/>
              <a:gd name="connsiteY21" fmla="*/ 5143504 h 5676722"/>
              <a:gd name="connsiteX22" fmla="*/ 4916919 w 8636594"/>
              <a:gd name="connsiteY22" fmla="*/ 5111713 h 5676722"/>
              <a:gd name="connsiteX23" fmla="*/ 4945238 w 8636594"/>
              <a:gd name="connsiteY23" fmla="*/ 5079717 h 5676722"/>
              <a:gd name="connsiteX24" fmla="*/ 4973311 w 8636594"/>
              <a:gd name="connsiteY24" fmla="*/ 5047519 h 5676722"/>
              <a:gd name="connsiteX25" fmla="*/ 5001145 w 8636594"/>
              <a:gd name="connsiteY25" fmla="*/ 5015124 h 5676722"/>
              <a:gd name="connsiteX26" fmla="*/ 5028745 w 8636594"/>
              <a:gd name="connsiteY26" fmla="*/ 4982535 h 5676722"/>
              <a:gd name="connsiteX27" fmla="*/ 5056117 w 8636594"/>
              <a:gd name="connsiteY27" fmla="*/ 4949755 h 5676722"/>
              <a:gd name="connsiteX28" fmla="*/ 5083269 w 8636594"/>
              <a:gd name="connsiteY28" fmla="*/ 4916787 h 5676722"/>
              <a:gd name="connsiteX29" fmla="*/ 5110207 w 8636594"/>
              <a:gd name="connsiteY29" fmla="*/ 4883636 h 5676722"/>
              <a:gd name="connsiteX30" fmla="*/ 5136937 w 8636594"/>
              <a:gd name="connsiteY30" fmla="*/ 4850305 h 5676722"/>
              <a:gd name="connsiteX31" fmla="*/ 5163464 w 8636594"/>
              <a:gd name="connsiteY31" fmla="*/ 4816797 h 5676722"/>
              <a:gd name="connsiteX32" fmla="*/ 5215940 w 8636594"/>
              <a:gd name="connsiteY32" fmla="*/ 4749265 h 5676722"/>
              <a:gd name="connsiteX33" fmla="*/ 5267684 w 8636594"/>
              <a:gd name="connsiteY33" fmla="*/ 4681068 h 5676722"/>
              <a:gd name="connsiteX34" fmla="*/ 5318748 w 8636594"/>
              <a:gd name="connsiteY34" fmla="*/ 4612234 h 5676722"/>
              <a:gd name="connsiteX35" fmla="*/ 5369182 w 8636594"/>
              <a:gd name="connsiteY35" fmla="*/ 4542793 h 5676722"/>
              <a:gd name="connsiteX36" fmla="*/ 5419038 w 8636594"/>
              <a:gd name="connsiteY36" fmla="*/ 4472771 h 5676722"/>
              <a:gd name="connsiteX37" fmla="*/ 5468365 w 8636594"/>
              <a:gd name="connsiteY37" fmla="*/ 4402196 h 5676722"/>
              <a:gd name="connsiteX38" fmla="*/ 5517215 w 8636594"/>
              <a:gd name="connsiteY38" fmla="*/ 4331098 h 5676722"/>
              <a:gd name="connsiteX39" fmla="*/ 5565637 w 8636594"/>
              <a:gd name="connsiteY39" fmla="*/ 4259503 h 5676722"/>
              <a:gd name="connsiteX40" fmla="*/ 5613684 w 8636594"/>
              <a:gd name="connsiteY40" fmla="*/ 4187441 h 5676722"/>
              <a:gd name="connsiteX41" fmla="*/ 5685160 w 8636594"/>
              <a:gd name="connsiteY41" fmla="*/ 4078531 h 5676722"/>
              <a:gd name="connsiteX42" fmla="*/ 5756074 w 8636594"/>
              <a:gd name="connsiteY42" fmla="*/ 3968727 h 5676722"/>
              <a:gd name="connsiteX43" fmla="*/ 5873483 w 8636594"/>
              <a:gd name="connsiteY43" fmla="*/ 3783989 h 5676722"/>
              <a:gd name="connsiteX44" fmla="*/ 6203209 w 8636594"/>
              <a:gd name="connsiteY44" fmla="*/ 3258640 h 5676722"/>
              <a:gd name="connsiteX45" fmla="*/ 6299430 w 8636594"/>
              <a:gd name="connsiteY45" fmla="*/ 3107321 h 5676722"/>
              <a:gd name="connsiteX46" fmla="*/ 6372650 w 8636594"/>
              <a:gd name="connsiteY46" fmla="*/ 2993735 h 5676722"/>
              <a:gd name="connsiteX47" fmla="*/ 6453197 w 8636594"/>
              <a:gd name="connsiteY47" fmla="*/ 2869788 h 5676722"/>
              <a:gd name="connsiteX48" fmla="*/ 6564167 w 8636594"/>
              <a:gd name="connsiteY48" fmla="*/ 2696807 h 5676722"/>
              <a:gd name="connsiteX49" fmla="*/ 6976233 w 8636594"/>
              <a:gd name="connsiteY49" fmla="*/ 2045274 h 5676722"/>
              <a:gd name="connsiteX50" fmla="*/ 7086755 w 8636594"/>
              <a:gd name="connsiteY50" fmla="*/ 1872743 h 5676722"/>
              <a:gd name="connsiteX51" fmla="*/ 7170279 w 8636594"/>
              <a:gd name="connsiteY51" fmla="*/ 1744202 h 5676722"/>
              <a:gd name="connsiteX52" fmla="*/ 7226351 w 8636594"/>
              <a:gd name="connsiteY52" fmla="*/ 1659017 h 5676722"/>
              <a:gd name="connsiteX53" fmla="*/ 7282789 w 8636594"/>
              <a:gd name="connsiteY53" fmla="*/ 1574303 h 5676722"/>
              <a:gd name="connsiteX54" fmla="*/ 7339643 w 8636594"/>
              <a:gd name="connsiteY54" fmla="*/ 1490113 h 5676722"/>
              <a:gd name="connsiteX55" fmla="*/ 7396957 w 8636594"/>
              <a:gd name="connsiteY55" fmla="*/ 1406503 h 5676722"/>
              <a:gd name="connsiteX56" fmla="*/ 7454781 w 8636594"/>
              <a:gd name="connsiteY56" fmla="*/ 1323526 h 5676722"/>
              <a:gd name="connsiteX57" fmla="*/ 7513161 w 8636594"/>
              <a:gd name="connsiteY57" fmla="*/ 1241237 h 5676722"/>
              <a:gd name="connsiteX58" fmla="*/ 7572144 w 8636594"/>
              <a:gd name="connsiteY58" fmla="*/ 1159689 h 5676722"/>
              <a:gd name="connsiteX59" fmla="*/ 7601877 w 8636594"/>
              <a:gd name="connsiteY59" fmla="*/ 1119210 h 5676722"/>
              <a:gd name="connsiteX60" fmla="*/ 7631779 w 8636594"/>
              <a:gd name="connsiteY60" fmla="*/ 1078937 h 5676722"/>
              <a:gd name="connsiteX61" fmla="*/ 7661855 w 8636594"/>
              <a:gd name="connsiteY61" fmla="*/ 1038876 h 5676722"/>
              <a:gd name="connsiteX62" fmla="*/ 7692111 w 8636594"/>
              <a:gd name="connsiteY62" fmla="*/ 999035 h 5676722"/>
              <a:gd name="connsiteX63" fmla="*/ 7722554 w 8636594"/>
              <a:gd name="connsiteY63" fmla="*/ 959419 h 5676722"/>
              <a:gd name="connsiteX64" fmla="*/ 7753190 w 8636594"/>
              <a:gd name="connsiteY64" fmla="*/ 920037 h 5676722"/>
              <a:gd name="connsiteX65" fmla="*/ 7784023 w 8636594"/>
              <a:gd name="connsiteY65" fmla="*/ 880894 h 5676722"/>
              <a:gd name="connsiteX66" fmla="*/ 7815061 w 8636594"/>
              <a:gd name="connsiteY66" fmla="*/ 841997 h 5676722"/>
              <a:gd name="connsiteX67" fmla="*/ 7846308 w 8636594"/>
              <a:gd name="connsiteY67" fmla="*/ 803354 h 5676722"/>
              <a:gd name="connsiteX68" fmla="*/ 7877772 w 8636594"/>
              <a:gd name="connsiteY68" fmla="*/ 764970 h 5676722"/>
              <a:gd name="connsiteX69" fmla="*/ 7909458 w 8636594"/>
              <a:gd name="connsiteY69" fmla="*/ 726853 h 5676722"/>
              <a:gd name="connsiteX70" fmla="*/ 7941371 w 8636594"/>
              <a:gd name="connsiteY70" fmla="*/ 689010 h 5676722"/>
              <a:gd name="connsiteX71" fmla="*/ 7973518 w 8636594"/>
              <a:gd name="connsiteY71" fmla="*/ 651447 h 5676722"/>
              <a:gd name="connsiteX72" fmla="*/ 8005905 w 8636594"/>
              <a:gd name="connsiteY72" fmla="*/ 614171 h 5676722"/>
              <a:gd name="connsiteX73" fmla="*/ 8038538 w 8636594"/>
              <a:gd name="connsiteY73" fmla="*/ 577189 h 5676722"/>
              <a:gd name="connsiteX74" fmla="*/ 8071421 w 8636594"/>
              <a:gd name="connsiteY74" fmla="*/ 540507 h 5676722"/>
              <a:gd name="connsiteX75" fmla="*/ 8104563 w 8636594"/>
              <a:gd name="connsiteY75" fmla="*/ 504132 h 5676722"/>
              <a:gd name="connsiteX76" fmla="*/ 8137967 w 8636594"/>
              <a:gd name="connsiteY76" fmla="*/ 468072 h 5676722"/>
              <a:gd name="connsiteX77" fmla="*/ 8171641 w 8636594"/>
              <a:gd name="connsiteY77" fmla="*/ 432332 h 5676722"/>
              <a:gd name="connsiteX78" fmla="*/ 8205590 w 8636594"/>
              <a:gd name="connsiteY78" fmla="*/ 396920 h 5676722"/>
              <a:gd name="connsiteX79" fmla="*/ 8239820 w 8636594"/>
              <a:gd name="connsiteY79" fmla="*/ 361843 h 5676722"/>
              <a:gd name="connsiteX80" fmla="*/ 8274337 w 8636594"/>
              <a:gd name="connsiteY80" fmla="*/ 327107 h 5676722"/>
              <a:gd name="connsiteX81" fmla="*/ 8309147 w 8636594"/>
              <a:gd name="connsiteY81" fmla="*/ 292718 h 5676722"/>
              <a:gd name="connsiteX82" fmla="*/ 8344256 w 8636594"/>
              <a:gd name="connsiteY82" fmla="*/ 258685 h 5676722"/>
              <a:gd name="connsiteX83" fmla="*/ 8379669 w 8636594"/>
              <a:gd name="connsiteY83" fmla="*/ 225013 h 5676722"/>
              <a:gd name="connsiteX84" fmla="*/ 8415394 w 8636594"/>
              <a:gd name="connsiteY84" fmla="*/ 191709 h 5676722"/>
              <a:gd name="connsiteX85" fmla="*/ 8451434 w 8636594"/>
              <a:gd name="connsiteY85" fmla="*/ 158780 h 5676722"/>
              <a:gd name="connsiteX86" fmla="*/ 8487798 w 8636594"/>
              <a:gd name="connsiteY86" fmla="*/ 126233 h 5676722"/>
              <a:gd name="connsiteX87" fmla="*/ 8524489 w 8636594"/>
              <a:gd name="connsiteY87" fmla="*/ 94075 h 5676722"/>
              <a:gd name="connsiteX88" fmla="*/ 8561515 w 8636594"/>
              <a:gd name="connsiteY88" fmla="*/ 62312 h 5676722"/>
              <a:gd name="connsiteX89" fmla="*/ 8598881 w 8636594"/>
              <a:gd name="connsiteY89" fmla="*/ 30951 h 5676722"/>
              <a:gd name="connsiteX90" fmla="*/ 8636594 w 8636594"/>
              <a:gd name="connsiteY90" fmla="*/ 0 h 5676722"/>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391688 w 8636594"/>
              <a:gd name="connsiteY4" fmla="*/ 5621446 h 5649218"/>
              <a:gd name="connsiteX5" fmla="*/ 4425162 w 8636594"/>
              <a:gd name="connsiteY5" fmla="*/ 5593409 h 5649218"/>
              <a:gd name="connsiteX6" fmla="*/ 4458281 w 8636594"/>
              <a:gd name="connsiteY6" fmla="*/ 5565111 h 5649218"/>
              <a:gd name="connsiteX7" fmla="*/ 4491053 w 8636594"/>
              <a:gd name="connsiteY7" fmla="*/ 5536556 h 5649218"/>
              <a:gd name="connsiteX8" fmla="*/ 4523484 w 8636594"/>
              <a:gd name="connsiteY8" fmla="*/ 5507747 h 5649218"/>
              <a:gd name="connsiteX9" fmla="*/ 4555580 w 8636594"/>
              <a:gd name="connsiteY9" fmla="*/ 5478687 h 5649218"/>
              <a:gd name="connsiteX10" fmla="*/ 4587347 w 8636594"/>
              <a:gd name="connsiteY10" fmla="*/ 5449380 h 5649218"/>
              <a:gd name="connsiteX11" fmla="*/ 4618793 w 8636594"/>
              <a:gd name="connsiteY11" fmla="*/ 5419830 h 5649218"/>
              <a:gd name="connsiteX12" fmla="*/ 4649922 w 8636594"/>
              <a:gd name="connsiteY12" fmla="*/ 5390040 h 5649218"/>
              <a:gd name="connsiteX13" fmla="*/ 4680742 w 8636594"/>
              <a:gd name="connsiteY13" fmla="*/ 5360014 h 5649218"/>
              <a:gd name="connsiteX14" fmla="*/ 4711259 w 8636594"/>
              <a:gd name="connsiteY14" fmla="*/ 5329755 h 5649218"/>
              <a:gd name="connsiteX15" fmla="*/ 4741478 w 8636594"/>
              <a:gd name="connsiteY15" fmla="*/ 5299266 h 5649218"/>
              <a:gd name="connsiteX16" fmla="*/ 4771408 w 8636594"/>
              <a:gd name="connsiteY16" fmla="*/ 5268551 h 5649218"/>
              <a:gd name="connsiteX17" fmla="*/ 4801053 w 8636594"/>
              <a:gd name="connsiteY17" fmla="*/ 5237614 h 5649218"/>
              <a:gd name="connsiteX18" fmla="*/ 4830420 w 8636594"/>
              <a:gd name="connsiteY18" fmla="*/ 5206458 h 5649218"/>
              <a:gd name="connsiteX19" fmla="*/ 4859516 w 8636594"/>
              <a:gd name="connsiteY19" fmla="*/ 5175087 h 5649218"/>
              <a:gd name="connsiteX20" fmla="*/ 4888347 w 8636594"/>
              <a:gd name="connsiteY20" fmla="*/ 5143504 h 5649218"/>
              <a:gd name="connsiteX21" fmla="*/ 4916919 w 8636594"/>
              <a:gd name="connsiteY21" fmla="*/ 5111713 h 5649218"/>
              <a:gd name="connsiteX22" fmla="*/ 4945238 w 8636594"/>
              <a:gd name="connsiteY22" fmla="*/ 5079717 h 5649218"/>
              <a:gd name="connsiteX23" fmla="*/ 4973311 w 8636594"/>
              <a:gd name="connsiteY23" fmla="*/ 5047519 h 5649218"/>
              <a:gd name="connsiteX24" fmla="*/ 5001145 w 8636594"/>
              <a:gd name="connsiteY24" fmla="*/ 5015124 h 5649218"/>
              <a:gd name="connsiteX25" fmla="*/ 5028745 w 8636594"/>
              <a:gd name="connsiteY25" fmla="*/ 4982535 h 5649218"/>
              <a:gd name="connsiteX26" fmla="*/ 5056117 w 8636594"/>
              <a:gd name="connsiteY26" fmla="*/ 4949755 h 5649218"/>
              <a:gd name="connsiteX27" fmla="*/ 5083269 w 8636594"/>
              <a:gd name="connsiteY27" fmla="*/ 4916787 h 5649218"/>
              <a:gd name="connsiteX28" fmla="*/ 5110207 w 8636594"/>
              <a:gd name="connsiteY28" fmla="*/ 4883636 h 5649218"/>
              <a:gd name="connsiteX29" fmla="*/ 5136937 w 8636594"/>
              <a:gd name="connsiteY29" fmla="*/ 4850305 h 5649218"/>
              <a:gd name="connsiteX30" fmla="*/ 5163464 w 8636594"/>
              <a:gd name="connsiteY30" fmla="*/ 4816797 h 5649218"/>
              <a:gd name="connsiteX31" fmla="*/ 5215940 w 8636594"/>
              <a:gd name="connsiteY31" fmla="*/ 4749265 h 5649218"/>
              <a:gd name="connsiteX32" fmla="*/ 5267684 w 8636594"/>
              <a:gd name="connsiteY32" fmla="*/ 4681068 h 5649218"/>
              <a:gd name="connsiteX33" fmla="*/ 5318748 w 8636594"/>
              <a:gd name="connsiteY33" fmla="*/ 4612234 h 5649218"/>
              <a:gd name="connsiteX34" fmla="*/ 5369182 w 8636594"/>
              <a:gd name="connsiteY34" fmla="*/ 4542793 h 5649218"/>
              <a:gd name="connsiteX35" fmla="*/ 5419038 w 8636594"/>
              <a:gd name="connsiteY35" fmla="*/ 4472771 h 5649218"/>
              <a:gd name="connsiteX36" fmla="*/ 5468365 w 8636594"/>
              <a:gd name="connsiteY36" fmla="*/ 4402196 h 5649218"/>
              <a:gd name="connsiteX37" fmla="*/ 5517215 w 8636594"/>
              <a:gd name="connsiteY37" fmla="*/ 4331098 h 5649218"/>
              <a:gd name="connsiteX38" fmla="*/ 5565637 w 8636594"/>
              <a:gd name="connsiteY38" fmla="*/ 4259503 h 5649218"/>
              <a:gd name="connsiteX39" fmla="*/ 5613684 w 8636594"/>
              <a:gd name="connsiteY39" fmla="*/ 4187441 h 5649218"/>
              <a:gd name="connsiteX40" fmla="*/ 5685160 w 8636594"/>
              <a:gd name="connsiteY40" fmla="*/ 4078531 h 5649218"/>
              <a:gd name="connsiteX41" fmla="*/ 5756074 w 8636594"/>
              <a:gd name="connsiteY41" fmla="*/ 3968727 h 5649218"/>
              <a:gd name="connsiteX42" fmla="*/ 5873483 w 8636594"/>
              <a:gd name="connsiteY42" fmla="*/ 3783989 h 5649218"/>
              <a:gd name="connsiteX43" fmla="*/ 6203209 w 8636594"/>
              <a:gd name="connsiteY43" fmla="*/ 3258640 h 5649218"/>
              <a:gd name="connsiteX44" fmla="*/ 6299430 w 8636594"/>
              <a:gd name="connsiteY44" fmla="*/ 3107321 h 5649218"/>
              <a:gd name="connsiteX45" fmla="*/ 6372650 w 8636594"/>
              <a:gd name="connsiteY45" fmla="*/ 2993735 h 5649218"/>
              <a:gd name="connsiteX46" fmla="*/ 6453197 w 8636594"/>
              <a:gd name="connsiteY46" fmla="*/ 2869788 h 5649218"/>
              <a:gd name="connsiteX47" fmla="*/ 6564167 w 8636594"/>
              <a:gd name="connsiteY47" fmla="*/ 2696807 h 5649218"/>
              <a:gd name="connsiteX48" fmla="*/ 6976233 w 8636594"/>
              <a:gd name="connsiteY48" fmla="*/ 2045274 h 5649218"/>
              <a:gd name="connsiteX49" fmla="*/ 7086755 w 8636594"/>
              <a:gd name="connsiteY49" fmla="*/ 1872743 h 5649218"/>
              <a:gd name="connsiteX50" fmla="*/ 7170279 w 8636594"/>
              <a:gd name="connsiteY50" fmla="*/ 1744202 h 5649218"/>
              <a:gd name="connsiteX51" fmla="*/ 7226351 w 8636594"/>
              <a:gd name="connsiteY51" fmla="*/ 1659017 h 5649218"/>
              <a:gd name="connsiteX52" fmla="*/ 7282789 w 8636594"/>
              <a:gd name="connsiteY52" fmla="*/ 1574303 h 5649218"/>
              <a:gd name="connsiteX53" fmla="*/ 7339643 w 8636594"/>
              <a:gd name="connsiteY53" fmla="*/ 1490113 h 5649218"/>
              <a:gd name="connsiteX54" fmla="*/ 7396957 w 8636594"/>
              <a:gd name="connsiteY54" fmla="*/ 1406503 h 5649218"/>
              <a:gd name="connsiteX55" fmla="*/ 7454781 w 8636594"/>
              <a:gd name="connsiteY55" fmla="*/ 1323526 h 5649218"/>
              <a:gd name="connsiteX56" fmla="*/ 7513161 w 8636594"/>
              <a:gd name="connsiteY56" fmla="*/ 1241237 h 5649218"/>
              <a:gd name="connsiteX57" fmla="*/ 7572144 w 8636594"/>
              <a:gd name="connsiteY57" fmla="*/ 1159689 h 5649218"/>
              <a:gd name="connsiteX58" fmla="*/ 7601877 w 8636594"/>
              <a:gd name="connsiteY58" fmla="*/ 1119210 h 5649218"/>
              <a:gd name="connsiteX59" fmla="*/ 7631779 w 8636594"/>
              <a:gd name="connsiteY59" fmla="*/ 1078937 h 5649218"/>
              <a:gd name="connsiteX60" fmla="*/ 7661855 w 8636594"/>
              <a:gd name="connsiteY60" fmla="*/ 1038876 h 5649218"/>
              <a:gd name="connsiteX61" fmla="*/ 7692111 w 8636594"/>
              <a:gd name="connsiteY61" fmla="*/ 999035 h 5649218"/>
              <a:gd name="connsiteX62" fmla="*/ 7722554 w 8636594"/>
              <a:gd name="connsiteY62" fmla="*/ 959419 h 5649218"/>
              <a:gd name="connsiteX63" fmla="*/ 7753190 w 8636594"/>
              <a:gd name="connsiteY63" fmla="*/ 920037 h 5649218"/>
              <a:gd name="connsiteX64" fmla="*/ 7784023 w 8636594"/>
              <a:gd name="connsiteY64" fmla="*/ 880894 h 5649218"/>
              <a:gd name="connsiteX65" fmla="*/ 7815061 w 8636594"/>
              <a:gd name="connsiteY65" fmla="*/ 841997 h 5649218"/>
              <a:gd name="connsiteX66" fmla="*/ 7846308 w 8636594"/>
              <a:gd name="connsiteY66" fmla="*/ 803354 h 5649218"/>
              <a:gd name="connsiteX67" fmla="*/ 7877772 w 8636594"/>
              <a:gd name="connsiteY67" fmla="*/ 764970 h 5649218"/>
              <a:gd name="connsiteX68" fmla="*/ 7909458 w 8636594"/>
              <a:gd name="connsiteY68" fmla="*/ 726853 h 5649218"/>
              <a:gd name="connsiteX69" fmla="*/ 7941371 w 8636594"/>
              <a:gd name="connsiteY69" fmla="*/ 689010 h 5649218"/>
              <a:gd name="connsiteX70" fmla="*/ 7973518 w 8636594"/>
              <a:gd name="connsiteY70" fmla="*/ 651447 h 5649218"/>
              <a:gd name="connsiteX71" fmla="*/ 8005905 w 8636594"/>
              <a:gd name="connsiteY71" fmla="*/ 614171 h 5649218"/>
              <a:gd name="connsiteX72" fmla="*/ 8038538 w 8636594"/>
              <a:gd name="connsiteY72" fmla="*/ 577189 h 5649218"/>
              <a:gd name="connsiteX73" fmla="*/ 8071421 w 8636594"/>
              <a:gd name="connsiteY73" fmla="*/ 540507 h 5649218"/>
              <a:gd name="connsiteX74" fmla="*/ 8104563 w 8636594"/>
              <a:gd name="connsiteY74" fmla="*/ 504132 h 5649218"/>
              <a:gd name="connsiteX75" fmla="*/ 8137967 w 8636594"/>
              <a:gd name="connsiteY75" fmla="*/ 468072 h 5649218"/>
              <a:gd name="connsiteX76" fmla="*/ 8171641 w 8636594"/>
              <a:gd name="connsiteY76" fmla="*/ 432332 h 5649218"/>
              <a:gd name="connsiteX77" fmla="*/ 8205590 w 8636594"/>
              <a:gd name="connsiteY77" fmla="*/ 396920 h 5649218"/>
              <a:gd name="connsiteX78" fmla="*/ 8239820 w 8636594"/>
              <a:gd name="connsiteY78" fmla="*/ 361843 h 5649218"/>
              <a:gd name="connsiteX79" fmla="*/ 8274337 w 8636594"/>
              <a:gd name="connsiteY79" fmla="*/ 327107 h 5649218"/>
              <a:gd name="connsiteX80" fmla="*/ 8309147 w 8636594"/>
              <a:gd name="connsiteY80" fmla="*/ 292718 h 5649218"/>
              <a:gd name="connsiteX81" fmla="*/ 8344256 w 8636594"/>
              <a:gd name="connsiteY81" fmla="*/ 258685 h 5649218"/>
              <a:gd name="connsiteX82" fmla="*/ 8379669 w 8636594"/>
              <a:gd name="connsiteY82" fmla="*/ 225013 h 5649218"/>
              <a:gd name="connsiteX83" fmla="*/ 8415394 w 8636594"/>
              <a:gd name="connsiteY83" fmla="*/ 191709 h 5649218"/>
              <a:gd name="connsiteX84" fmla="*/ 8451434 w 8636594"/>
              <a:gd name="connsiteY84" fmla="*/ 158780 h 5649218"/>
              <a:gd name="connsiteX85" fmla="*/ 8487798 w 8636594"/>
              <a:gd name="connsiteY85" fmla="*/ 126233 h 5649218"/>
              <a:gd name="connsiteX86" fmla="*/ 8524489 w 8636594"/>
              <a:gd name="connsiteY86" fmla="*/ 94075 h 5649218"/>
              <a:gd name="connsiteX87" fmla="*/ 8561515 w 8636594"/>
              <a:gd name="connsiteY87" fmla="*/ 62312 h 5649218"/>
              <a:gd name="connsiteX88" fmla="*/ 8598881 w 8636594"/>
              <a:gd name="connsiteY88" fmla="*/ 30951 h 5649218"/>
              <a:gd name="connsiteX89" fmla="*/ 8636594 w 8636594"/>
              <a:gd name="connsiteY89" fmla="*/ 0 h 5649218"/>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425162 w 8636594"/>
              <a:gd name="connsiteY4" fmla="*/ 5593409 h 5649218"/>
              <a:gd name="connsiteX5" fmla="*/ 4458281 w 8636594"/>
              <a:gd name="connsiteY5" fmla="*/ 5565111 h 5649218"/>
              <a:gd name="connsiteX6" fmla="*/ 4491053 w 8636594"/>
              <a:gd name="connsiteY6" fmla="*/ 5536556 h 5649218"/>
              <a:gd name="connsiteX7" fmla="*/ 4523484 w 8636594"/>
              <a:gd name="connsiteY7" fmla="*/ 5507747 h 5649218"/>
              <a:gd name="connsiteX8" fmla="*/ 4555580 w 8636594"/>
              <a:gd name="connsiteY8" fmla="*/ 5478687 h 5649218"/>
              <a:gd name="connsiteX9" fmla="*/ 4587347 w 8636594"/>
              <a:gd name="connsiteY9" fmla="*/ 5449380 h 5649218"/>
              <a:gd name="connsiteX10" fmla="*/ 4618793 w 8636594"/>
              <a:gd name="connsiteY10" fmla="*/ 5419830 h 5649218"/>
              <a:gd name="connsiteX11" fmla="*/ 4649922 w 8636594"/>
              <a:gd name="connsiteY11" fmla="*/ 5390040 h 5649218"/>
              <a:gd name="connsiteX12" fmla="*/ 4680742 w 8636594"/>
              <a:gd name="connsiteY12" fmla="*/ 5360014 h 5649218"/>
              <a:gd name="connsiteX13" fmla="*/ 4711259 w 8636594"/>
              <a:gd name="connsiteY13" fmla="*/ 5329755 h 5649218"/>
              <a:gd name="connsiteX14" fmla="*/ 4741478 w 8636594"/>
              <a:gd name="connsiteY14" fmla="*/ 5299266 h 5649218"/>
              <a:gd name="connsiteX15" fmla="*/ 4771408 w 8636594"/>
              <a:gd name="connsiteY15" fmla="*/ 5268551 h 5649218"/>
              <a:gd name="connsiteX16" fmla="*/ 4801053 w 8636594"/>
              <a:gd name="connsiteY16" fmla="*/ 5237614 h 5649218"/>
              <a:gd name="connsiteX17" fmla="*/ 4830420 w 8636594"/>
              <a:gd name="connsiteY17" fmla="*/ 5206458 h 5649218"/>
              <a:gd name="connsiteX18" fmla="*/ 4859516 w 8636594"/>
              <a:gd name="connsiteY18" fmla="*/ 5175087 h 5649218"/>
              <a:gd name="connsiteX19" fmla="*/ 4888347 w 8636594"/>
              <a:gd name="connsiteY19" fmla="*/ 5143504 h 5649218"/>
              <a:gd name="connsiteX20" fmla="*/ 4916919 w 8636594"/>
              <a:gd name="connsiteY20" fmla="*/ 5111713 h 5649218"/>
              <a:gd name="connsiteX21" fmla="*/ 4945238 w 8636594"/>
              <a:gd name="connsiteY21" fmla="*/ 5079717 h 5649218"/>
              <a:gd name="connsiteX22" fmla="*/ 4973311 w 8636594"/>
              <a:gd name="connsiteY22" fmla="*/ 5047519 h 5649218"/>
              <a:gd name="connsiteX23" fmla="*/ 5001145 w 8636594"/>
              <a:gd name="connsiteY23" fmla="*/ 5015124 h 5649218"/>
              <a:gd name="connsiteX24" fmla="*/ 5028745 w 8636594"/>
              <a:gd name="connsiteY24" fmla="*/ 4982535 h 5649218"/>
              <a:gd name="connsiteX25" fmla="*/ 5056117 w 8636594"/>
              <a:gd name="connsiteY25" fmla="*/ 4949755 h 5649218"/>
              <a:gd name="connsiteX26" fmla="*/ 5083269 w 8636594"/>
              <a:gd name="connsiteY26" fmla="*/ 4916787 h 5649218"/>
              <a:gd name="connsiteX27" fmla="*/ 5110207 w 8636594"/>
              <a:gd name="connsiteY27" fmla="*/ 4883636 h 5649218"/>
              <a:gd name="connsiteX28" fmla="*/ 5136937 w 8636594"/>
              <a:gd name="connsiteY28" fmla="*/ 4850305 h 5649218"/>
              <a:gd name="connsiteX29" fmla="*/ 5163464 w 8636594"/>
              <a:gd name="connsiteY29" fmla="*/ 4816797 h 5649218"/>
              <a:gd name="connsiteX30" fmla="*/ 5215940 w 8636594"/>
              <a:gd name="connsiteY30" fmla="*/ 4749265 h 5649218"/>
              <a:gd name="connsiteX31" fmla="*/ 5267684 w 8636594"/>
              <a:gd name="connsiteY31" fmla="*/ 4681068 h 5649218"/>
              <a:gd name="connsiteX32" fmla="*/ 5318748 w 8636594"/>
              <a:gd name="connsiteY32" fmla="*/ 4612234 h 5649218"/>
              <a:gd name="connsiteX33" fmla="*/ 5369182 w 8636594"/>
              <a:gd name="connsiteY33" fmla="*/ 4542793 h 5649218"/>
              <a:gd name="connsiteX34" fmla="*/ 5419038 w 8636594"/>
              <a:gd name="connsiteY34" fmla="*/ 4472771 h 5649218"/>
              <a:gd name="connsiteX35" fmla="*/ 5468365 w 8636594"/>
              <a:gd name="connsiteY35" fmla="*/ 4402196 h 5649218"/>
              <a:gd name="connsiteX36" fmla="*/ 5517215 w 8636594"/>
              <a:gd name="connsiteY36" fmla="*/ 4331098 h 5649218"/>
              <a:gd name="connsiteX37" fmla="*/ 5565637 w 8636594"/>
              <a:gd name="connsiteY37" fmla="*/ 4259503 h 5649218"/>
              <a:gd name="connsiteX38" fmla="*/ 5613684 w 8636594"/>
              <a:gd name="connsiteY38" fmla="*/ 4187441 h 5649218"/>
              <a:gd name="connsiteX39" fmla="*/ 5685160 w 8636594"/>
              <a:gd name="connsiteY39" fmla="*/ 4078531 h 5649218"/>
              <a:gd name="connsiteX40" fmla="*/ 5756074 w 8636594"/>
              <a:gd name="connsiteY40" fmla="*/ 3968727 h 5649218"/>
              <a:gd name="connsiteX41" fmla="*/ 5873483 w 8636594"/>
              <a:gd name="connsiteY41" fmla="*/ 3783989 h 5649218"/>
              <a:gd name="connsiteX42" fmla="*/ 6203209 w 8636594"/>
              <a:gd name="connsiteY42" fmla="*/ 3258640 h 5649218"/>
              <a:gd name="connsiteX43" fmla="*/ 6299430 w 8636594"/>
              <a:gd name="connsiteY43" fmla="*/ 3107321 h 5649218"/>
              <a:gd name="connsiteX44" fmla="*/ 6372650 w 8636594"/>
              <a:gd name="connsiteY44" fmla="*/ 2993735 h 5649218"/>
              <a:gd name="connsiteX45" fmla="*/ 6453197 w 8636594"/>
              <a:gd name="connsiteY45" fmla="*/ 2869788 h 5649218"/>
              <a:gd name="connsiteX46" fmla="*/ 6564167 w 8636594"/>
              <a:gd name="connsiteY46" fmla="*/ 2696807 h 5649218"/>
              <a:gd name="connsiteX47" fmla="*/ 6976233 w 8636594"/>
              <a:gd name="connsiteY47" fmla="*/ 2045274 h 5649218"/>
              <a:gd name="connsiteX48" fmla="*/ 7086755 w 8636594"/>
              <a:gd name="connsiteY48" fmla="*/ 1872743 h 5649218"/>
              <a:gd name="connsiteX49" fmla="*/ 7170279 w 8636594"/>
              <a:gd name="connsiteY49" fmla="*/ 1744202 h 5649218"/>
              <a:gd name="connsiteX50" fmla="*/ 7226351 w 8636594"/>
              <a:gd name="connsiteY50" fmla="*/ 1659017 h 5649218"/>
              <a:gd name="connsiteX51" fmla="*/ 7282789 w 8636594"/>
              <a:gd name="connsiteY51" fmla="*/ 1574303 h 5649218"/>
              <a:gd name="connsiteX52" fmla="*/ 7339643 w 8636594"/>
              <a:gd name="connsiteY52" fmla="*/ 1490113 h 5649218"/>
              <a:gd name="connsiteX53" fmla="*/ 7396957 w 8636594"/>
              <a:gd name="connsiteY53" fmla="*/ 1406503 h 5649218"/>
              <a:gd name="connsiteX54" fmla="*/ 7454781 w 8636594"/>
              <a:gd name="connsiteY54" fmla="*/ 1323526 h 5649218"/>
              <a:gd name="connsiteX55" fmla="*/ 7513161 w 8636594"/>
              <a:gd name="connsiteY55" fmla="*/ 1241237 h 5649218"/>
              <a:gd name="connsiteX56" fmla="*/ 7572144 w 8636594"/>
              <a:gd name="connsiteY56" fmla="*/ 1159689 h 5649218"/>
              <a:gd name="connsiteX57" fmla="*/ 7601877 w 8636594"/>
              <a:gd name="connsiteY57" fmla="*/ 1119210 h 5649218"/>
              <a:gd name="connsiteX58" fmla="*/ 7631779 w 8636594"/>
              <a:gd name="connsiteY58" fmla="*/ 1078937 h 5649218"/>
              <a:gd name="connsiteX59" fmla="*/ 7661855 w 8636594"/>
              <a:gd name="connsiteY59" fmla="*/ 1038876 h 5649218"/>
              <a:gd name="connsiteX60" fmla="*/ 7692111 w 8636594"/>
              <a:gd name="connsiteY60" fmla="*/ 999035 h 5649218"/>
              <a:gd name="connsiteX61" fmla="*/ 7722554 w 8636594"/>
              <a:gd name="connsiteY61" fmla="*/ 959419 h 5649218"/>
              <a:gd name="connsiteX62" fmla="*/ 7753190 w 8636594"/>
              <a:gd name="connsiteY62" fmla="*/ 920037 h 5649218"/>
              <a:gd name="connsiteX63" fmla="*/ 7784023 w 8636594"/>
              <a:gd name="connsiteY63" fmla="*/ 880894 h 5649218"/>
              <a:gd name="connsiteX64" fmla="*/ 7815061 w 8636594"/>
              <a:gd name="connsiteY64" fmla="*/ 841997 h 5649218"/>
              <a:gd name="connsiteX65" fmla="*/ 7846308 w 8636594"/>
              <a:gd name="connsiteY65" fmla="*/ 803354 h 5649218"/>
              <a:gd name="connsiteX66" fmla="*/ 7877772 w 8636594"/>
              <a:gd name="connsiteY66" fmla="*/ 764970 h 5649218"/>
              <a:gd name="connsiteX67" fmla="*/ 7909458 w 8636594"/>
              <a:gd name="connsiteY67" fmla="*/ 726853 h 5649218"/>
              <a:gd name="connsiteX68" fmla="*/ 7941371 w 8636594"/>
              <a:gd name="connsiteY68" fmla="*/ 689010 h 5649218"/>
              <a:gd name="connsiteX69" fmla="*/ 7973518 w 8636594"/>
              <a:gd name="connsiteY69" fmla="*/ 651447 h 5649218"/>
              <a:gd name="connsiteX70" fmla="*/ 8005905 w 8636594"/>
              <a:gd name="connsiteY70" fmla="*/ 614171 h 5649218"/>
              <a:gd name="connsiteX71" fmla="*/ 8038538 w 8636594"/>
              <a:gd name="connsiteY71" fmla="*/ 577189 h 5649218"/>
              <a:gd name="connsiteX72" fmla="*/ 8071421 w 8636594"/>
              <a:gd name="connsiteY72" fmla="*/ 540507 h 5649218"/>
              <a:gd name="connsiteX73" fmla="*/ 8104563 w 8636594"/>
              <a:gd name="connsiteY73" fmla="*/ 504132 h 5649218"/>
              <a:gd name="connsiteX74" fmla="*/ 8137967 w 8636594"/>
              <a:gd name="connsiteY74" fmla="*/ 468072 h 5649218"/>
              <a:gd name="connsiteX75" fmla="*/ 8171641 w 8636594"/>
              <a:gd name="connsiteY75" fmla="*/ 432332 h 5649218"/>
              <a:gd name="connsiteX76" fmla="*/ 8205590 w 8636594"/>
              <a:gd name="connsiteY76" fmla="*/ 396920 h 5649218"/>
              <a:gd name="connsiteX77" fmla="*/ 8239820 w 8636594"/>
              <a:gd name="connsiteY77" fmla="*/ 361843 h 5649218"/>
              <a:gd name="connsiteX78" fmla="*/ 8274337 w 8636594"/>
              <a:gd name="connsiteY78" fmla="*/ 327107 h 5649218"/>
              <a:gd name="connsiteX79" fmla="*/ 8309147 w 8636594"/>
              <a:gd name="connsiteY79" fmla="*/ 292718 h 5649218"/>
              <a:gd name="connsiteX80" fmla="*/ 8344256 w 8636594"/>
              <a:gd name="connsiteY80" fmla="*/ 258685 h 5649218"/>
              <a:gd name="connsiteX81" fmla="*/ 8379669 w 8636594"/>
              <a:gd name="connsiteY81" fmla="*/ 225013 h 5649218"/>
              <a:gd name="connsiteX82" fmla="*/ 8415394 w 8636594"/>
              <a:gd name="connsiteY82" fmla="*/ 191709 h 5649218"/>
              <a:gd name="connsiteX83" fmla="*/ 8451434 w 8636594"/>
              <a:gd name="connsiteY83" fmla="*/ 158780 h 5649218"/>
              <a:gd name="connsiteX84" fmla="*/ 8487798 w 8636594"/>
              <a:gd name="connsiteY84" fmla="*/ 126233 h 5649218"/>
              <a:gd name="connsiteX85" fmla="*/ 8524489 w 8636594"/>
              <a:gd name="connsiteY85" fmla="*/ 94075 h 5649218"/>
              <a:gd name="connsiteX86" fmla="*/ 8561515 w 8636594"/>
              <a:gd name="connsiteY86" fmla="*/ 62312 h 5649218"/>
              <a:gd name="connsiteX87" fmla="*/ 8598881 w 8636594"/>
              <a:gd name="connsiteY87" fmla="*/ 30951 h 5649218"/>
              <a:gd name="connsiteX88" fmla="*/ 8636594 w 8636594"/>
              <a:gd name="connsiteY88" fmla="*/ 0 h 5649218"/>
              <a:gd name="connsiteX0" fmla="*/ 8636594 w 8636594"/>
              <a:gd name="connsiteY0" fmla="*/ 0 h 5593409"/>
              <a:gd name="connsiteX1" fmla="*/ 5293 w 8636594"/>
              <a:gd name="connsiteY1" fmla="*/ 0 h 5593409"/>
              <a:gd name="connsiteX2" fmla="*/ 0 w 8636594"/>
              <a:gd name="connsiteY2" fmla="*/ 5587843 h 5593409"/>
              <a:gd name="connsiteX3" fmla="*/ 4425162 w 8636594"/>
              <a:gd name="connsiteY3" fmla="*/ 5593409 h 5593409"/>
              <a:gd name="connsiteX4" fmla="*/ 4458281 w 8636594"/>
              <a:gd name="connsiteY4" fmla="*/ 5565111 h 5593409"/>
              <a:gd name="connsiteX5" fmla="*/ 4491053 w 8636594"/>
              <a:gd name="connsiteY5" fmla="*/ 5536556 h 5593409"/>
              <a:gd name="connsiteX6" fmla="*/ 4523484 w 8636594"/>
              <a:gd name="connsiteY6" fmla="*/ 5507747 h 5593409"/>
              <a:gd name="connsiteX7" fmla="*/ 4555580 w 8636594"/>
              <a:gd name="connsiteY7" fmla="*/ 5478687 h 5593409"/>
              <a:gd name="connsiteX8" fmla="*/ 4587347 w 8636594"/>
              <a:gd name="connsiteY8" fmla="*/ 5449380 h 5593409"/>
              <a:gd name="connsiteX9" fmla="*/ 4618793 w 8636594"/>
              <a:gd name="connsiteY9" fmla="*/ 5419830 h 5593409"/>
              <a:gd name="connsiteX10" fmla="*/ 4649922 w 8636594"/>
              <a:gd name="connsiteY10" fmla="*/ 5390040 h 5593409"/>
              <a:gd name="connsiteX11" fmla="*/ 4680742 w 8636594"/>
              <a:gd name="connsiteY11" fmla="*/ 5360014 h 5593409"/>
              <a:gd name="connsiteX12" fmla="*/ 4711259 w 8636594"/>
              <a:gd name="connsiteY12" fmla="*/ 5329755 h 5593409"/>
              <a:gd name="connsiteX13" fmla="*/ 4741478 w 8636594"/>
              <a:gd name="connsiteY13" fmla="*/ 5299266 h 5593409"/>
              <a:gd name="connsiteX14" fmla="*/ 4771408 w 8636594"/>
              <a:gd name="connsiteY14" fmla="*/ 5268551 h 5593409"/>
              <a:gd name="connsiteX15" fmla="*/ 4801053 w 8636594"/>
              <a:gd name="connsiteY15" fmla="*/ 5237614 h 5593409"/>
              <a:gd name="connsiteX16" fmla="*/ 4830420 w 8636594"/>
              <a:gd name="connsiteY16" fmla="*/ 5206458 h 5593409"/>
              <a:gd name="connsiteX17" fmla="*/ 4859516 w 8636594"/>
              <a:gd name="connsiteY17" fmla="*/ 5175087 h 5593409"/>
              <a:gd name="connsiteX18" fmla="*/ 4888347 w 8636594"/>
              <a:gd name="connsiteY18" fmla="*/ 5143504 h 5593409"/>
              <a:gd name="connsiteX19" fmla="*/ 4916919 w 8636594"/>
              <a:gd name="connsiteY19" fmla="*/ 5111713 h 5593409"/>
              <a:gd name="connsiteX20" fmla="*/ 4945238 w 8636594"/>
              <a:gd name="connsiteY20" fmla="*/ 5079717 h 5593409"/>
              <a:gd name="connsiteX21" fmla="*/ 4973311 w 8636594"/>
              <a:gd name="connsiteY21" fmla="*/ 5047519 h 5593409"/>
              <a:gd name="connsiteX22" fmla="*/ 5001145 w 8636594"/>
              <a:gd name="connsiteY22" fmla="*/ 5015124 h 5593409"/>
              <a:gd name="connsiteX23" fmla="*/ 5028745 w 8636594"/>
              <a:gd name="connsiteY23" fmla="*/ 4982535 h 5593409"/>
              <a:gd name="connsiteX24" fmla="*/ 5056117 w 8636594"/>
              <a:gd name="connsiteY24" fmla="*/ 4949755 h 5593409"/>
              <a:gd name="connsiteX25" fmla="*/ 5083269 w 8636594"/>
              <a:gd name="connsiteY25" fmla="*/ 4916787 h 5593409"/>
              <a:gd name="connsiteX26" fmla="*/ 5110207 w 8636594"/>
              <a:gd name="connsiteY26" fmla="*/ 4883636 h 5593409"/>
              <a:gd name="connsiteX27" fmla="*/ 5136937 w 8636594"/>
              <a:gd name="connsiteY27" fmla="*/ 4850305 h 5593409"/>
              <a:gd name="connsiteX28" fmla="*/ 5163464 w 8636594"/>
              <a:gd name="connsiteY28" fmla="*/ 4816797 h 5593409"/>
              <a:gd name="connsiteX29" fmla="*/ 5215940 w 8636594"/>
              <a:gd name="connsiteY29" fmla="*/ 4749265 h 5593409"/>
              <a:gd name="connsiteX30" fmla="*/ 5267684 w 8636594"/>
              <a:gd name="connsiteY30" fmla="*/ 4681068 h 5593409"/>
              <a:gd name="connsiteX31" fmla="*/ 5318748 w 8636594"/>
              <a:gd name="connsiteY31" fmla="*/ 4612234 h 5593409"/>
              <a:gd name="connsiteX32" fmla="*/ 5369182 w 8636594"/>
              <a:gd name="connsiteY32" fmla="*/ 4542793 h 5593409"/>
              <a:gd name="connsiteX33" fmla="*/ 5419038 w 8636594"/>
              <a:gd name="connsiteY33" fmla="*/ 4472771 h 5593409"/>
              <a:gd name="connsiteX34" fmla="*/ 5468365 w 8636594"/>
              <a:gd name="connsiteY34" fmla="*/ 4402196 h 5593409"/>
              <a:gd name="connsiteX35" fmla="*/ 5517215 w 8636594"/>
              <a:gd name="connsiteY35" fmla="*/ 4331098 h 5593409"/>
              <a:gd name="connsiteX36" fmla="*/ 5565637 w 8636594"/>
              <a:gd name="connsiteY36" fmla="*/ 4259503 h 5593409"/>
              <a:gd name="connsiteX37" fmla="*/ 5613684 w 8636594"/>
              <a:gd name="connsiteY37" fmla="*/ 4187441 h 5593409"/>
              <a:gd name="connsiteX38" fmla="*/ 5685160 w 8636594"/>
              <a:gd name="connsiteY38" fmla="*/ 4078531 h 5593409"/>
              <a:gd name="connsiteX39" fmla="*/ 5756074 w 8636594"/>
              <a:gd name="connsiteY39" fmla="*/ 3968727 h 5593409"/>
              <a:gd name="connsiteX40" fmla="*/ 5873483 w 8636594"/>
              <a:gd name="connsiteY40" fmla="*/ 3783989 h 5593409"/>
              <a:gd name="connsiteX41" fmla="*/ 6203209 w 8636594"/>
              <a:gd name="connsiteY41" fmla="*/ 3258640 h 5593409"/>
              <a:gd name="connsiteX42" fmla="*/ 6299430 w 8636594"/>
              <a:gd name="connsiteY42" fmla="*/ 3107321 h 5593409"/>
              <a:gd name="connsiteX43" fmla="*/ 6372650 w 8636594"/>
              <a:gd name="connsiteY43" fmla="*/ 2993735 h 5593409"/>
              <a:gd name="connsiteX44" fmla="*/ 6453197 w 8636594"/>
              <a:gd name="connsiteY44" fmla="*/ 2869788 h 5593409"/>
              <a:gd name="connsiteX45" fmla="*/ 6564167 w 8636594"/>
              <a:gd name="connsiteY45" fmla="*/ 2696807 h 5593409"/>
              <a:gd name="connsiteX46" fmla="*/ 6976233 w 8636594"/>
              <a:gd name="connsiteY46" fmla="*/ 2045274 h 5593409"/>
              <a:gd name="connsiteX47" fmla="*/ 7086755 w 8636594"/>
              <a:gd name="connsiteY47" fmla="*/ 1872743 h 5593409"/>
              <a:gd name="connsiteX48" fmla="*/ 7170279 w 8636594"/>
              <a:gd name="connsiteY48" fmla="*/ 1744202 h 5593409"/>
              <a:gd name="connsiteX49" fmla="*/ 7226351 w 8636594"/>
              <a:gd name="connsiteY49" fmla="*/ 1659017 h 5593409"/>
              <a:gd name="connsiteX50" fmla="*/ 7282789 w 8636594"/>
              <a:gd name="connsiteY50" fmla="*/ 1574303 h 5593409"/>
              <a:gd name="connsiteX51" fmla="*/ 7339643 w 8636594"/>
              <a:gd name="connsiteY51" fmla="*/ 1490113 h 5593409"/>
              <a:gd name="connsiteX52" fmla="*/ 7396957 w 8636594"/>
              <a:gd name="connsiteY52" fmla="*/ 1406503 h 5593409"/>
              <a:gd name="connsiteX53" fmla="*/ 7454781 w 8636594"/>
              <a:gd name="connsiteY53" fmla="*/ 1323526 h 5593409"/>
              <a:gd name="connsiteX54" fmla="*/ 7513161 w 8636594"/>
              <a:gd name="connsiteY54" fmla="*/ 1241237 h 5593409"/>
              <a:gd name="connsiteX55" fmla="*/ 7572144 w 8636594"/>
              <a:gd name="connsiteY55" fmla="*/ 1159689 h 5593409"/>
              <a:gd name="connsiteX56" fmla="*/ 7601877 w 8636594"/>
              <a:gd name="connsiteY56" fmla="*/ 1119210 h 5593409"/>
              <a:gd name="connsiteX57" fmla="*/ 7631779 w 8636594"/>
              <a:gd name="connsiteY57" fmla="*/ 1078937 h 5593409"/>
              <a:gd name="connsiteX58" fmla="*/ 7661855 w 8636594"/>
              <a:gd name="connsiteY58" fmla="*/ 1038876 h 5593409"/>
              <a:gd name="connsiteX59" fmla="*/ 7692111 w 8636594"/>
              <a:gd name="connsiteY59" fmla="*/ 999035 h 5593409"/>
              <a:gd name="connsiteX60" fmla="*/ 7722554 w 8636594"/>
              <a:gd name="connsiteY60" fmla="*/ 959419 h 5593409"/>
              <a:gd name="connsiteX61" fmla="*/ 7753190 w 8636594"/>
              <a:gd name="connsiteY61" fmla="*/ 920037 h 5593409"/>
              <a:gd name="connsiteX62" fmla="*/ 7784023 w 8636594"/>
              <a:gd name="connsiteY62" fmla="*/ 880894 h 5593409"/>
              <a:gd name="connsiteX63" fmla="*/ 7815061 w 8636594"/>
              <a:gd name="connsiteY63" fmla="*/ 841997 h 5593409"/>
              <a:gd name="connsiteX64" fmla="*/ 7846308 w 8636594"/>
              <a:gd name="connsiteY64" fmla="*/ 803354 h 5593409"/>
              <a:gd name="connsiteX65" fmla="*/ 7877772 w 8636594"/>
              <a:gd name="connsiteY65" fmla="*/ 764970 h 5593409"/>
              <a:gd name="connsiteX66" fmla="*/ 7909458 w 8636594"/>
              <a:gd name="connsiteY66" fmla="*/ 726853 h 5593409"/>
              <a:gd name="connsiteX67" fmla="*/ 7941371 w 8636594"/>
              <a:gd name="connsiteY67" fmla="*/ 689010 h 5593409"/>
              <a:gd name="connsiteX68" fmla="*/ 7973518 w 8636594"/>
              <a:gd name="connsiteY68" fmla="*/ 651447 h 5593409"/>
              <a:gd name="connsiteX69" fmla="*/ 8005905 w 8636594"/>
              <a:gd name="connsiteY69" fmla="*/ 614171 h 5593409"/>
              <a:gd name="connsiteX70" fmla="*/ 8038538 w 8636594"/>
              <a:gd name="connsiteY70" fmla="*/ 577189 h 5593409"/>
              <a:gd name="connsiteX71" fmla="*/ 8071421 w 8636594"/>
              <a:gd name="connsiteY71" fmla="*/ 540507 h 5593409"/>
              <a:gd name="connsiteX72" fmla="*/ 8104563 w 8636594"/>
              <a:gd name="connsiteY72" fmla="*/ 504132 h 5593409"/>
              <a:gd name="connsiteX73" fmla="*/ 8137967 w 8636594"/>
              <a:gd name="connsiteY73" fmla="*/ 468072 h 5593409"/>
              <a:gd name="connsiteX74" fmla="*/ 8171641 w 8636594"/>
              <a:gd name="connsiteY74" fmla="*/ 432332 h 5593409"/>
              <a:gd name="connsiteX75" fmla="*/ 8205590 w 8636594"/>
              <a:gd name="connsiteY75" fmla="*/ 396920 h 5593409"/>
              <a:gd name="connsiteX76" fmla="*/ 8239820 w 8636594"/>
              <a:gd name="connsiteY76" fmla="*/ 361843 h 5593409"/>
              <a:gd name="connsiteX77" fmla="*/ 8274337 w 8636594"/>
              <a:gd name="connsiteY77" fmla="*/ 327107 h 5593409"/>
              <a:gd name="connsiteX78" fmla="*/ 8309147 w 8636594"/>
              <a:gd name="connsiteY78" fmla="*/ 292718 h 5593409"/>
              <a:gd name="connsiteX79" fmla="*/ 8344256 w 8636594"/>
              <a:gd name="connsiteY79" fmla="*/ 258685 h 5593409"/>
              <a:gd name="connsiteX80" fmla="*/ 8379669 w 8636594"/>
              <a:gd name="connsiteY80" fmla="*/ 225013 h 5593409"/>
              <a:gd name="connsiteX81" fmla="*/ 8415394 w 8636594"/>
              <a:gd name="connsiteY81" fmla="*/ 191709 h 5593409"/>
              <a:gd name="connsiteX82" fmla="*/ 8451434 w 8636594"/>
              <a:gd name="connsiteY82" fmla="*/ 158780 h 5593409"/>
              <a:gd name="connsiteX83" fmla="*/ 8487798 w 8636594"/>
              <a:gd name="connsiteY83" fmla="*/ 126233 h 5593409"/>
              <a:gd name="connsiteX84" fmla="*/ 8524489 w 8636594"/>
              <a:gd name="connsiteY84" fmla="*/ 94075 h 5593409"/>
              <a:gd name="connsiteX85" fmla="*/ 8561515 w 8636594"/>
              <a:gd name="connsiteY85" fmla="*/ 62312 h 5593409"/>
              <a:gd name="connsiteX86" fmla="*/ 8598881 w 8636594"/>
              <a:gd name="connsiteY86" fmla="*/ 30951 h 5593409"/>
              <a:gd name="connsiteX87" fmla="*/ 8636594 w 8636594"/>
              <a:gd name="connsiteY87" fmla="*/ 0 h 5593409"/>
              <a:gd name="connsiteX0" fmla="*/ 8631811 w 8631811"/>
              <a:gd name="connsiteY0" fmla="*/ 0 h 5593409"/>
              <a:gd name="connsiteX1" fmla="*/ 510 w 8631811"/>
              <a:gd name="connsiteY1" fmla="*/ 0 h 5593409"/>
              <a:gd name="connsiteX2" fmla="*/ 510 w 8631811"/>
              <a:gd name="connsiteY2" fmla="*/ 5282464 h 5593409"/>
              <a:gd name="connsiteX3" fmla="*/ 4420379 w 8631811"/>
              <a:gd name="connsiteY3" fmla="*/ 5593409 h 5593409"/>
              <a:gd name="connsiteX4" fmla="*/ 4453498 w 8631811"/>
              <a:gd name="connsiteY4" fmla="*/ 5565111 h 5593409"/>
              <a:gd name="connsiteX5" fmla="*/ 4486270 w 8631811"/>
              <a:gd name="connsiteY5" fmla="*/ 5536556 h 5593409"/>
              <a:gd name="connsiteX6" fmla="*/ 4518701 w 8631811"/>
              <a:gd name="connsiteY6" fmla="*/ 5507747 h 5593409"/>
              <a:gd name="connsiteX7" fmla="*/ 4550797 w 8631811"/>
              <a:gd name="connsiteY7" fmla="*/ 5478687 h 5593409"/>
              <a:gd name="connsiteX8" fmla="*/ 4582564 w 8631811"/>
              <a:gd name="connsiteY8" fmla="*/ 5449380 h 5593409"/>
              <a:gd name="connsiteX9" fmla="*/ 4614010 w 8631811"/>
              <a:gd name="connsiteY9" fmla="*/ 5419830 h 5593409"/>
              <a:gd name="connsiteX10" fmla="*/ 4645139 w 8631811"/>
              <a:gd name="connsiteY10" fmla="*/ 5390040 h 5593409"/>
              <a:gd name="connsiteX11" fmla="*/ 4675959 w 8631811"/>
              <a:gd name="connsiteY11" fmla="*/ 5360014 h 5593409"/>
              <a:gd name="connsiteX12" fmla="*/ 4706476 w 8631811"/>
              <a:gd name="connsiteY12" fmla="*/ 5329755 h 5593409"/>
              <a:gd name="connsiteX13" fmla="*/ 4736695 w 8631811"/>
              <a:gd name="connsiteY13" fmla="*/ 5299266 h 5593409"/>
              <a:gd name="connsiteX14" fmla="*/ 4766625 w 8631811"/>
              <a:gd name="connsiteY14" fmla="*/ 5268551 h 5593409"/>
              <a:gd name="connsiteX15" fmla="*/ 4796270 w 8631811"/>
              <a:gd name="connsiteY15" fmla="*/ 5237614 h 5593409"/>
              <a:gd name="connsiteX16" fmla="*/ 4825637 w 8631811"/>
              <a:gd name="connsiteY16" fmla="*/ 5206458 h 5593409"/>
              <a:gd name="connsiteX17" fmla="*/ 4854733 w 8631811"/>
              <a:gd name="connsiteY17" fmla="*/ 5175087 h 5593409"/>
              <a:gd name="connsiteX18" fmla="*/ 4883564 w 8631811"/>
              <a:gd name="connsiteY18" fmla="*/ 5143504 h 5593409"/>
              <a:gd name="connsiteX19" fmla="*/ 4912136 w 8631811"/>
              <a:gd name="connsiteY19" fmla="*/ 5111713 h 5593409"/>
              <a:gd name="connsiteX20" fmla="*/ 4940455 w 8631811"/>
              <a:gd name="connsiteY20" fmla="*/ 5079717 h 5593409"/>
              <a:gd name="connsiteX21" fmla="*/ 4968528 w 8631811"/>
              <a:gd name="connsiteY21" fmla="*/ 5047519 h 5593409"/>
              <a:gd name="connsiteX22" fmla="*/ 4996362 w 8631811"/>
              <a:gd name="connsiteY22" fmla="*/ 5015124 h 5593409"/>
              <a:gd name="connsiteX23" fmla="*/ 5023962 w 8631811"/>
              <a:gd name="connsiteY23" fmla="*/ 4982535 h 5593409"/>
              <a:gd name="connsiteX24" fmla="*/ 5051334 w 8631811"/>
              <a:gd name="connsiteY24" fmla="*/ 4949755 h 5593409"/>
              <a:gd name="connsiteX25" fmla="*/ 5078486 w 8631811"/>
              <a:gd name="connsiteY25" fmla="*/ 4916787 h 5593409"/>
              <a:gd name="connsiteX26" fmla="*/ 5105424 w 8631811"/>
              <a:gd name="connsiteY26" fmla="*/ 4883636 h 5593409"/>
              <a:gd name="connsiteX27" fmla="*/ 5132154 w 8631811"/>
              <a:gd name="connsiteY27" fmla="*/ 4850305 h 5593409"/>
              <a:gd name="connsiteX28" fmla="*/ 5158681 w 8631811"/>
              <a:gd name="connsiteY28" fmla="*/ 4816797 h 5593409"/>
              <a:gd name="connsiteX29" fmla="*/ 5211157 w 8631811"/>
              <a:gd name="connsiteY29" fmla="*/ 4749265 h 5593409"/>
              <a:gd name="connsiteX30" fmla="*/ 5262901 w 8631811"/>
              <a:gd name="connsiteY30" fmla="*/ 4681068 h 5593409"/>
              <a:gd name="connsiteX31" fmla="*/ 5313965 w 8631811"/>
              <a:gd name="connsiteY31" fmla="*/ 4612234 h 5593409"/>
              <a:gd name="connsiteX32" fmla="*/ 5364399 w 8631811"/>
              <a:gd name="connsiteY32" fmla="*/ 4542793 h 5593409"/>
              <a:gd name="connsiteX33" fmla="*/ 5414255 w 8631811"/>
              <a:gd name="connsiteY33" fmla="*/ 4472771 h 5593409"/>
              <a:gd name="connsiteX34" fmla="*/ 5463582 w 8631811"/>
              <a:gd name="connsiteY34" fmla="*/ 4402196 h 5593409"/>
              <a:gd name="connsiteX35" fmla="*/ 5512432 w 8631811"/>
              <a:gd name="connsiteY35" fmla="*/ 4331098 h 5593409"/>
              <a:gd name="connsiteX36" fmla="*/ 5560854 w 8631811"/>
              <a:gd name="connsiteY36" fmla="*/ 4259503 h 5593409"/>
              <a:gd name="connsiteX37" fmla="*/ 5608901 w 8631811"/>
              <a:gd name="connsiteY37" fmla="*/ 4187441 h 5593409"/>
              <a:gd name="connsiteX38" fmla="*/ 5680377 w 8631811"/>
              <a:gd name="connsiteY38" fmla="*/ 4078531 h 5593409"/>
              <a:gd name="connsiteX39" fmla="*/ 5751291 w 8631811"/>
              <a:gd name="connsiteY39" fmla="*/ 3968727 h 5593409"/>
              <a:gd name="connsiteX40" fmla="*/ 5868700 w 8631811"/>
              <a:gd name="connsiteY40" fmla="*/ 3783989 h 5593409"/>
              <a:gd name="connsiteX41" fmla="*/ 6198426 w 8631811"/>
              <a:gd name="connsiteY41" fmla="*/ 3258640 h 5593409"/>
              <a:gd name="connsiteX42" fmla="*/ 6294647 w 8631811"/>
              <a:gd name="connsiteY42" fmla="*/ 3107321 h 5593409"/>
              <a:gd name="connsiteX43" fmla="*/ 6367867 w 8631811"/>
              <a:gd name="connsiteY43" fmla="*/ 2993735 h 5593409"/>
              <a:gd name="connsiteX44" fmla="*/ 6448414 w 8631811"/>
              <a:gd name="connsiteY44" fmla="*/ 2869788 h 5593409"/>
              <a:gd name="connsiteX45" fmla="*/ 6559384 w 8631811"/>
              <a:gd name="connsiteY45" fmla="*/ 2696807 h 5593409"/>
              <a:gd name="connsiteX46" fmla="*/ 6971450 w 8631811"/>
              <a:gd name="connsiteY46" fmla="*/ 2045274 h 5593409"/>
              <a:gd name="connsiteX47" fmla="*/ 7081972 w 8631811"/>
              <a:gd name="connsiteY47" fmla="*/ 1872743 h 5593409"/>
              <a:gd name="connsiteX48" fmla="*/ 7165496 w 8631811"/>
              <a:gd name="connsiteY48" fmla="*/ 1744202 h 5593409"/>
              <a:gd name="connsiteX49" fmla="*/ 7221568 w 8631811"/>
              <a:gd name="connsiteY49" fmla="*/ 1659017 h 5593409"/>
              <a:gd name="connsiteX50" fmla="*/ 7278006 w 8631811"/>
              <a:gd name="connsiteY50" fmla="*/ 1574303 h 5593409"/>
              <a:gd name="connsiteX51" fmla="*/ 7334860 w 8631811"/>
              <a:gd name="connsiteY51" fmla="*/ 1490113 h 5593409"/>
              <a:gd name="connsiteX52" fmla="*/ 7392174 w 8631811"/>
              <a:gd name="connsiteY52" fmla="*/ 1406503 h 5593409"/>
              <a:gd name="connsiteX53" fmla="*/ 7449998 w 8631811"/>
              <a:gd name="connsiteY53" fmla="*/ 1323526 h 5593409"/>
              <a:gd name="connsiteX54" fmla="*/ 7508378 w 8631811"/>
              <a:gd name="connsiteY54" fmla="*/ 1241237 h 5593409"/>
              <a:gd name="connsiteX55" fmla="*/ 7567361 w 8631811"/>
              <a:gd name="connsiteY55" fmla="*/ 1159689 h 5593409"/>
              <a:gd name="connsiteX56" fmla="*/ 7597094 w 8631811"/>
              <a:gd name="connsiteY56" fmla="*/ 1119210 h 5593409"/>
              <a:gd name="connsiteX57" fmla="*/ 7626996 w 8631811"/>
              <a:gd name="connsiteY57" fmla="*/ 1078937 h 5593409"/>
              <a:gd name="connsiteX58" fmla="*/ 7657072 w 8631811"/>
              <a:gd name="connsiteY58" fmla="*/ 1038876 h 5593409"/>
              <a:gd name="connsiteX59" fmla="*/ 7687328 w 8631811"/>
              <a:gd name="connsiteY59" fmla="*/ 999035 h 5593409"/>
              <a:gd name="connsiteX60" fmla="*/ 7717771 w 8631811"/>
              <a:gd name="connsiteY60" fmla="*/ 959419 h 5593409"/>
              <a:gd name="connsiteX61" fmla="*/ 7748407 w 8631811"/>
              <a:gd name="connsiteY61" fmla="*/ 920037 h 5593409"/>
              <a:gd name="connsiteX62" fmla="*/ 7779240 w 8631811"/>
              <a:gd name="connsiteY62" fmla="*/ 880894 h 5593409"/>
              <a:gd name="connsiteX63" fmla="*/ 7810278 w 8631811"/>
              <a:gd name="connsiteY63" fmla="*/ 841997 h 5593409"/>
              <a:gd name="connsiteX64" fmla="*/ 7841525 w 8631811"/>
              <a:gd name="connsiteY64" fmla="*/ 803354 h 5593409"/>
              <a:gd name="connsiteX65" fmla="*/ 7872989 w 8631811"/>
              <a:gd name="connsiteY65" fmla="*/ 764970 h 5593409"/>
              <a:gd name="connsiteX66" fmla="*/ 7904675 w 8631811"/>
              <a:gd name="connsiteY66" fmla="*/ 726853 h 5593409"/>
              <a:gd name="connsiteX67" fmla="*/ 7936588 w 8631811"/>
              <a:gd name="connsiteY67" fmla="*/ 689010 h 5593409"/>
              <a:gd name="connsiteX68" fmla="*/ 7968735 w 8631811"/>
              <a:gd name="connsiteY68" fmla="*/ 651447 h 5593409"/>
              <a:gd name="connsiteX69" fmla="*/ 8001122 w 8631811"/>
              <a:gd name="connsiteY69" fmla="*/ 614171 h 5593409"/>
              <a:gd name="connsiteX70" fmla="*/ 8033755 w 8631811"/>
              <a:gd name="connsiteY70" fmla="*/ 577189 h 5593409"/>
              <a:gd name="connsiteX71" fmla="*/ 8066638 w 8631811"/>
              <a:gd name="connsiteY71" fmla="*/ 540507 h 5593409"/>
              <a:gd name="connsiteX72" fmla="*/ 8099780 w 8631811"/>
              <a:gd name="connsiteY72" fmla="*/ 504132 h 5593409"/>
              <a:gd name="connsiteX73" fmla="*/ 8133184 w 8631811"/>
              <a:gd name="connsiteY73" fmla="*/ 468072 h 5593409"/>
              <a:gd name="connsiteX74" fmla="*/ 8166858 w 8631811"/>
              <a:gd name="connsiteY74" fmla="*/ 432332 h 5593409"/>
              <a:gd name="connsiteX75" fmla="*/ 8200807 w 8631811"/>
              <a:gd name="connsiteY75" fmla="*/ 396920 h 5593409"/>
              <a:gd name="connsiteX76" fmla="*/ 8235037 w 8631811"/>
              <a:gd name="connsiteY76" fmla="*/ 361843 h 5593409"/>
              <a:gd name="connsiteX77" fmla="*/ 8269554 w 8631811"/>
              <a:gd name="connsiteY77" fmla="*/ 327107 h 5593409"/>
              <a:gd name="connsiteX78" fmla="*/ 8304364 w 8631811"/>
              <a:gd name="connsiteY78" fmla="*/ 292718 h 5593409"/>
              <a:gd name="connsiteX79" fmla="*/ 8339473 w 8631811"/>
              <a:gd name="connsiteY79" fmla="*/ 258685 h 5593409"/>
              <a:gd name="connsiteX80" fmla="*/ 8374886 w 8631811"/>
              <a:gd name="connsiteY80" fmla="*/ 225013 h 5593409"/>
              <a:gd name="connsiteX81" fmla="*/ 8410611 w 8631811"/>
              <a:gd name="connsiteY81" fmla="*/ 191709 h 5593409"/>
              <a:gd name="connsiteX82" fmla="*/ 8446651 w 8631811"/>
              <a:gd name="connsiteY82" fmla="*/ 158780 h 5593409"/>
              <a:gd name="connsiteX83" fmla="*/ 8483015 w 8631811"/>
              <a:gd name="connsiteY83" fmla="*/ 126233 h 5593409"/>
              <a:gd name="connsiteX84" fmla="*/ 8519706 w 8631811"/>
              <a:gd name="connsiteY84" fmla="*/ 94075 h 5593409"/>
              <a:gd name="connsiteX85" fmla="*/ 8556732 w 8631811"/>
              <a:gd name="connsiteY85" fmla="*/ 62312 h 5593409"/>
              <a:gd name="connsiteX86" fmla="*/ 8594098 w 8631811"/>
              <a:gd name="connsiteY86" fmla="*/ 30951 h 5593409"/>
              <a:gd name="connsiteX87" fmla="*/ 8631811 w 8631811"/>
              <a:gd name="connsiteY87" fmla="*/ 0 h 5593409"/>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10058"/>
              <a:gd name="connsiteX1" fmla="*/ 510 w 8631811"/>
              <a:gd name="connsiteY1" fmla="*/ 0 h 5610058"/>
              <a:gd name="connsiteX2" fmla="*/ 510 w 8631811"/>
              <a:gd name="connsiteY2" fmla="*/ 5593952 h 5610058"/>
              <a:gd name="connsiteX3" fmla="*/ 4420379 w 8631811"/>
              <a:gd name="connsiteY3" fmla="*/ 5593409 h 5610058"/>
              <a:gd name="connsiteX4" fmla="*/ 4453498 w 8631811"/>
              <a:gd name="connsiteY4" fmla="*/ 5565111 h 5610058"/>
              <a:gd name="connsiteX5" fmla="*/ 4486270 w 8631811"/>
              <a:gd name="connsiteY5" fmla="*/ 5536556 h 5610058"/>
              <a:gd name="connsiteX6" fmla="*/ 4518701 w 8631811"/>
              <a:gd name="connsiteY6" fmla="*/ 5507747 h 5610058"/>
              <a:gd name="connsiteX7" fmla="*/ 4550797 w 8631811"/>
              <a:gd name="connsiteY7" fmla="*/ 5478687 h 5610058"/>
              <a:gd name="connsiteX8" fmla="*/ 4582564 w 8631811"/>
              <a:gd name="connsiteY8" fmla="*/ 5449380 h 5610058"/>
              <a:gd name="connsiteX9" fmla="*/ 4614010 w 8631811"/>
              <a:gd name="connsiteY9" fmla="*/ 5419830 h 5610058"/>
              <a:gd name="connsiteX10" fmla="*/ 4645139 w 8631811"/>
              <a:gd name="connsiteY10" fmla="*/ 5390040 h 5610058"/>
              <a:gd name="connsiteX11" fmla="*/ 4675959 w 8631811"/>
              <a:gd name="connsiteY11" fmla="*/ 5360014 h 5610058"/>
              <a:gd name="connsiteX12" fmla="*/ 4706476 w 8631811"/>
              <a:gd name="connsiteY12" fmla="*/ 5329755 h 5610058"/>
              <a:gd name="connsiteX13" fmla="*/ 4736695 w 8631811"/>
              <a:gd name="connsiteY13" fmla="*/ 5299266 h 5610058"/>
              <a:gd name="connsiteX14" fmla="*/ 4766625 w 8631811"/>
              <a:gd name="connsiteY14" fmla="*/ 5268551 h 5610058"/>
              <a:gd name="connsiteX15" fmla="*/ 4796270 w 8631811"/>
              <a:gd name="connsiteY15" fmla="*/ 5237614 h 5610058"/>
              <a:gd name="connsiteX16" fmla="*/ 4825637 w 8631811"/>
              <a:gd name="connsiteY16" fmla="*/ 5206458 h 5610058"/>
              <a:gd name="connsiteX17" fmla="*/ 4854733 w 8631811"/>
              <a:gd name="connsiteY17" fmla="*/ 5175087 h 5610058"/>
              <a:gd name="connsiteX18" fmla="*/ 4883564 w 8631811"/>
              <a:gd name="connsiteY18" fmla="*/ 5143504 h 5610058"/>
              <a:gd name="connsiteX19" fmla="*/ 4912136 w 8631811"/>
              <a:gd name="connsiteY19" fmla="*/ 5111713 h 5610058"/>
              <a:gd name="connsiteX20" fmla="*/ 4940455 w 8631811"/>
              <a:gd name="connsiteY20" fmla="*/ 5079717 h 5610058"/>
              <a:gd name="connsiteX21" fmla="*/ 4968528 w 8631811"/>
              <a:gd name="connsiteY21" fmla="*/ 5047519 h 5610058"/>
              <a:gd name="connsiteX22" fmla="*/ 4996362 w 8631811"/>
              <a:gd name="connsiteY22" fmla="*/ 5015124 h 5610058"/>
              <a:gd name="connsiteX23" fmla="*/ 5023962 w 8631811"/>
              <a:gd name="connsiteY23" fmla="*/ 4982535 h 5610058"/>
              <a:gd name="connsiteX24" fmla="*/ 5051334 w 8631811"/>
              <a:gd name="connsiteY24" fmla="*/ 4949755 h 5610058"/>
              <a:gd name="connsiteX25" fmla="*/ 5078486 w 8631811"/>
              <a:gd name="connsiteY25" fmla="*/ 4916787 h 5610058"/>
              <a:gd name="connsiteX26" fmla="*/ 5105424 w 8631811"/>
              <a:gd name="connsiteY26" fmla="*/ 4883636 h 5610058"/>
              <a:gd name="connsiteX27" fmla="*/ 5132154 w 8631811"/>
              <a:gd name="connsiteY27" fmla="*/ 4850305 h 5610058"/>
              <a:gd name="connsiteX28" fmla="*/ 5158681 w 8631811"/>
              <a:gd name="connsiteY28" fmla="*/ 4816797 h 5610058"/>
              <a:gd name="connsiteX29" fmla="*/ 5211157 w 8631811"/>
              <a:gd name="connsiteY29" fmla="*/ 4749265 h 5610058"/>
              <a:gd name="connsiteX30" fmla="*/ 5262901 w 8631811"/>
              <a:gd name="connsiteY30" fmla="*/ 4681068 h 5610058"/>
              <a:gd name="connsiteX31" fmla="*/ 5313965 w 8631811"/>
              <a:gd name="connsiteY31" fmla="*/ 4612234 h 5610058"/>
              <a:gd name="connsiteX32" fmla="*/ 5364399 w 8631811"/>
              <a:gd name="connsiteY32" fmla="*/ 4542793 h 5610058"/>
              <a:gd name="connsiteX33" fmla="*/ 5414255 w 8631811"/>
              <a:gd name="connsiteY33" fmla="*/ 4472771 h 5610058"/>
              <a:gd name="connsiteX34" fmla="*/ 5463582 w 8631811"/>
              <a:gd name="connsiteY34" fmla="*/ 4402196 h 5610058"/>
              <a:gd name="connsiteX35" fmla="*/ 5512432 w 8631811"/>
              <a:gd name="connsiteY35" fmla="*/ 4331098 h 5610058"/>
              <a:gd name="connsiteX36" fmla="*/ 5560854 w 8631811"/>
              <a:gd name="connsiteY36" fmla="*/ 4259503 h 5610058"/>
              <a:gd name="connsiteX37" fmla="*/ 5608901 w 8631811"/>
              <a:gd name="connsiteY37" fmla="*/ 4187441 h 5610058"/>
              <a:gd name="connsiteX38" fmla="*/ 5680377 w 8631811"/>
              <a:gd name="connsiteY38" fmla="*/ 4078531 h 5610058"/>
              <a:gd name="connsiteX39" fmla="*/ 5751291 w 8631811"/>
              <a:gd name="connsiteY39" fmla="*/ 3968727 h 5610058"/>
              <a:gd name="connsiteX40" fmla="*/ 5868700 w 8631811"/>
              <a:gd name="connsiteY40" fmla="*/ 3783989 h 5610058"/>
              <a:gd name="connsiteX41" fmla="*/ 6198426 w 8631811"/>
              <a:gd name="connsiteY41" fmla="*/ 3258640 h 5610058"/>
              <a:gd name="connsiteX42" fmla="*/ 6294647 w 8631811"/>
              <a:gd name="connsiteY42" fmla="*/ 3107321 h 5610058"/>
              <a:gd name="connsiteX43" fmla="*/ 6367867 w 8631811"/>
              <a:gd name="connsiteY43" fmla="*/ 2993735 h 5610058"/>
              <a:gd name="connsiteX44" fmla="*/ 6448414 w 8631811"/>
              <a:gd name="connsiteY44" fmla="*/ 2869788 h 5610058"/>
              <a:gd name="connsiteX45" fmla="*/ 6559384 w 8631811"/>
              <a:gd name="connsiteY45" fmla="*/ 2696807 h 5610058"/>
              <a:gd name="connsiteX46" fmla="*/ 6971450 w 8631811"/>
              <a:gd name="connsiteY46" fmla="*/ 2045274 h 5610058"/>
              <a:gd name="connsiteX47" fmla="*/ 7081972 w 8631811"/>
              <a:gd name="connsiteY47" fmla="*/ 1872743 h 5610058"/>
              <a:gd name="connsiteX48" fmla="*/ 7165496 w 8631811"/>
              <a:gd name="connsiteY48" fmla="*/ 1744202 h 5610058"/>
              <a:gd name="connsiteX49" fmla="*/ 7221568 w 8631811"/>
              <a:gd name="connsiteY49" fmla="*/ 1659017 h 5610058"/>
              <a:gd name="connsiteX50" fmla="*/ 7278006 w 8631811"/>
              <a:gd name="connsiteY50" fmla="*/ 1574303 h 5610058"/>
              <a:gd name="connsiteX51" fmla="*/ 7334860 w 8631811"/>
              <a:gd name="connsiteY51" fmla="*/ 1490113 h 5610058"/>
              <a:gd name="connsiteX52" fmla="*/ 7392174 w 8631811"/>
              <a:gd name="connsiteY52" fmla="*/ 1406503 h 5610058"/>
              <a:gd name="connsiteX53" fmla="*/ 7449998 w 8631811"/>
              <a:gd name="connsiteY53" fmla="*/ 1323526 h 5610058"/>
              <a:gd name="connsiteX54" fmla="*/ 7508378 w 8631811"/>
              <a:gd name="connsiteY54" fmla="*/ 1241237 h 5610058"/>
              <a:gd name="connsiteX55" fmla="*/ 7567361 w 8631811"/>
              <a:gd name="connsiteY55" fmla="*/ 1159689 h 5610058"/>
              <a:gd name="connsiteX56" fmla="*/ 7597094 w 8631811"/>
              <a:gd name="connsiteY56" fmla="*/ 1119210 h 5610058"/>
              <a:gd name="connsiteX57" fmla="*/ 7626996 w 8631811"/>
              <a:gd name="connsiteY57" fmla="*/ 1078937 h 5610058"/>
              <a:gd name="connsiteX58" fmla="*/ 7657072 w 8631811"/>
              <a:gd name="connsiteY58" fmla="*/ 1038876 h 5610058"/>
              <a:gd name="connsiteX59" fmla="*/ 7687328 w 8631811"/>
              <a:gd name="connsiteY59" fmla="*/ 999035 h 5610058"/>
              <a:gd name="connsiteX60" fmla="*/ 7717771 w 8631811"/>
              <a:gd name="connsiteY60" fmla="*/ 959419 h 5610058"/>
              <a:gd name="connsiteX61" fmla="*/ 7748407 w 8631811"/>
              <a:gd name="connsiteY61" fmla="*/ 920037 h 5610058"/>
              <a:gd name="connsiteX62" fmla="*/ 7779240 w 8631811"/>
              <a:gd name="connsiteY62" fmla="*/ 880894 h 5610058"/>
              <a:gd name="connsiteX63" fmla="*/ 7810278 w 8631811"/>
              <a:gd name="connsiteY63" fmla="*/ 841997 h 5610058"/>
              <a:gd name="connsiteX64" fmla="*/ 7841525 w 8631811"/>
              <a:gd name="connsiteY64" fmla="*/ 803354 h 5610058"/>
              <a:gd name="connsiteX65" fmla="*/ 7872989 w 8631811"/>
              <a:gd name="connsiteY65" fmla="*/ 764970 h 5610058"/>
              <a:gd name="connsiteX66" fmla="*/ 7904675 w 8631811"/>
              <a:gd name="connsiteY66" fmla="*/ 726853 h 5610058"/>
              <a:gd name="connsiteX67" fmla="*/ 7936588 w 8631811"/>
              <a:gd name="connsiteY67" fmla="*/ 689010 h 5610058"/>
              <a:gd name="connsiteX68" fmla="*/ 7968735 w 8631811"/>
              <a:gd name="connsiteY68" fmla="*/ 651447 h 5610058"/>
              <a:gd name="connsiteX69" fmla="*/ 8001122 w 8631811"/>
              <a:gd name="connsiteY69" fmla="*/ 614171 h 5610058"/>
              <a:gd name="connsiteX70" fmla="*/ 8033755 w 8631811"/>
              <a:gd name="connsiteY70" fmla="*/ 577189 h 5610058"/>
              <a:gd name="connsiteX71" fmla="*/ 8066638 w 8631811"/>
              <a:gd name="connsiteY71" fmla="*/ 540507 h 5610058"/>
              <a:gd name="connsiteX72" fmla="*/ 8099780 w 8631811"/>
              <a:gd name="connsiteY72" fmla="*/ 504132 h 5610058"/>
              <a:gd name="connsiteX73" fmla="*/ 8133184 w 8631811"/>
              <a:gd name="connsiteY73" fmla="*/ 468072 h 5610058"/>
              <a:gd name="connsiteX74" fmla="*/ 8166858 w 8631811"/>
              <a:gd name="connsiteY74" fmla="*/ 432332 h 5610058"/>
              <a:gd name="connsiteX75" fmla="*/ 8200807 w 8631811"/>
              <a:gd name="connsiteY75" fmla="*/ 396920 h 5610058"/>
              <a:gd name="connsiteX76" fmla="*/ 8235037 w 8631811"/>
              <a:gd name="connsiteY76" fmla="*/ 361843 h 5610058"/>
              <a:gd name="connsiteX77" fmla="*/ 8269554 w 8631811"/>
              <a:gd name="connsiteY77" fmla="*/ 327107 h 5610058"/>
              <a:gd name="connsiteX78" fmla="*/ 8304364 w 8631811"/>
              <a:gd name="connsiteY78" fmla="*/ 292718 h 5610058"/>
              <a:gd name="connsiteX79" fmla="*/ 8339473 w 8631811"/>
              <a:gd name="connsiteY79" fmla="*/ 258685 h 5610058"/>
              <a:gd name="connsiteX80" fmla="*/ 8374886 w 8631811"/>
              <a:gd name="connsiteY80" fmla="*/ 225013 h 5610058"/>
              <a:gd name="connsiteX81" fmla="*/ 8410611 w 8631811"/>
              <a:gd name="connsiteY81" fmla="*/ 191709 h 5610058"/>
              <a:gd name="connsiteX82" fmla="*/ 8446651 w 8631811"/>
              <a:gd name="connsiteY82" fmla="*/ 158780 h 5610058"/>
              <a:gd name="connsiteX83" fmla="*/ 8483015 w 8631811"/>
              <a:gd name="connsiteY83" fmla="*/ 126233 h 5610058"/>
              <a:gd name="connsiteX84" fmla="*/ 8519706 w 8631811"/>
              <a:gd name="connsiteY84" fmla="*/ 94075 h 5610058"/>
              <a:gd name="connsiteX85" fmla="*/ 8556732 w 8631811"/>
              <a:gd name="connsiteY85" fmla="*/ 62312 h 5610058"/>
              <a:gd name="connsiteX86" fmla="*/ 8594098 w 8631811"/>
              <a:gd name="connsiteY86" fmla="*/ 30951 h 5610058"/>
              <a:gd name="connsiteX87" fmla="*/ 8631811 w 8631811"/>
              <a:gd name="connsiteY87" fmla="*/ 0 h 5610058"/>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9020"/>
              <a:gd name="connsiteX1" fmla="*/ 510 w 8631811"/>
              <a:gd name="connsiteY1" fmla="*/ 0 h 5599020"/>
              <a:gd name="connsiteX2" fmla="*/ 510 w 8631811"/>
              <a:gd name="connsiteY2" fmla="*/ 5593952 h 5599020"/>
              <a:gd name="connsiteX3" fmla="*/ 4420379 w 8631811"/>
              <a:gd name="connsiteY3" fmla="*/ 5593409 h 5599020"/>
              <a:gd name="connsiteX4" fmla="*/ 4453498 w 8631811"/>
              <a:gd name="connsiteY4" fmla="*/ 5565111 h 5599020"/>
              <a:gd name="connsiteX5" fmla="*/ 4486270 w 8631811"/>
              <a:gd name="connsiteY5" fmla="*/ 5536556 h 5599020"/>
              <a:gd name="connsiteX6" fmla="*/ 4518701 w 8631811"/>
              <a:gd name="connsiteY6" fmla="*/ 5507747 h 5599020"/>
              <a:gd name="connsiteX7" fmla="*/ 4550797 w 8631811"/>
              <a:gd name="connsiteY7" fmla="*/ 5478687 h 5599020"/>
              <a:gd name="connsiteX8" fmla="*/ 4582564 w 8631811"/>
              <a:gd name="connsiteY8" fmla="*/ 5449380 h 5599020"/>
              <a:gd name="connsiteX9" fmla="*/ 4614010 w 8631811"/>
              <a:gd name="connsiteY9" fmla="*/ 5419830 h 5599020"/>
              <a:gd name="connsiteX10" fmla="*/ 4645139 w 8631811"/>
              <a:gd name="connsiteY10" fmla="*/ 5390040 h 5599020"/>
              <a:gd name="connsiteX11" fmla="*/ 4675959 w 8631811"/>
              <a:gd name="connsiteY11" fmla="*/ 5360014 h 5599020"/>
              <a:gd name="connsiteX12" fmla="*/ 4706476 w 8631811"/>
              <a:gd name="connsiteY12" fmla="*/ 5329755 h 5599020"/>
              <a:gd name="connsiteX13" fmla="*/ 4736695 w 8631811"/>
              <a:gd name="connsiteY13" fmla="*/ 5299266 h 5599020"/>
              <a:gd name="connsiteX14" fmla="*/ 4766625 w 8631811"/>
              <a:gd name="connsiteY14" fmla="*/ 5268551 h 5599020"/>
              <a:gd name="connsiteX15" fmla="*/ 4796270 w 8631811"/>
              <a:gd name="connsiteY15" fmla="*/ 5237614 h 5599020"/>
              <a:gd name="connsiteX16" fmla="*/ 4825637 w 8631811"/>
              <a:gd name="connsiteY16" fmla="*/ 5206458 h 5599020"/>
              <a:gd name="connsiteX17" fmla="*/ 4854733 w 8631811"/>
              <a:gd name="connsiteY17" fmla="*/ 5175087 h 5599020"/>
              <a:gd name="connsiteX18" fmla="*/ 4883564 w 8631811"/>
              <a:gd name="connsiteY18" fmla="*/ 5143504 h 5599020"/>
              <a:gd name="connsiteX19" fmla="*/ 4912136 w 8631811"/>
              <a:gd name="connsiteY19" fmla="*/ 5111713 h 5599020"/>
              <a:gd name="connsiteX20" fmla="*/ 4940455 w 8631811"/>
              <a:gd name="connsiteY20" fmla="*/ 5079717 h 5599020"/>
              <a:gd name="connsiteX21" fmla="*/ 4968528 w 8631811"/>
              <a:gd name="connsiteY21" fmla="*/ 5047519 h 5599020"/>
              <a:gd name="connsiteX22" fmla="*/ 4996362 w 8631811"/>
              <a:gd name="connsiteY22" fmla="*/ 5015124 h 5599020"/>
              <a:gd name="connsiteX23" fmla="*/ 5023962 w 8631811"/>
              <a:gd name="connsiteY23" fmla="*/ 4982535 h 5599020"/>
              <a:gd name="connsiteX24" fmla="*/ 5051334 w 8631811"/>
              <a:gd name="connsiteY24" fmla="*/ 4949755 h 5599020"/>
              <a:gd name="connsiteX25" fmla="*/ 5078486 w 8631811"/>
              <a:gd name="connsiteY25" fmla="*/ 4916787 h 5599020"/>
              <a:gd name="connsiteX26" fmla="*/ 5105424 w 8631811"/>
              <a:gd name="connsiteY26" fmla="*/ 4883636 h 5599020"/>
              <a:gd name="connsiteX27" fmla="*/ 5132154 w 8631811"/>
              <a:gd name="connsiteY27" fmla="*/ 4850305 h 5599020"/>
              <a:gd name="connsiteX28" fmla="*/ 5158681 w 8631811"/>
              <a:gd name="connsiteY28" fmla="*/ 4816797 h 5599020"/>
              <a:gd name="connsiteX29" fmla="*/ 5211157 w 8631811"/>
              <a:gd name="connsiteY29" fmla="*/ 4749265 h 5599020"/>
              <a:gd name="connsiteX30" fmla="*/ 5262901 w 8631811"/>
              <a:gd name="connsiteY30" fmla="*/ 4681068 h 5599020"/>
              <a:gd name="connsiteX31" fmla="*/ 5313965 w 8631811"/>
              <a:gd name="connsiteY31" fmla="*/ 4612234 h 5599020"/>
              <a:gd name="connsiteX32" fmla="*/ 5364399 w 8631811"/>
              <a:gd name="connsiteY32" fmla="*/ 4542793 h 5599020"/>
              <a:gd name="connsiteX33" fmla="*/ 5414255 w 8631811"/>
              <a:gd name="connsiteY33" fmla="*/ 4472771 h 5599020"/>
              <a:gd name="connsiteX34" fmla="*/ 5463582 w 8631811"/>
              <a:gd name="connsiteY34" fmla="*/ 4402196 h 5599020"/>
              <a:gd name="connsiteX35" fmla="*/ 5512432 w 8631811"/>
              <a:gd name="connsiteY35" fmla="*/ 4331098 h 5599020"/>
              <a:gd name="connsiteX36" fmla="*/ 5560854 w 8631811"/>
              <a:gd name="connsiteY36" fmla="*/ 4259503 h 5599020"/>
              <a:gd name="connsiteX37" fmla="*/ 5608901 w 8631811"/>
              <a:gd name="connsiteY37" fmla="*/ 4187441 h 5599020"/>
              <a:gd name="connsiteX38" fmla="*/ 5680377 w 8631811"/>
              <a:gd name="connsiteY38" fmla="*/ 4078531 h 5599020"/>
              <a:gd name="connsiteX39" fmla="*/ 5751291 w 8631811"/>
              <a:gd name="connsiteY39" fmla="*/ 3968727 h 5599020"/>
              <a:gd name="connsiteX40" fmla="*/ 5868700 w 8631811"/>
              <a:gd name="connsiteY40" fmla="*/ 3783989 h 5599020"/>
              <a:gd name="connsiteX41" fmla="*/ 6198426 w 8631811"/>
              <a:gd name="connsiteY41" fmla="*/ 3258640 h 5599020"/>
              <a:gd name="connsiteX42" fmla="*/ 6294647 w 8631811"/>
              <a:gd name="connsiteY42" fmla="*/ 3107321 h 5599020"/>
              <a:gd name="connsiteX43" fmla="*/ 6367867 w 8631811"/>
              <a:gd name="connsiteY43" fmla="*/ 2993735 h 5599020"/>
              <a:gd name="connsiteX44" fmla="*/ 6448414 w 8631811"/>
              <a:gd name="connsiteY44" fmla="*/ 2869788 h 5599020"/>
              <a:gd name="connsiteX45" fmla="*/ 6559384 w 8631811"/>
              <a:gd name="connsiteY45" fmla="*/ 2696807 h 5599020"/>
              <a:gd name="connsiteX46" fmla="*/ 6971450 w 8631811"/>
              <a:gd name="connsiteY46" fmla="*/ 2045274 h 5599020"/>
              <a:gd name="connsiteX47" fmla="*/ 7081972 w 8631811"/>
              <a:gd name="connsiteY47" fmla="*/ 1872743 h 5599020"/>
              <a:gd name="connsiteX48" fmla="*/ 7165496 w 8631811"/>
              <a:gd name="connsiteY48" fmla="*/ 1744202 h 5599020"/>
              <a:gd name="connsiteX49" fmla="*/ 7221568 w 8631811"/>
              <a:gd name="connsiteY49" fmla="*/ 1659017 h 5599020"/>
              <a:gd name="connsiteX50" fmla="*/ 7278006 w 8631811"/>
              <a:gd name="connsiteY50" fmla="*/ 1574303 h 5599020"/>
              <a:gd name="connsiteX51" fmla="*/ 7334860 w 8631811"/>
              <a:gd name="connsiteY51" fmla="*/ 1490113 h 5599020"/>
              <a:gd name="connsiteX52" fmla="*/ 7392174 w 8631811"/>
              <a:gd name="connsiteY52" fmla="*/ 1406503 h 5599020"/>
              <a:gd name="connsiteX53" fmla="*/ 7449998 w 8631811"/>
              <a:gd name="connsiteY53" fmla="*/ 1323526 h 5599020"/>
              <a:gd name="connsiteX54" fmla="*/ 7508378 w 8631811"/>
              <a:gd name="connsiteY54" fmla="*/ 1241237 h 5599020"/>
              <a:gd name="connsiteX55" fmla="*/ 7567361 w 8631811"/>
              <a:gd name="connsiteY55" fmla="*/ 1159689 h 5599020"/>
              <a:gd name="connsiteX56" fmla="*/ 7597094 w 8631811"/>
              <a:gd name="connsiteY56" fmla="*/ 1119210 h 5599020"/>
              <a:gd name="connsiteX57" fmla="*/ 7626996 w 8631811"/>
              <a:gd name="connsiteY57" fmla="*/ 1078937 h 5599020"/>
              <a:gd name="connsiteX58" fmla="*/ 7657072 w 8631811"/>
              <a:gd name="connsiteY58" fmla="*/ 1038876 h 5599020"/>
              <a:gd name="connsiteX59" fmla="*/ 7687328 w 8631811"/>
              <a:gd name="connsiteY59" fmla="*/ 999035 h 5599020"/>
              <a:gd name="connsiteX60" fmla="*/ 7717771 w 8631811"/>
              <a:gd name="connsiteY60" fmla="*/ 959419 h 5599020"/>
              <a:gd name="connsiteX61" fmla="*/ 7748407 w 8631811"/>
              <a:gd name="connsiteY61" fmla="*/ 920037 h 5599020"/>
              <a:gd name="connsiteX62" fmla="*/ 7779240 w 8631811"/>
              <a:gd name="connsiteY62" fmla="*/ 880894 h 5599020"/>
              <a:gd name="connsiteX63" fmla="*/ 7810278 w 8631811"/>
              <a:gd name="connsiteY63" fmla="*/ 841997 h 5599020"/>
              <a:gd name="connsiteX64" fmla="*/ 7841525 w 8631811"/>
              <a:gd name="connsiteY64" fmla="*/ 803354 h 5599020"/>
              <a:gd name="connsiteX65" fmla="*/ 7872989 w 8631811"/>
              <a:gd name="connsiteY65" fmla="*/ 764970 h 5599020"/>
              <a:gd name="connsiteX66" fmla="*/ 7904675 w 8631811"/>
              <a:gd name="connsiteY66" fmla="*/ 726853 h 5599020"/>
              <a:gd name="connsiteX67" fmla="*/ 7936588 w 8631811"/>
              <a:gd name="connsiteY67" fmla="*/ 689010 h 5599020"/>
              <a:gd name="connsiteX68" fmla="*/ 7968735 w 8631811"/>
              <a:gd name="connsiteY68" fmla="*/ 651447 h 5599020"/>
              <a:gd name="connsiteX69" fmla="*/ 8001122 w 8631811"/>
              <a:gd name="connsiteY69" fmla="*/ 614171 h 5599020"/>
              <a:gd name="connsiteX70" fmla="*/ 8033755 w 8631811"/>
              <a:gd name="connsiteY70" fmla="*/ 577189 h 5599020"/>
              <a:gd name="connsiteX71" fmla="*/ 8066638 w 8631811"/>
              <a:gd name="connsiteY71" fmla="*/ 540507 h 5599020"/>
              <a:gd name="connsiteX72" fmla="*/ 8099780 w 8631811"/>
              <a:gd name="connsiteY72" fmla="*/ 504132 h 5599020"/>
              <a:gd name="connsiteX73" fmla="*/ 8133184 w 8631811"/>
              <a:gd name="connsiteY73" fmla="*/ 468072 h 5599020"/>
              <a:gd name="connsiteX74" fmla="*/ 8166858 w 8631811"/>
              <a:gd name="connsiteY74" fmla="*/ 432332 h 5599020"/>
              <a:gd name="connsiteX75" fmla="*/ 8200807 w 8631811"/>
              <a:gd name="connsiteY75" fmla="*/ 396920 h 5599020"/>
              <a:gd name="connsiteX76" fmla="*/ 8235037 w 8631811"/>
              <a:gd name="connsiteY76" fmla="*/ 361843 h 5599020"/>
              <a:gd name="connsiteX77" fmla="*/ 8269554 w 8631811"/>
              <a:gd name="connsiteY77" fmla="*/ 327107 h 5599020"/>
              <a:gd name="connsiteX78" fmla="*/ 8304364 w 8631811"/>
              <a:gd name="connsiteY78" fmla="*/ 292718 h 5599020"/>
              <a:gd name="connsiteX79" fmla="*/ 8339473 w 8631811"/>
              <a:gd name="connsiteY79" fmla="*/ 258685 h 5599020"/>
              <a:gd name="connsiteX80" fmla="*/ 8374886 w 8631811"/>
              <a:gd name="connsiteY80" fmla="*/ 225013 h 5599020"/>
              <a:gd name="connsiteX81" fmla="*/ 8410611 w 8631811"/>
              <a:gd name="connsiteY81" fmla="*/ 191709 h 5599020"/>
              <a:gd name="connsiteX82" fmla="*/ 8446651 w 8631811"/>
              <a:gd name="connsiteY82" fmla="*/ 158780 h 5599020"/>
              <a:gd name="connsiteX83" fmla="*/ 8483015 w 8631811"/>
              <a:gd name="connsiteY83" fmla="*/ 126233 h 5599020"/>
              <a:gd name="connsiteX84" fmla="*/ 8519706 w 8631811"/>
              <a:gd name="connsiteY84" fmla="*/ 94075 h 5599020"/>
              <a:gd name="connsiteX85" fmla="*/ 8556732 w 8631811"/>
              <a:gd name="connsiteY85" fmla="*/ 62312 h 5599020"/>
              <a:gd name="connsiteX86" fmla="*/ 8594098 w 8631811"/>
              <a:gd name="connsiteY86" fmla="*/ 30951 h 5599020"/>
              <a:gd name="connsiteX87" fmla="*/ 8631811 w 8631811"/>
              <a:gd name="connsiteY87" fmla="*/ 0 h 5599020"/>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82192 w 8631811"/>
              <a:gd name="connsiteY3" fmla="*/ 5550657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55902"/>
              <a:gd name="connsiteX1" fmla="*/ 510 w 8631811"/>
              <a:gd name="connsiteY1" fmla="*/ 0 h 5655902"/>
              <a:gd name="connsiteX2" fmla="*/ 510 w 8631811"/>
              <a:gd name="connsiteY2" fmla="*/ 5593952 h 5655902"/>
              <a:gd name="connsiteX3" fmla="*/ 4362155 w 8631811"/>
              <a:gd name="connsiteY3" fmla="*/ 5654487 h 5655902"/>
              <a:gd name="connsiteX4" fmla="*/ 4453498 w 8631811"/>
              <a:gd name="connsiteY4" fmla="*/ 5565111 h 5655902"/>
              <a:gd name="connsiteX5" fmla="*/ 4486270 w 8631811"/>
              <a:gd name="connsiteY5" fmla="*/ 5536556 h 5655902"/>
              <a:gd name="connsiteX6" fmla="*/ 4518701 w 8631811"/>
              <a:gd name="connsiteY6" fmla="*/ 5507747 h 5655902"/>
              <a:gd name="connsiteX7" fmla="*/ 4550797 w 8631811"/>
              <a:gd name="connsiteY7" fmla="*/ 5478687 h 5655902"/>
              <a:gd name="connsiteX8" fmla="*/ 4582564 w 8631811"/>
              <a:gd name="connsiteY8" fmla="*/ 5449380 h 5655902"/>
              <a:gd name="connsiteX9" fmla="*/ 4614010 w 8631811"/>
              <a:gd name="connsiteY9" fmla="*/ 5419830 h 5655902"/>
              <a:gd name="connsiteX10" fmla="*/ 4645139 w 8631811"/>
              <a:gd name="connsiteY10" fmla="*/ 5390040 h 5655902"/>
              <a:gd name="connsiteX11" fmla="*/ 4675959 w 8631811"/>
              <a:gd name="connsiteY11" fmla="*/ 5360014 h 5655902"/>
              <a:gd name="connsiteX12" fmla="*/ 4706476 w 8631811"/>
              <a:gd name="connsiteY12" fmla="*/ 5329755 h 5655902"/>
              <a:gd name="connsiteX13" fmla="*/ 4736695 w 8631811"/>
              <a:gd name="connsiteY13" fmla="*/ 5299266 h 5655902"/>
              <a:gd name="connsiteX14" fmla="*/ 4766625 w 8631811"/>
              <a:gd name="connsiteY14" fmla="*/ 5268551 h 5655902"/>
              <a:gd name="connsiteX15" fmla="*/ 4796270 w 8631811"/>
              <a:gd name="connsiteY15" fmla="*/ 5237614 h 5655902"/>
              <a:gd name="connsiteX16" fmla="*/ 4825637 w 8631811"/>
              <a:gd name="connsiteY16" fmla="*/ 5206458 h 5655902"/>
              <a:gd name="connsiteX17" fmla="*/ 4854733 w 8631811"/>
              <a:gd name="connsiteY17" fmla="*/ 5175087 h 5655902"/>
              <a:gd name="connsiteX18" fmla="*/ 4883564 w 8631811"/>
              <a:gd name="connsiteY18" fmla="*/ 5143504 h 5655902"/>
              <a:gd name="connsiteX19" fmla="*/ 4912136 w 8631811"/>
              <a:gd name="connsiteY19" fmla="*/ 5111713 h 5655902"/>
              <a:gd name="connsiteX20" fmla="*/ 4940455 w 8631811"/>
              <a:gd name="connsiteY20" fmla="*/ 5079717 h 5655902"/>
              <a:gd name="connsiteX21" fmla="*/ 4968528 w 8631811"/>
              <a:gd name="connsiteY21" fmla="*/ 5047519 h 5655902"/>
              <a:gd name="connsiteX22" fmla="*/ 4996362 w 8631811"/>
              <a:gd name="connsiteY22" fmla="*/ 5015124 h 5655902"/>
              <a:gd name="connsiteX23" fmla="*/ 5023962 w 8631811"/>
              <a:gd name="connsiteY23" fmla="*/ 4982535 h 5655902"/>
              <a:gd name="connsiteX24" fmla="*/ 5051334 w 8631811"/>
              <a:gd name="connsiteY24" fmla="*/ 4949755 h 5655902"/>
              <a:gd name="connsiteX25" fmla="*/ 5078486 w 8631811"/>
              <a:gd name="connsiteY25" fmla="*/ 4916787 h 5655902"/>
              <a:gd name="connsiteX26" fmla="*/ 5105424 w 8631811"/>
              <a:gd name="connsiteY26" fmla="*/ 4883636 h 5655902"/>
              <a:gd name="connsiteX27" fmla="*/ 5132154 w 8631811"/>
              <a:gd name="connsiteY27" fmla="*/ 4850305 h 5655902"/>
              <a:gd name="connsiteX28" fmla="*/ 5158681 w 8631811"/>
              <a:gd name="connsiteY28" fmla="*/ 4816797 h 5655902"/>
              <a:gd name="connsiteX29" fmla="*/ 5211157 w 8631811"/>
              <a:gd name="connsiteY29" fmla="*/ 4749265 h 5655902"/>
              <a:gd name="connsiteX30" fmla="*/ 5262901 w 8631811"/>
              <a:gd name="connsiteY30" fmla="*/ 4681068 h 5655902"/>
              <a:gd name="connsiteX31" fmla="*/ 5313965 w 8631811"/>
              <a:gd name="connsiteY31" fmla="*/ 4612234 h 5655902"/>
              <a:gd name="connsiteX32" fmla="*/ 5364399 w 8631811"/>
              <a:gd name="connsiteY32" fmla="*/ 4542793 h 5655902"/>
              <a:gd name="connsiteX33" fmla="*/ 5414255 w 8631811"/>
              <a:gd name="connsiteY33" fmla="*/ 4472771 h 5655902"/>
              <a:gd name="connsiteX34" fmla="*/ 5463582 w 8631811"/>
              <a:gd name="connsiteY34" fmla="*/ 4402196 h 5655902"/>
              <a:gd name="connsiteX35" fmla="*/ 5512432 w 8631811"/>
              <a:gd name="connsiteY35" fmla="*/ 4331098 h 5655902"/>
              <a:gd name="connsiteX36" fmla="*/ 5560854 w 8631811"/>
              <a:gd name="connsiteY36" fmla="*/ 4259503 h 5655902"/>
              <a:gd name="connsiteX37" fmla="*/ 5608901 w 8631811"/>
              <a:gd name="connsiteY37" fmla="*/ 4187441 h 5655902"/>
              <a:gd name="connsiteX38" fmla="*/ 5680377 w 8631811"/>
              <a:gd name="connsiteY38" fmla="*/ 4078531 h 5655902"/>
              <a:gd name="connsiteX39" fmla="*/ 5751291 w 8631811"/>
              <a:gd name="connsiteY39" fmla="*/ 3968727 h 5655902"/>
              <a:gd name="connsiteX40" fmla="*/ 5868700 w 8631811"/>
              <a:gd name="connsiteY40" fmla="*/ 3783989 h 5655902"/>
              <a:gd name="connsiteX41" fmla="*/ 6198426 w 8631811"/>
              <a:gd name="connsiteY41" fmla="*/ 3258640 h 5655902"/>
              <a:gd name="connsiteX42" fmla="*/ 6294647 w 8631811"/>
              <a:gd name="connsiteY42" fmla="*/ 3107321 h 5655902"/>
              <a:gd name="connsiteX43" fmla="*/ 6367867 w 8631811"/>
              <a:gd name="connsiteY43" fmla="*/ 2993735 h 5655902"/>
              <a:gd name="connsiteX44" fmla="*/ 6448414 w 8631811"/>
              <a:gd name="connsiteY44" fmla="*/ 2869788 h 5655902"/>
              <a:gd name="connsiteX45" fmla="*/ 6559384 w 8631811"/>
              <a:gd name="connsiteY45" fmla="*/ 2696807 h 5655902"/>
              <a:gd name="connsiteX46" fmla="*/ 6971450 w 8631811"/>
              <a:gd name="connsiteY46" fmla="*/ 2045274 h 5655902"/>
              <a:gd name="connsiteX47" fmla="*/ 7081972 w 8631811"/>
              <a:gd name="connsiteY47" fmla="*/ 1872743 h 5655902"/>
              <a:gd name="connsiteX48" fmla="*/ 7165496 w 8631811"/>
              <a:gd name="connsiteY48" fmla="*/ 1744202 h 5655902"/>
              <a:gd name="connsiteX49" fmla="*/ 7221568 w 8631811"/>
              <a:gd name="connsiteY49" fmla="*/ 1659017 h 5655902"/>
              <a:gd name="connsiteX50" fmla="*/ 7278006 w 8631811"/>
              <a:gd name="connsiteY50" fmla="*/ 1574303 h 5655902"/>
              <a:gd name="connsiteX51" fmla="*/ 7334860 w 8631811"/>
              <a:gd name="connsiteY51" fmla="*/ 1490113 h 5655902"/>
              <a:gd name="connsiteX52" fmla="*/ 7392174 w 8631811"/>
              <a:gd name="connsiteY52" fmla="*/ 1406503 h 5655902"/>
              <a:gd name="connsiteX53" fmla="*/ 7449998 w 8631811"/>
              <a:gd name="connsiteY53" fmla="*/ 1323526 h 5655902"/>
              <a:gd name="connsiteX54" fmla="*/ 7508378 w 8631811"/>
              <a:gd name="connsiteY54" fmla="*/ 1241237 h 5655902"/>
              <a:gd name="connsiteX55" fmla="*/ 7567361 w 8631811"/>
              <a:gd name="connsiteY55" fmla="*/ 1159689 h 5655902"/>
              <a:gd name="connsiteX56" fmla="*/ 7597094 w 8631811"/>
              <a:gd name="connsiteY56" fmla="*/ 1119210 h 5655902"/>
              <a:gd name="connsiteX57" fmla="*/ 7626996 w 8631811"/>
              <a:gd name="connsiteY57" fmla="*/ 1078937 h 5655902"/>
              <a:gd name="connsiteX58" fmla="*/ 7657072 w 8631811"/>
              <a:gd name="connsiteY58" fmla="*/ 1038876 h 5655902"/>
              <a:gd name="connsiteX59" fmla="*/ 7687328 w 8631811"/>
              <a:gd name="connsiteY59" fmla="*/ 999035 h 5655902"/>
              <a:gd name="connsiteX60" fmla="*/ 7717771 w 8631811"/>
              <a:gd name="connsiteY60" fmla="*/ 959419 h 5655902"/>
              <a:gd name="connsiteX61" fmla="*/ 7748407 w 8631811"/>
              <a:gd name="connsiteY61" fmla="*/ 920037 h 5655902"/>
              <a:gd name="connsiteX62" fmla="*/ 7779240 w 8631811"/>
              <a:gd name="connsiteY62" fmla="*/ 880894 h 5655902"/>
              <a:gd name="connsiteX63" fmla="*/ 7810278 w 8631811"/>
              <a:gd name="connsiteY63" fmla="*/ 841997 h 5655902"/>
              <a:gd name="connsiteX64" fmla="*/ 7841525 w 8631811"/>
              <a:gd name="connsiteY64" fmla="*/ 803354 h 5655902"/>
              <a:gd name="connsiteX65" fmla="*/ 7872989 w 8631811"/>
              <a:gd name="connsiteY65" fmla="*/ 764970 h 5655902"/>
              <a:gd name="connsiteX66" fmla="*/ 7904675 w 8631811"/>
              <a:gd name="connsiteY66" fmla="*/ 726853 h 5655902"/>
              <a:gd name="connsiteX67" fmla="*/ 7936588 w 8631811"/>
              <a:gd name="connsiteY67" fmla="*/ 689010 h 5655902"/>
              <a:gd name="connsiteX68" fmla="*/ 7968735 w 8631811"/>
              <a:gd name="connsiteY68" fmla="*/ 651447 h 5655902"/>
              <a:gd name="connsiteX69" fmla="*/ 8001122 w 8631811"/>
              <a:gd name="connsiteY69" fmla="*/ 614171 h 5655902"/>
              <a:gd name="connsiteX70" fmla="*/ 8033755 w 8631811"/>
              <a:gd name="connsiteY70" fmla="*/ 577189 h 5655902"/>
              <a:gd name="connsiteX71" fmla="*/ 8066638 w 8631811"/>
              <a:gd name="connsiteY71" fmla="*/ 540507 h 5655902"/>
              <a:gd name="connsiteX72" fmla="*/ 8099780 w 8631811"/>
              <a:gd name="connsiteY72" fmla="*/ 504132 h 5655902"/>
              <a:gd name="connsiteX73" fmla="*/ 8133184 w 8631811"/>
              <a:gd name="connsiteY73" fmla="*/ 468072 h 5655902"/>
              <a:gd name="connsiteX74" fmla="*/ 8166858 w 8631811"/>
              <a:gd name="connsiteY74" fmla="*/ 432332 h 5655902"/>
              <a:gd name="connsiteX75" fmla="*/ 8200807 w 8631811"/>
              <a:gd name="connsiteY75" fmla="*/ 396920 h 5655902"/>
              <a:gd name="connsiteX76" fmla="*/ 8235037 w 8631811"/>
              <a:gd name="connsiteY76" fmla="*/ 361843 h 5655902"/>
              <a:gd name="connsiteX77" fmla="*/ 8269554 w 8631811"/>
              <a:gd name="connsiteY77" fmla="*/ 327107 h 5655902"/>
              <a:gd name="connsiteX78" fmla="*/ 8304364 w 8631811"/>
              <a:gd name="connsiteY78" fmla="*/ 292718 h 5655902"/>
              <a:gd name="connsiteX79" fmla="*/ 8339473 w 8631811"/>
              <a:gd name="connsiteY79" fmla="*/ 258685 h 5655902"/>
              <a:gd name="connsiteX80" fmla="*/ 8374886 w 8631811"/>
              <a:gd name="connsiteY80" fmla="*/ 225013 h 5655902"/>
              <a:gd name="connsiteX81" fmla="*/ 8410611 w 8631811"/>
              <a:gd name="connsiteY81" fmla="*/ 191709 h 5655902"/>
              <a:gd name="connsiteX82" fmla="*/ 8446651 w 8631811"/>
              <a:gd name="connsiteY82" fmla="*/ 158780 h 5655902"/>
              <a:gd name="connsiteX83" fmla="*/ 8483015 w 8631811"/>
              <a:gd name="connsiteY83" fmla="*/ 126233 h 5655902"/>
              <a:gd name="connsiteX84" fmla="*/ 8519706 w 8631811"/>
              <a:gd name="connsiteY84" fmla="*/ 94075 h 5655902"/>
              <a:gd name="connsiteX85" fmla="*/ 8556732 w 8631811"/>
              <a:gd name="connsiteY85" fmla="*/ 62312 h 5655902"/>
              <a:gd name="connsiteX86" fmla="*/ 8594098 w 8631811"/>
              <a:gd name="connsiteY86" fmla="*/ 30951 h 5655902"/>
              <a:gd name="connsiteX87" fmla="*/ 8631811 w 8631811"/>
              <a:gd name="connsiteY87" fmla="*/ 0 h 5655902"/>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8631811" h="5609155">
                <a:moveTo>
                  <a:pt x="8631811" y="0"/>
                </a:moveTo>
                <a:lnTo>
                  <a:pt x="510" y="0"/>
                </a:lnTo>
                <a:cubicBezTo>
                  <a:pt x="-1254" y="1862614"/>
                  <a:pt x="2274" y="3731338"/>
                  <a:pt x="510" y="5593952"/>
                </a:cubicBezTo>
                <a:cubicBezTo>
                  <a:pt x="2341" y="5593771"/>
                  <a:pt x="4397374" y="5618022"/>
                  <a:pt x="4415084" y="5605626"/>
                </a:cubicBezTo>
                <a:cubicBezTo>
                  <a:pt x="4394366" y="5618587"/>
                  <a:pt x="4458338" y="5576581"/>
                  <a:pt x="4453498" y="5565111"/>
                </a:cubicBezTo>
                <a:cubicBezTo>
                  <a:pt x="4458213" y="5577087"/>
                  <a:pt x="4475346" y="5546074"/>
                  <a:pt x="4486270" y="5536556"/>
                </a:cubicBezTo>
                <a:lnTo>
                  <a:pt x="4518701" y="5507747"/>
                </a:lnTo>
                <a:lnTo>
                  <a:pt x="4550797" y="5478687"/>
                </a:lnTo>
                <a:lnTo>
                  <a:pt x="4582564" y="5449380"/>
                </a:lnTo>
                <a:lnTo>
                  <a:pt x="4614010" y="5419830"/>
                </a:lnTo>
                <a:lnTo>
                  <a:pt x="4645139" y="5390040"/>
                </a:lnTo>
                <a:lnTo>
                  <a:pt x="4675959" y="5360014"/>
                </a:lnTo>
                <a:lnTo>
                  <a:pt x="4706476" y="5329755"/>
                </a:lnTo>
                <a:lnTo>
                  <a:pt x="4736695" y="5299266"/>
                </a:lnTo>
                <a:lnTo>
                  <a:pt x="4766625" y="5268551"/>
                </a:lnTo>
                <a:lnTo>
                  <a:pt x="4796270" y="5237614"/>
                </a:lnTo>
                <a:lnTo>
                  <a:pt x="4825637" y="5206458"/>
                </a:lnTo>
                <a:lnTo>
                  <a:pt x="4854733" y="5175087"/>
                </a:lnTo>
                <a:lnTo>
                  <a:pt x="4883564" y="5143504"/>
                </a:lnTo>
                <a:lnTo>
                  <a:pt x="4912136" y="5111713"/>
                </a:lnTo>
                <a:lnTo>
                  <a:pt x="4940455" y="5079717"/>
                </a:lnTo>
                <a:lnTo>
                  <a:pt x="4968528" y="5047519"/>
                </a:lnTo>
                <a:lnTo>
                  <a:pt x="4996362" y="5015124"/>
                </a:lnTo>
                <a:lnTo>
                  <a:pt x="5023962" y="4982535"/>
                </a:lnTo>
                <a:lnTo>
                  <a:pt x="5051334" y="4949755"/>
                </a:lnTo>
                <a:lnTo>
                  <a:pt x="5078486" y="4916787"/>
                </a:lnTo>
                <a:lnTo>
                  <a:pt x="5105424" y="4883636"/>
                </a:lnTo>
                <a:lnTo>
                  <a:pt x="5132154" y="4850305"/>
                </a:lnTo>
                <a:lnTo>
                  <a:pt x="5158681" y="4816797"/>
                </a:lnTo>
                <a:lnTo>
                  <a:pt x="5211157" y="4749265"/>
                </a:lnTo>
                <a:lnTo>
                  <a:pt x="5262901" y="4681068"/>
                </a:lnTo>
                <a:lnTo>
                  <a:pt x="5313965" y="4612234"/>
                </a:lnTo>
                <a:lnTo>
                  <a:pt x="5364399" y="4542793"/>
                </a:lnTo>
                <a:lnTo>
                  <a:pt x="5414255" y="4472771"/>
                </a:lnTo>
                <a:lnTo>
                  <a:pt x="5463582" y="4402196"/>
                </a:lnTo>
                <a:lnTo>
                  <a:pt x="5512432" y="4331098"/>
                </a:lnTo>
                <a:lnTo>
                  <a:pt x="5560854" y="4259503"/>
                </a:lnTo>
                <a:lnTo>
                  <a:pt x="5608901" y="4187441"/>
                </a:lnTo>
                <a:lnTo>
                  <a:pt x="5680377" y="4078531"/>
                </a:lnTo>
                <a:lnTo>
                  <a:pt x="5751291" y="3968727"/>
                </a:lnTo>
                <a:lnTo>
                  <a:pt x="5868700" y="3783989"/>
                </a:lnTo>
                <a:lnTo>
                  <a:pt x="6198426" y="3258640"/>
                </a:lnTo>
                <a:lnTo>
                  <a:pt x="6294647" y="3107321"/>
                </a:lnTo>
                <a:lnTo>
                  <a:pt x="6367867" y="2993735"/>
                </a:lnTo>
                <a:lnTo>
                  <a:pt x="6448414" y="2869788"/>
                </a:lnTo>
                <a:lnTo>
                  <a:pt x="6559384" y="2696807"/>
                </a:lnTo>
                <a:lnTo>
                  <a:pt x="6971450" y="2045274"/>
                </a:lnTo>
                <a:lnTo>
                  <a:pt x="7081972" y="1872743"/>
                </a:lnTo>
                <a:lnTo>
                  <a:pt x="7165496" y="1744202"/>
                </a:lnTo>
                <a:lnTo>
                  <a:pt x="7221568" y="1659017"/>
                </a:lnTo>
                <a:lnTo>
                  <a:pt x="7278006" y="1574303"/>
                </a:lnTo>
                <a:lnTo>
                  <a:pt x="7334860" y="1490113"/>
                </a:lnTo>
                <a:lnTo>
                  <a:pt x="7392174" y="1406503"/>
                </a:lnTo>
                <a:lnTo>
                  <a:pt x="7449998" y="1323526"/>
                </a:lnTo>
                <a:lnTo>
                  <a:pt x="7508378" y="1241237"/>
                </a:lnTo>
                <a:lnTo>
                  <a:pt x="7567361" y="1159689"/>
                </a:lnTo>
                <a:lnTo>
                  <a:pt x="7597094" y="1119210"/>
                </a:lnTo>
                <a:lnTo>
                  <a:pt x="7626996" y="1078937"/>
                </a:lnTo>
                <a:lnTo>
                  <a:pt x="7657072" y="1038876"/>
                </a:lnTo>
                <a:lnTo>
                  <a:pt x="7687328" y="999035"/>
                </a:lnTo>
                <a:lnTo>
                  <a:pt x="7717771" y="959419"/>
                </a:lnTo>
                <a:lnTo>
                  <a:pt x="7748407" y="920037"/>
                </a:lnTo>
                <a:lnTo>
                  <a:pt x="7779240" y="880894"/>
                </a:lnTo>
                <a:lnTo>
                  <a:pt x="7810278" y="841997"/>
                </a:lnTo>
                <a:lnTo>
                  <a:pt x="7841525" y="803354"/>
                </a:lnTo>
                <a:lnTo>
                  <a:pt x="7872989" y="764970"/>
                </a:lnTo>
                <a:lnTo>
                  <a:pt x="7904675" y="726853"/>
                </a:lnTo>
                <a:lnTo>
                  <a:pt x="7936588" y="689010"/>
                </a:lnTo>
                <a:lnTo>
                  <a:pt x="7968735" y="651447"/>
                </a:lnTo>
                <a:lnTo>
                  <a:pt x="8001122" y="614171"/>
                </a:lnTo>
                <a:lnTo>
                  <a:pt x="8033755" y="577189"/>
                </a:lnTo>
                <a:lnTo>
                  <a:pt x="8066638" y="540507"/>
                </a:lnTo>
                <a:lnTo>
                  <a:pt x="8099780" y="504132"/>
                </a:lnTo>
                <a:lnTo>
                  <a:pt x="8133184" y="468072"/>
                </a:lnTo>
                <a:lnTo>
                  <a:pt x="8166858" y="432332"/>
                </a:lnTo>
                <a:lnTo>
                  <a:pt x="8200807" y="396920"/>
                </a:lnTo>
                <a:lnTo>
                  <a:pt x="8235037" y="361843"/>
                </a:lnTo>
                <a:lnTo>
                  <a:pt x="8269554" y="327107"/>
                </a:lnTo>
                <a:lnTo>
                  <a:pt x="8304364" y="292718"/>
                </a:lnTo>
                <a:lnTo>
                  <a:pt x="8339473" y="258685"/>
                </a:lnTo>
                <a:lnTo>
                  <a:pt x="8374886" y="225013"/>
                </a:lnTo>
                <a:lnTo>
                  <a:pt x="8410611" y="191709"/>
                </a:lnTo>
                <a:lnTo>
                  <a:pt x="8446651" y="158780"/>
                </a:lnTo>
                <a:lnTo>
                  <a:pt x="8483015" y="126233"/>
                </a:lnTo>
                <a:lnTo>
                  <a:pt x="8519706" y="94075"/>
                </a:lnTo>
                <a:lnTo>
                  <a:pt x="8556732" y="62312"/>
                </a:lnTo>
                <a:lnTo>
                  <a:pt x="8594098" y="30951"/>
                </a:lnTo>
                <a:lnTo>
                  <a:pt x="8631811" y="0"/>
                </a:lnTo>
                <a:close/>
              </a:path>
            </a:pathLst>
          </a:custGeom>
          <a:solidFill>
            <a:schemeClr val="bg1"/>
          </a:solidFill>
        </p:spPr>
        <p:txBody>
          <a:bodyPr wrap="square" lIns="0" tIns="0" rIns="0" bIns="0" rtlCol="0"/>
          <a:lstStyle/>
          <a:p>
            <a:endParaRPr/>
          </a:p>
        </p:txBody>
      </p:sp>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C1E0F7"/>
                </a:solidFill>
                <a:latin typeface="Avenir Next LT Pro Demi" panose="020B0704020202020204" pitchFamily="34" charset="0"/>
              </a:rPr>
              <a:pPr algn="r"/>
              <a:t>‹#›</a:t>
            </a:fld>
            <a:endParaRPr lang="en-GB">
              <a:solidFill>
                <a:srgbClr val="C1E0F7"/>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5" name="Titel 1">
            <a:extLst>
              <a:ext uri="{FF2B5EF4-FFF2-40B4-BE49-F238E27FC236}">
                <a16:creationId xmlns:a16="http://schemas.microsoft.com/office/drawing/2014/main" id="{E13C5338-039C-3FA8-6881-7AA1206B12D4}"/>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6" name="Tijdelijke aanduiding voor inhoud 2">
            <a:extLst>
              <a:ext uri="{FF2B5EF4-FFF2-40B4-BE49-F238E27FC236}">
                <a16:creationId xmlns:a16="http://schemas.microsoft.com/office/drawing/2014/main" id="{74E29A07-E67E-B189-1DDF-E4B16DD1013D}"/>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7" name="object 2">
            <a:extLst>
              <a:ext uri="{FF2B5EF4-FFF2-40B4-BE49-F238E27FC236}">
                <a16:creationId xmlns:a16="http://schemas.microsoft.com/office/drawing/2014/main" id="{66F76CF1-F90C-2521-AD5A-7DB4CE909D19}"/>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18" name="object 2">
            <a:extLst>
              <a:ext uri="{FF2B5EF4-FFF2-40B4-BE49-F238E27FC236}">
                <a16:creationId xmlns:a16="http://schemas.microsoft.com/office/drawing/2014/main" id="{8B1D4D38-2153-5BB7-5F67-148DCB93F96F}"/>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3548300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416304821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ContentPage+Image">
    <p:spTree>
      <p:nvGrpSpPr>
        <p:cNvPr id="1" name=""/>
        <p:cNvGrpSpPr/>
        <p:nvPr/>
      </p:nvGrpSpPr>
      <p:grpSpPr>
        <a:xfrm>
          <a:off x="0" y="0"/>
          <a:ext cx="0" cy="0"/>
          <a:chOff x="0" y="0"/>
          <a:chExt cx="0" cy="0"/>
        </a:xfrm>
      </p:grpSpPr>
      <p:pic>
        <p:nvPicPr>
          <p:cNvPr id="11" name="Picture 2" descr="Solar Panel Installation Companies Hot Sale, 51% OFF | espirituviajero.com">
            <a:extLst>
              <a:ext uri="{FF2B5EF4-FFF2-40B4-BE49-F238E27FC236}">
                <a16:creationId xmlns:a16="http://schemas.microsoft.com/office/drawing/2014/main" id="{0E57A8AC-BF8C-EC18-6661-813599C8D848}"/>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273800" y="0"/>
            <a:ext cx="5948391" cy="6883390"/>
          </a:xfrm>
          <a:prstGeom prst="rect">
            <a:avLst/>
          </a:prstGeom>
          <a:noFill/>
          <a:extLst>
            <a:ext uri="{909E8E84-426E-40DD-AFC4-6F175D3DCCD1}">
              <a14:hiddenFill xmlns:a14="http://schemas.microsoft.com/office/drawing/2010/main">
                <a:solidFill>
                  <a:srgbClr val="FFFFFF"/>
                </a:solidFill>
              </a14:hiddenFill>
            </a:ext>
          </a:extLst>
        </p:spPr>
      </p:pic>
      <p:sp>
        <p:nvSpPr>
          <p:cNvPr id="21" name="object 2">
            <a:extLst>
              <a:ext uri="{FF2B5EF4-FFF2-40B4-BE49-F238E27FC236}">
                <a16:creationId xmlns:a16="http://schemas.microsoft.com/office/drawing/2014/main" id="{7FB5D4F0-26ED-CC75-D041-B96DBFB98F5E}"/>
              </a:ext>
            </a:extLst>
          </p:cNvPr>
          <p:cNvSpPr/>
          <p:nvPr userDrawn="1"/>
        </p:nvSpPr>
        <p:spPr>
          <a:xfrm>
            <a:off x="-722" y="-15"/>
            <a:ext cx="12222913" cy="6883405"/>
          </a:xfrm>
          <a:custGeom>
            <a:avLst/>
            <a:gdLst>
              <a:gd name="connsiteX0" fmla="*/ 8631301 w 8631301"/>
              <a:gd name="connsiteY0" fmla="*/ 0 h 6687210"/>
              <a:gd name="connsiteX1" fmla="*/ 0 w 8631301"/>
              <a:gd name="connsiteY1" fmla="*/ 0 h 6687210"/>
              <a:gd name="connsiteX2" fmla="*/ 0 w 8631301"/>
              <a:gd name="connsiteY2" fmla="*/ 5367969 h 6687210"/>
              <a:gd name="connsiteX3" fmla="*/ 1556981 w 8631301"/>
              <a:gd name="connsiteY3" fmla="*/ 6687210 h 6687210"/>
              <a:gd name="connsiteX4" fmla="*/ 1622552 w 8631301"/>
              <a:gd name="connsiteY4" fmla="*/ 6680790 h 6687210"/>
              <a:gd name="connsiteX5" fmla="*/ 1687395 w 8631301"/>
              <a:gd name="connsiteY5" fmla="*/ 6673902 h 6687210"/>
              <a:gd name="connsiteX6" fmla="*/ 1751517 w 8631301"/>
              <a:gd name="connsiteY6" fmla="*/ 6666549 h 6687210"/>
              <a:gd name="connsiteX7" fmla="*/ 1814923 w 8631301"/>
              <a:gd name="connsiteY7" fmla="*/ 6658735 h 6687210"/>
              <a:gd name="connsiteX8" fmla="*/ 1877621 w 8631301"/>
              <a:gd name="connsiteY8" fmla="*/ 6650463 h 6687210"/>
              <a:gd name="connsiteX9" fmla="*/ 1939616 w 8631301"/>
              <a:gd name="connsiteY9" fmla="*/ 6641737 h 6687210"/>
              <a:gd name="connsiteX10" fmla="*/ 2000915 w 8631301"/>
              <a:gd name="connsiteY10" fmla="*/ 6632561 h 6687210"/>
              <a:gd name="connsiteX11" fmla="*/ 2061524 w 8631301"/>
              <a:gd name="connsiteY11" fmla="*/ 6622937 h 6687210"/>
              <a:gd name="connsiteX12" fmla="*/ 2121449 w 8631301"/>
              <a:gd name="connsiteY12" fmla="*/ 6612869 h 6687210"/>
              <a:gd name="connsiteX13" fmla="*/ 2180698 w 8631301"/>
              <a:gd name="connsiteY13" fmla="*/ 6602362 h 6687210"/>
              <a:gd name="connsiteX14" fmla="*/ 2239276 w 8631301"/>
              <a:gd name="connsiteY14" fmla="*/ 6591417 h 6687210"/>
              <a:gd name="connsiteX15" fmla="*/ 2297189 w 8631301"/>
              <a:gd name="connsiteY15" fmla="*/ 6580040 h 6687210"/>
              <a:gd name="connsiteX16" fmla="*/ 2354444 w 8631301"/>
              <a:gd name="connsiteY16" fmla="*/ 6568233 h 6687210"/>
              <a:gd name="connsiteX17" fmla="*/ 2411048 w 8631301"/>
              <a:gd name="connsiteY17" fmla="*/ 6555999 h 6687210"/>
              <a:gd name="connsiteX18" fmla="*/ 2467006 w 8631301"/>
              <a:gd name="connsiteY18" fmla="*/ 6543344 h 6687210"/>
              <a:gd name="connsiteX19" fmla="*/ 2522325 w 8631301"/>
              <a:gd name="connsiteY19" fmla="*/ 6530269 h 6687210"/>
              <a:gd name="connsiteX20" fmla="*/ 2577011 w 8631301"/>
              <a:gd name="connsiteY20" fmla="*/ 6516778 h 6687210"/>
              <a:gd name="connsiteX21" fmla="*/ 2631071 w 8631301"/>
              <a:gd name="connsiteY21" fmla="*/ 6502876 h 6687210"/>
              <a:gd name="connsiteX22" fmla="*/ 2684511 w 8631301"/>
              <a:gd name="connsiteY22" fmla="*/ 6488565 h 6687210"/>
              <a:gd name="connsiteX23" fmla="*/ 2737336 w 8631301"/>
              <a:gd name="connsiteY23" fmla="*/ 6473849 h 6687210"/>
              <a:gd name="connsiteX24" fmla="*/ 2789555 w 8631301"/>
              <a:gd name="connsiteY24" fmla="*/ 6458731 h 6687210"/>
              <a:gd name="connsiteX25" fmla="*/ 2841173 w 8631301"/>
              <a:gd name="connsiteY25" fmla="*/ 6443216 h 6687210"/>
              <a:gd name="connsiteX26" fmla="*/ 2892195 w 8631301"/>
              <a:gd name="connsiteY26" fmla="*/ 6427305 h 6687210"/>
              <a:gd name="connsiteX27" fmla="*/ 2942630 w 8631301"/>
              <a:gd name="connsiteY27" fmla="*/ 6411004 h 6687210"/>
              <a:gd name="connsiteX28" fmla="*/ 2992482 w 8631301"/>
              <a:gd name="connsiteY28" fmla="*/ 6394316 h 6687210"/>
              <a:gd name="connsiteX29" fmla="*/ 3041759 w 8631301"/>
              <a:gd name="connsiteY29" fmla="*/ 6377243 h 6687210"/>
              <a:gd name="connsiteX30" fmla="*/ 3090466 w 8631301"/>
              <a:gd name="connsiteY30" fmla="*/ 6359791 h 6687210"/>
              <a:gd name="connsiteX31" fmla="*/ 3138610 w 8631301"/>
              <a:gd name="connsiteY31" fmla="*/ 6341961 h 6687210"/>
              <a:gd name="connsiteX32" fmla="*/ 3186198 w 8631301"/>
              <a:gd name="connsiteY32" fmla="*/ 6323757 h 6687210"/>
              <a:gd name="connsiteX33" fmla="*/ 3233235 w 8631301"/>
              <a:gd name="connsiteY33" fmla="*/ 6305184 h 6687210"/>
              <a:gd name="connsiteX34" fmla="*/ 3279728 w 8631301"/>
              <a:gd name="connsiteY34" fmla="*/ 6286245 h 6687210"/>
              <a:gd name="connsiteX35" fmla="*/ 3325684 w 8631301"/>
              <a:gd name="connsiteY35" fmla="*/ 6266942 h 6687210"/>
              <a:gd name="connsiteX36" fmla="*/ 3371108 w 8631301"/>
              <a:gd name="connsiteY36" fmla="*/ 6247281 h 6687210"/>
              <a:gd name="connsiteX37" fmla="*/ 3416007 w 8631301"/>
              <a:gd name="connsiteY37" fmla="*/ 6227263 h 6687210"/>
              <a:gd name="connsiteX38" fmla="*/ 3460387 w 8631301"/>
              <a:gd name="connsiteY38" fmla="*/ 6206893 h 6687210"/>
              <a:gd name="connsiteX39" fmla="*/ 3504255 w 8631301"/>
              <a:gd name="connsiteY39" fmla="*/ 6186174 h 6687210"/>
              <a:gd name="connsiteX40" fmla="*/ 3547617 w 8631301"/>
              <a:gd name="connsiteY40" fmla="*/ 6165110 h 6687210"/>
              <a:gd name="connsiteX41" fmla="*/ 3590480 w 8631301"/>
              <a:gd name="connsiteY41" fmla="*/ 6143704 h 6687210"/>
              <a:gd name="connsiteX42" fmla="*/ 3632849 w 8631301"/>
              <a:gd name="connsiteY42" fmla="*/ 6121960 h 6687210"/>
              <a:gd name="connsiteX43" fmla="*/ 3674731 w 8631301"/>
              <a:gd name="connsiteY43" fmla="*/ 6099881 h 6687210"/>
              <a:gd name="connsiteX44" fmla="*/ 3716133 w 8631301"/>
              <a:gd name="connsiteY44" fmla="*/ 6077471 h 6687210"/>
              <a:gd name="connsiteX45" fmla="*/ 3757060 w 8631301"/>
              <a:gd name="connsiteY45" fmla="*/ 6054733 h 6687210"/>
              <a:gd name="connsiteX46" fmla="*/ 3797519 w 8631301"/>
              <a:gd name="connsiteY46" fmla="*/ 6031671 h 6687210"/>
              <a:gd name="connsiteX47" fmla="*/ 3837517 w 8631301"/>
              <a:gd name="connsiteY47" fmla="*/ 6008288 h 6687210"/>
              <a:gd name="connsiteX48" fmla="*/ 3877059 w 8631301"/>
              <a:gd name="connsiteY48" fmla="*/ 5984588 h 6687210"/>
              <a:gd name="connsiteX49" fmla="*/ 3916152 w 8631301"/>
              <a:gd name="connsiteY49" fmla="*/ 5960574 h 6687210"/>
              <a:gd name="connsiteX50" fmla="*/ 3954803 w 8631301"/>
              <a:gd name="connsiteY50" fmla="*/ 5936250 h 6687210"/>
              <a:gd name="connsiteX51" fmla="*/ 3993018 w 8631301"/>
              <a:gd name="connsiteY51" fmla="*/ 5911619 h 6687210"/>
              <a:gd name="connsiteX52" fmla="*/ 4030802 w 8631301"/>
              <a:gd name="connsiteY52" fmla="*/ 5886685 h 6687210"/>
              <a:gd name="connsiteX53" fmla="*/ 4068163 w 8631301"/>
              <a:gd name="connsiteY53" fmla="*/ 5861452 h 6687210"/>
              <a:gd name="connsiteX54" fmla="*/ 4105107 w 8631301"/>
              <a:gd name="connsiteY54" fmla="*/ 5835922 h 6687210"/>
              <a:gd name="connsiteX55" fmla="*/ 4141640 w 8631301"/>
              <a:gd name="connsiteY55" fmla="*/ 5810100 h 6687210"/>
              <a:gd name="connsiteX56" fmla="*/ 4177768 w 8631301"/>
              <a:gd name="connsiteY56" fmla="*/ 5783988 h 6687210"/>
              <a:gd name="connsiteX57" fmla="*/ 4213498 w 8631301"/>
              <a:gd name="connsiteY57" fmla="*/ 5757591 h 6687210"/>
              <a:gd name="connsiteX58" fmla="*/ 4248836 w 8631301"/>
              <a:gd name="connsiteY58" fmla="*/ 5730912 h 6687210"/>
              <a:gd name="connsiteX59" fmla="*/ 4283788 w 8631301"/>
              <a:gd name="connsiteY59" fmla="*/ 5703955 h 6687210"/>
              <a:gd name="connsiteX60" fmla="*/ 4318361 w 8631301"/>
              <a:gd name="connsiteY60" fmla="*/ 5676722 h 6687210"/>
              <a:gd name="connsiteX61" fmla="*/ 4352561 w 8631301"/>
              <a:gd name="connsiteY61" fmla="*/ 5649218 h 6687210"/>
              <a:gd name="connsiteX62" fmla="*/ 4386395 w 8631301"/>
              <a:gd name="connsiteY62" fmla="*/ 5621446 h 6687210"/>
              <a:gd name="connsiteX63" fmla="*/ 4419869 w 8631301"/>
              <a:gd name="connsiteY63" fmla="*/ 5593409 h 6687210"/>
              <a:gd name="connsiteX64" fmla="*/ 4452988 w 8631301"/>
              <a:gd name="connsiteY64" fmla="*/ 5565111 h 6687210"/>
              <a:gd name="connsiteX65" fmla="*/ 4485760 w 8631301"/>
              <a:gd name="connsiteY65" fmla="*/ 5536556 h 6687210"/>
              <a:gd name="connsiteX66" fmla="*/ 4518191 w 8631301"/>
              <a:gd name="connsiteY66" fmla="*/ 5507747 h 6687210"/>
              <a:gd name="connsiteX67" fmla="*/ 4550287 w 8631301"/>
              <a:gd name="connsiteY67" fmla="*/ 5478687 h 6687210"/>
              <a:gd name="connsiteX68" fmla="*/ 4582054 w 8631301"/>
              <a:gd name="connsiteY68" fmla="*/ 5449380 h 6687210"/>
              <a:gd name="connsiteX69" fmla="*/ 4613500 w 8631301"/>
              <a:gd name="connsiteY69" fmla="*/ 5419830 h 6687210"/>
              <a:gd name="connsiteX70" fmla="*/ 4644629 w 8631301"/>
              <a:gd name="connsiteY70" fmla="*/ 5390040 h 6687210"/>
              <a:gd name="connsiteX71" fmla="*/ 4675449 w 8631301"/>
              <a:gd name="connsiteY71" fmla="*/ 5360014 h 6687210"/>
              <a:gd name="connsiteX72" fmla="*/ 4705966 w 8631301"/>
              <a:gd name="connsiteY72" fmla="*/ 5329755 h 6687210"/>
              <a:gd name="connsiteX73" fmla="*/ 4736185 w 8631301"/>
              <a:gd name="connsiteY73" fmla="*/ 5299266 h 6687210"/>
              <a:gd name="connsiteX74" fmla="*/ 4766115 w 8631301"/>
              <a:gd name="connsiteY74" fmla="*/ 5268551 h 6687210"/>
              <a:gd name="connsiteX75" fmla="*/ 4795760 w 8631301"/>
              <a:gd name="connsiteY75" fmla="*/ 5237614 h 6687210"/>
              <a:gd name="connsiteX76" fmla="*/ 4825127 w 8631301"/>
              <a:gd name="connsiteY76" fmla="*/ 5206458 h 6687210"/>
              <a:gd name="connsiteX77" fmla="*/ 4854223 w 8631301"/>
              <a:gd name="connsiteY77" fmla="*/ 5175087 h 6687210"/>
              <a:gd name="connsiteX78" fmla="*/ 4883054 w 8631301"/>
              <a:gd name="connsiteY78" fmla="*/ 5143504 h 6687210"/>
              <a:gd name="connsiteX79" fmla="*/ 4911626 w 8631301"/>
              <a:gd name="connsiteY79" fmla="*/ 5111713 h 6687210"/>
              <a:gd name="connsiteX80" fmla="*/ 4939945 w 8631301"/>
              <a:gd name="connsiteY80" fmla="*/ 5079717 h 6687210"/>
              <a:gd name="connsiteX81" fmla="*/ 4968018 w 8631301"/>
              <a:gd name="connsiteY81" fmla="*/ 5047519 h 6687210"/>
              <a:gd name="connsiteX82" fmla="*/ 4995852 w 8631301"/>
              <a:gd name="connsiteY82" fmla="*/ 5015124 h 6687210"/>
              <a:gd name="connsiteX83" fmla="*/ 5023452 w 8631301"/>
              <a:gd name="connsiteY83" fmla="*/ 4982535 h 6687210"/>
              <a:gd name="connsiteX84" fmla="*/ 5050824 w 8631301"/>
              <a:gd name="connsiteY84" fmla="*/ 4949755 h 6687210"/>
              <a:gd name="connsiteX85" fmla="*/ 5077976 w 8631301"/>
              <a:gd name="connsiteY85" fmla="*/ 4916787 h 6687210"/>
              <a:gd name="connsiteX86" fmla="*/ 5104914 w 8631301"/>
              <a:gd name="connsiteY86" fmla="*/ 4883636 h 6687210"/>
              <a:gd name="connsiteX87" fmla="*/ 5131644 w 8631301"/>
              <a:gd name="connsiteY87" fmla="*/ 4850305 h 6687210"/>
              <a:gd name="connsiteX88" fmla="*/ 5158171 w 8631301"/>
              <a:gd name="connsiteY88" fmla="*/ 4816797 h 6687210"/>
              <a:gd name="connsiteX89" fmla="*/ 5210647 w 8631301"/>
              <a:gd name="connsiteY89" fmla="*/ 4749265 h 6687210"/>
              <a:gd name="connsiteX90" fmla="*/ 5262391 w 8631301"/>
              <a:gd name="connsiteY90" fmla="*/ 4681068 h 6687210"/>
              <a:gd name="connsiteX91" fmla="*/ 5313455 w 8631301"/>
              <a:gd name="connsiteY91" fmla="*/ 4612234 h 6687210"/>
              <a:gd name="connsiteX92" fmla="*/ 5363889 w 8631301"/>
              <a:gd name="connsiteY92" fmla="*/ 4542793 h 6687210"/>
              <a:gd name="connsiteX93" fmla="*/ 5413745 w 8631301"/>
              <a:gd name="connsiteY93" fmla="*/ 4472771 h 6687210"/>
              <a:gd name="connsiteX94" fmla="*/ 5463072 w 8631301"/>
              <a:gd name="connsiteY94" fmla="*/ 4402196 h 6687210"/>
              <a:gd name="connsiteX95" fmla="*/ 5511922 w 8631301"/>
              <a:gd name="connsiteY95" fmla="*/ 4331098 h 6687210"/>
              <a:gd name="connsiteX96" fmla="*/ 5560344 w 8631301"/>
              <a:gd name="connsiteY96" fmla="*/ 4259503 h 6687210"/>
              <a:gd name="connsiteX97" fmla="*/ 5608391 w 8631301"/>
              <a:gd name="connsiteY97" fmla="*/ 4187441 h 6687210"/>
              <a:gd name="connsiteX98" fmla="*/ 5679867 w 8631301"/>
              <a:gd name="connsiteY98" fmla="*/ 4078531 h 6687210"/>
              <a:gd name="connsiteX99" fmla="*/ 5750781 w 8631301"/>
              <a:gd name="connsiteY99" fmla="*/ 3968727 h 6687210"/>
              <a:gd name="connsiteX100" fmla="*/ 5868190 w 8631301"/>
              <a:gd name="connsiteY100" fmla="*/ 3783989 h 6687210"/>
              <a:gd name="connsiteX101" fmla="*/ 6197916 w 8631301"/>
              <a:gd name="connsiteY101" fmla="*/ 3258640 h 6687210"/>
              <a:gd name="connsiteX102" fmla="*/ 6294137 w 8631301"/>
              <a:gd name="connsiteY102" fmla="*/ 3107321 h 6687210"/>
              <a:gd name="connsiteX103" fmla="*/ 6367357 w 8631301"/>
              <a:gd name="connsiteY103" fmla="*/ 2993735 h 6687210"/>
              <a:gd name="connsiteX104" fmla="*/ 6447904 w 8631301"/>
              <a:gd name="connsiteY104" fmla="*/ 2869788 h 6687210"/>
              <a:gd name="connsiteX105" fmla="*/ 6558874 w 8631301"/>
              <a:gd name="connsiteY105" fmla="*/ 2696807 h 6687210"/>
              <a:gd name="connsiteX106" fmla="*/ 6970940 w 8631301"/>
              <a:gd name="connsiteY106" fmla="*/ 2045274 h 6687210"/>
              <a:gd name="connsiteX107" fmla="*/ 7081462 w 8631301"/>
              <a:gd name="connsiteY107" fmla="*/ 1872743 h 6687210"/>
              <a:gd name="connsiteX108" fmla="*/ 7164986 w 8631301"/>
              <a:gd name="connsiteY108" fmla="*/ 1744202 h 6687210"/>
              <a:gd name="connsiteX109" fmla="*/ 7221058 w 8631301"/>
              <a:gd name="connsiteY109" fmla="*/ 1659017 h 6687210"/>
              <a:gd name="connsiteX110" fmla="*/ 7277496 w 8631301"/>
              <a:gd name="connsiteY110" fmla="*/ 1574303 h 6687210"/>
              <a:gd name="connsiteX111" fmla="*/ 7334350 w 8631301"/>
              <a:gd name="connsiteY111" fmla="*/ 1490113 h 6687210"/>
              <a:gd name="connsiteX112" fmla="*/ 7391664 w 8631301"/>
              <a:gd name="connsiteY112" fmla="*/ 1406503 h 6687210"/>
              <a:gd name="connsiteX113" fmla="*/ 7449488 w 8631301"/>
              <a:gd name="connsiteY113" fmla="*/ 1323526 h 6687210"/>
              <a:gd name="connsiteX114" fmla="*/ 7507868 w 8631301"/>
              <a:gd name="connsiteY114" fmla="*/ 1241237 h 6687210"/>
              <a:gd name="connsiteX115" fmla="*/ 7566851 w 8631301"/>
              <a:gd name="connsiteY115" fmla="*/ 1159689 h 6687210"/>
              <a:gd name="connsiteX116" fmla="*/ 7596584 w 8631301"/>
              <a:gd name="connsiteY116" fmla="*/ 1119210 h 6687210"/>
              <a:gd name="connsiteX117" fmla="*/ 7626486 w 8631301"/>
              <a:gd name="connsiteY117" fmla="*/ 1078937 h 6687210"/>
              <a:gd name="connsiteX118" fmla="*/ 7656562 w 8631301"/>
              <a:gd name="connsiteY118" fmla="*/ 1038876 h 6687210"/>
              <a:gd name="connsiteX119" fmla="*/ 7686818 w 8631301"/>
              <a:gd name="connsiteY119" fmla="*/ 999035 h 6687210"/>
              <a:gd name="connsiteX120" fmla="*/ 7717261 w 8631301"/>
              <a:gd name="connsiteY120" fmla="*/ 959419 h 6687210"/>
              <a:gd name="connsiteX121" fmla="*/ 7747897 w 8631301"/>
              <a:gd name="connsiteY121" fmla="*/ 920037 h 6687210"/>
              <a:gd name="connsiteX122" fmla="*/ 7778730 w 8631301"/>
              <a:gd name="connsiteY122" fmla="*/ 880894 h 6687210"/>
              <a:gd name="connsiteX123" fmla="*/ 7809768 w 8631301"/>
              <a:gd name="connsiteY123" fmla="*/ 841997 h 6687210"/>
              <a:gd name="connsiteX124" fmla="*/ 7841015 w 8631301"/>
              <a:gd name="connsiteY124" fmla="*/ 803354 h 6687210"/>
              <a:gd name="connsiteX125" fmla="*/ 7872479 w 8631301"/>
              <a:gd name="connsiteY125" fmla="*/ 764970 h 6687210"/>
              <a:gd name="connsiteX126" fmla="*/ 7904165 w 8631301"/>
              <a:gd name="connsiteY126" fmla="*/ 726853 h 6687210"/>
              <a:gd name="connsiteX127" fmla="*/ 7936078 w 8631301"/>
              <a:gd name="connsiteY127" fmla="*/ 689010 h 6687210"/>
              <a:gd name="connsiteX128" fmla="*/ 7968225 w 8631301"/>
              <a:gd name="connsiteY128" fmla="*/ 651447 h 6687210"/>
              <a:gd name="connsiteX129" fmla="*/ 8000612 w 8631301"/>
              <a:gd name="connsiteY129" fmla="*/ 614171 h 6687210"/>
              <a:gd name="connsiteX130" fmla="*/ 8033245 w 8631301"/>
              <a:gd name="connsiteY130" fmla="*/ 577189 h 6687210"/>
              <a:gd name="connsiteX131" fmla="*/ 8066128 w 8631301"/>
              <a:gd name="connsiteY131" fmla="*/ 540507 h 6687210"/>
              <a:gd name="connsiteX132" fmla="*/ 8099270 w 8631301"/>
              <a:gd name="connsiteY132" fmla="*/ 504132 h 6687210"/>
              <a:gd name="connsiteX133" fmla="*/ 8132674 w 8631301"/>
              <a:gd name="connsiteY133" fmla="*/ 468072 h 6687210"/>
              <a:gd name="connsiteX134" fmla="*/ 8166348 w 8631301"/>
              <a:gd name="connsiteY134" fmla="*/ 432332 h 6687210"/>
              <a:gd name="connsiteX135" fmla="*/ 8200297 w 8631301"/>
              <a:gd name="connsiteY135" fmla="*/ 396920 h 6687210"/>
              <a:gd name="connsiteX136" fmla="*/ 8234527 w 8631301"/>
              <a:gd name="connsiteY136" fmla="*/ 361843 h 6687210"/>
              <a:gd name="connsiteX137" fmla="*/ 8269044 w 8631301"/>
              <a:gd name="connsiteY137" fmla="*/ 327107 h 6687210"/>
              <a:gd name="connsiteX138" fmla="*/ 8303854 w 8631301"/>
              <a:gd name="connsiteY138" fmla="*/ 292718 h 6687210"/>
              <a:gd name="connsiteX139" fmla="*/ 8338963 w 8631301"/>
              <a:gd name="connsiteY139" fmla="*/ 258685 h 6687210"/>
              <a:gd name="connsiteX140" fmla="*/ 8374376 w 8631301"/>
              <a:gd name="connsiteY140" fmla="*/ 225013 h 6687210"/>
              <a:gd name="connsiteX141" fmla="*/ 8410101 w 8631301"/>
              <a:gd name="connsiteY141" fmla="*/ 191709 h 6687210"/>
              <a:gd name="connsiteX142" fmla="*/ 8446141 w 8631301"/>
              <a:gd name="connsiteY142" fmla="*/ 158780 h 6687210"/>
              <a:gd name="connsiteX143" fmla="*/ 8482505 w 8631301"/>
              <a:gd name="connsiteY143" fmla="*/ 126233 h 6687210"/>
              <a:gd name="connsiteX144" fmla="*/ 8519196 w 8631301"/>
              <a:gd name="connsiteY144" fmla="*/ 94075 h 6687210"/>
              <a:gd name="connsiteX145" fmla="*/ 8556222 w 8631301"/>
              <a:gd name="connsiteY145" fmla="*/ 62312 h 6687210"/>
              <a:gd name="connsiteX146" fmla="*/ 8593588 w 8631301"/>
              <a:gd name="connsiteY146" fmla="*/ 30951 h 6687210"/>
              <a:gd name="connsiteX147" fmla="*/ 8631301 w 8631301"/>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0790"/>
              <a:gd name="connsiteX1" fmla="*/ 5293 w 8636594"/>
              <a:gd name="connsiteY1" fmla="*/ 0 h 6680790"/>
              <a:gd name="connsiteX2" fmla="*/ 0 w 8636594"/>
              <a:gd name="connsiteY2" fmla="*/ 5587843 h 6680790"/>
              <a:gd name="connsiteX3" fmla="*/ 1594033 w 8636594"/>
              <a:gd name="connsiteY3" fmla="*/ 5600057 h 6680790"/>
              <a:gd name="connsiteX4" fmla="*/ 1627845 w 8636594"/>
              <a:gd name="connsiteY4" fmla="*/ 6680790 h 6680790"/>
              <a:gd name="connsiteX5" fmla="*/ 1692688 w 8636594"/>
              <a:gd name="connsiteY5" fmla="*/ 6673902 h 6680790"/>
              <a:gd name="connsiteX6" fmla="*/ 1756810 w 8636594"/>
              <a:gd name="connsiteY6" fmla="*/ 6666549 h 6680790"/>
              <a:gd name="connsiteX7" fmla="*/ 1820216 w 8636594"/>
              <a:gd name="connsiteY7" fmla="*/ 6658735 h 6680790"/>
              <a:gd name="connsiteX8" fmla="*/ 1882914 w 8636594"/>
              <a:gd name="connsiteY8" fmla="*/ 6650463 h 6680790"/>
              <a:gd name="connsiteX9" fmla="*/ 1944909 w 8636594"/>
              <a:gd name="connsiteY9" fmla="*/ 6641737 h 6680790"/>
              <a:gd name="connsiteX10" fmla="*/ 2006208 w 8636594"/>
              <a:gd name="connsiteY10" fmla="*/ 6632561 h 6680790"/>
              <a:gd name="connsiteX11" fmla="*/ 2066817 w 8636594"/>
              <a:gd name="connsiteY11" fmla="*/ 6622937 h 6680790"/>
              <a:gd name="connsiteX12" fmla="*/ 2126742 w 8636594"/>
              <a:gd name="connsiteY12" fmla="*/ 6612869 h 6680790"/>
              <a:gd name="connsiteX13" fmla="*/ 2185991 w 8636594"/>
              <a:gd name="connsiteY13" fmla="*/ 6602362 h 6680790"/>
              <a:gd name="connsiteX14" fmla="*/ 2244569 w 8636594"/>
              <a:gd name="connsiteY14" fmla="*/ 6591417 h 6680790"/>
              <a:gd name="connsiteX15" fmla="*/ 2302482 w 8636594"/>
              <a:gd name="connsiteY15" fmla="*/ 6580040 h 6680790"/>
              <a:gd name="connsiteX16" fmla="*/ 2359737 w 8636594"/>
              <a:gd name="connsiteY16" fmla="*/ 6568233 h 6680790"/>
              <a:gd name="connsiteX17" fmla="*/ 2416341 w 8636594"/>
              <a:gd name="connsiteY17" fmla="*/ 6555999 h 6680790"/>
              <a:gd name="connsiteX18" fmla="*/ 2472299 w 8636594"/>
              <a:gd name="connsiteY18" fmla="*/ 6543344 h 6680790"/>
              <a:gd name="connsiteX19" fmla="*/ 2527618 w 8636594"/>
              <a:gd name="connsiteY19" fmla="*/ 6530269 h 6680790"/>
              <a:gd name="connsiteX20" fmla="*/ 2582304 w 8636594"/>
              <a:gd name="connsiteY20" fmla="*/ 6516778 h 6680790"/>
              <a:gd name="connsiteX21" fmla="*/ 2636364 w 8636594"/>
              <a:gd name="connsiteY21" fmla="*/ 6502876 h 6680790"/>
              <a:gd name="connsiteX22" fmla="*/ 2689804 w 8636594"/>
              <a:gd name="connsiteY22" fmla="*/ 6488565 h 6680790"/>
              <a:gd name="connsiteX23" fmla="*/ 2742629 w 8636594"/>
              <a:gd name="connsiteY23" fmla="*/ 6473849 h 6680790"/>
              <a:gd name="connsiteX24" fmla="*/ 2794848 w 8636594"/>
              <a:gd name="connsiteY24" fmla="*/ 6458731 h 6680790"/>
              <a:gd name="connsiteX25" fmla="*/ 2846466 w 8636594"/>
              <a:gd name="connsiteY25" fmla="*/ 6443216 h 6680790"/>
              <a:gd name="connsiteX26" fmla="*/ 2897488 w 8636594"/>
              <a:gd name="connsiteY26" fmla="*/ 6427305 h 6680790"/>
              <a:gd name="connsiteX27" fmla="*/ 2947923 w 8636594"/>
              <a:gd name="connsiteY27" fmla="*/ 6411004 h 6680790"/>
              <a:gd name="connsiteX28" fmla="*/ 2997775 w 8636594"/>
              <a:gd name="connsiteY28" fmla="*/ 6394316 h 6680790"/>
              <a:gd name="connsiteX29" fmla="*/ 3047052 w 8636594"/>
              <a:gd name="connsiteY29" fmla="*/ 6377243 h 6680790"/>
              <a:gd name="connsiteX30" fmla="*/ 3095759 w 8636594"/>
              <a:gd name="connsiteY30" fmla="*/ 6359791 h 6680790"/>
              <a:gd name="connsiteX31" fmla="*/ 3143903 w 8636594"/>
              <a:gd name="connsiteY31" fmla="*/ 6341961 h 6680790"/>
              <a:gd name="connsiteX32" fmla="*/ 3191491 w 8636594"/>
              <a:gd name="connsiteY32" fmla="*/ 6323757 h 6680790"/>
              <a:gd name="connsiteX33" fmla="*/ 3238528 w 8636594"/>
              <a:gd name="connsiteY33" fmla="*/ 6305184 h 6680790"/>
              <a:gd name="connsiteX34" fmla="*/ 3285021 w 8636594"/>
              <a:gd name="connsiteY34" fmla="*/ 6286245 h 6680790"/>
              <a:gd name="connsiteX35" fmla="*/ 3330977 w 8636594"/>
              <a:gd name="connsiteY35" fmla="*/ 6266942 h 6680790"/>
              <a:gd name="connsiteX36" fmla="*/ 3376401 w 8636594"/>
              <a:gd name="connsiteY36" fmla="*/ 6247281 h 6680790"/>
              <a:gd name="connsiteX37" fmla="*/ 3421300 w 8636594"/>
              <a:gd name="connsiteY37" fmla="*/ 6227263 h 6680790"/>
              <a:gd name="connsiteX38" fmla="*/ 3465680 w 8636594"/>
              <a:gd name="connsiteY38" fmla="*/ 6206893 h 6680790"/>
              <a:gd name="connsiteX39" fmla="*/ 3509548 w 8636594"/>
              <a:gd name="connsiteY39" fmla="*/ 6186174 h 6680790"/>
              <a:gd name="connsiteX40" fmla="*/ 3552910 w 8636594"/>
              <a:gd name="connsiteY40" fmla="*/ 6165110 h 6680790"/>
              <a:gd name="connsiteX41" fmla="*/ 3595773 w 8636594"/>
              <a:gd name="connsiteY41" fmla="*/ 6143704 h 6680790"/>
              <a:gd name="connsiteX42" fmla="*/ 3638142 w 8636594"/>
              <a:gd name="connsiteY42" fmla="*/ 6121960 h 6680790"/>
              <a:gd name="connsiteX43" fmla="*/ 3680024 w 8636594"/>
              <a:gd name="connsiteY43" fmla="*/ 6099881 h 6680790"/>
              <a:gd name="connsiteX44" fmla="*/ 3721426 w 8636594"/>
              <a:gd name="connsiteY44" fmla="*/ 6077471 h 6680790"/>
              <a:gd name="connsiteX45" fmla="*/ 3762353 w 8636594"/>
              <a:gd name="connsiteY45" fmla="*/ 6054733 h 6680790"/>
              <a:gd name="connsiteX46" fmla="*/ 3802812 w 8636594"/>
              <a:gd name="connsiteY46" fmla="*/ 6031671 h 6680790"/>
              <a:gd name="connsiteX47" fmla="*/ 3842810 w 8636594"/>
              <a:gd name="connsiteY47" fmla="*/ 6008288 h 6680790"/>
              <a:gd name="connsiteX48" fmla="*/ 3882352 w 8636594"/>
              <a:gd name="connsiteY48" fmla="*/ 5984588 h 6680790"/>
              <a:gd name="connsiteX49" fmla="*/ 3921445 w 8636594"/>
              <a:gd name="connsiteY49" fmla="*/ 5960574 h 6680790"/>
              <a:gd name="connsiteX50" fmla="*/ 3960096 w 8636594"/>
              <a:gd name="connsiteY50" fmla="*/ 5936250 h 6680790"/>
              <a:gd name="connsiteX51" fmla="*/ 3998311 w 8636594"/>
              <a:gd name="connsiteY51" fmla="*/ 5911619 h 6680790"/>
              <a:gd name="connsiteX52" fmla="*/ 4036095 w 8636594"/>
              <a:gd name="connsiteY52" fmla="*/ 5886685 h 6680790"/>
              <a:gd name="connsiteX53" fmla="*/ 4073456 w 8636594"/>
              <a:gd name="connsiteY53" fmla="*/ 5861452 h 6680790"/>
              <a:gd name="connsiteX54" fmla="*/ 4110400 w 8636594"/>
              <a:gd name="connsiteY54" fmla="*/ 5835922 h 6680790"/>
              <a:gd name="connsiteX55" fmla="*/ 4146933 w 8636594"/>
              <a:gd name="connsiteY55" fmla="*/ 5810100 h 6680790"/>
              <a:gd name="connsiteX56" fmla="*/ 4183061 w 8636594"/>
              <a:gd name="connsiteY56" fmla="*/ 5783988 h 6680790"/>
              <a:gd name="connsiteX57" fmla="*/ 4218791 w 8636594"/>
              <a:gd name="connsiteY57" fmla="*/ 5757591 h 6680790"/>
              <a:gd name="connsiteX58" fmla="*/ 4254129 w 8636594"/>
              <a:gd name="connsiteY58" fmla="*/ 5730912 h 6680790"/>
              <a:gd name="connsiteX59" fmla="*/ 4289081 w 8636594"/>
              <a:gd name="connsiteY59" fmla="*/ 5703955 h 6680790"/>
              <a:gd name="connsiteX60" fmla="*/ 4323654 w 8636594"/>
              <a:gd name="connsiteY60" fmla="*/ 5676722 h 6680790"/>
              <a:gd name="connsiteX61" fmla="*/ 4357854 w 8636594"/>
              <a:gd name="connsiteY61" fmla="*/ 5649218 h 6680790"/>
              <a:gd name="connsiteX62" fmla="*/ 4391688 w 8636594"/>
              <a:gd name="connsiteY62" fmla="*/ 5621446 h 6680790"/>
              <a:gd name="connsiteX63" fmla="*/ 4425162 w 8636594"/>
              <a:gd name="connsiteY63" fmla="*/ 5593409 h 6680790"/>
              <a:gd name="connsiteX64" fmla="*/ 4458281 w 8636594"/>
              <a:gd name="connsiteY64" fmla="*/ 5565111 h 6680790"/>
              <a:gd name="connsiteX65" fmla="*/ 4491053 w 8636594"/>
              <a:gd name="connsiteY65" fmla="*/ 5536556 h 6680790"/>
              <a:gd name="connsiteX66" fmla="*/ 4523484 w 8636594"/>
              <a:gd name="connsiteY66" fmla="*/ 5507747 h 6680790"/>
              <a:gd name="connsiteX67" fmla="*/ 4555580 w 8636594"/>
              <a:gd name="connsiteY67" fmla="*/ 5478687 h 6680790"/>
              <a:gd name="connsiteX68" fmla="*/ 4587347 w 8636594"/>
              <a:gd name="connsiteY68" fmla="*/ 5449380 h 6680790"/>
              <a:gd name="connsiteX69" fmla="*/ 4618793 w 8636594"/>
              <a:gd name="connsiteY69" fmla="*/ 5419830 h 6680790"/>
              <a:gd name="connsiteX70" fmla="*/ 4649922 w 8636594"/>
              <a:gd name="connsiteY70" fmla="*/ 5390040 h 6680790"/>
              <a:gd name="connsiteX71" fmla="*/ 4680742 w 8636594"/>
              <a:gd name="connsiteY71" fmla="*/ 5360014 h 6680790"/>
              <a:gd name="connsiteX72" fmla="*/ 4711259 w 8636594"/>
              <a:gd name="connsiteY72" fmla="*/ 5329755 h 6680790"/>
              <a:gd name="connsiteX73" fmla="*/ 4741478 w 8636594"/>
              <a:gd name="connsiteY73" fmla="*/ 5299266 h 6680790"/>
              <a:gd name="connsiteX74" fmla="*/ 4771408 w 8636594"/>
              <a:gd name="connsiteY74" fmla="*/ 5268551 h 6680790"/>
              <a:gd name="connsiteX75" fmla="*/ 4801053 w 8636594"/>
              <a:gd name="connsiteY75" fmla="*/ 5237614 h 6680790"/>
              <a:gd name="connsiteX76" fmla="*/ 4830420 w 8636594"/>
              <a:gd name="connsiteY76" fmla="*/ 5206458 h 6680790"/>
              <a:gd name="connsiteX77" fmla="*/ 4859516 w 8636594"/>
              <a:gd name="connsiteY77" fmla="*/ 5175087 h 6680790"/>
              <a:gd name="connsiteX78" fmla="*/ 4888347 w 8636594"/>
              <a:gd name="connsiteY78" fmla="*/ 5143504 h 6680790"/>
              <a:gd name="connsiteX79" fmla="*/ 4916919 w 8636594"/>
              <a:gd name="connsiteY79" fmla="*/ 5111713 h 6680790"/>
              <a:gd name="connsiteX80" fmla="*/ 4945238 w 8636594"/>
              <a:gd name="connsiteY80" fmla="*/ 5079717 h 6680790"/>
              <a:gd name="connsiteX81" fmla="*/ 4973311 w 8636594"/>
              <a:gd name="connsiteY81" fmla="*/ 5047519 h 6680790"/>
              <a:gd name="connsiteX82" fmla="*/ 5001145 w 8636594"/>
              <a:gd name="connsiteY82" fmla="*/ 5015124 h 6680790"/>
              <a:gd name="connsiteX83" fmla="*/ 5028745 w 8636594"/>
              <a:gd name="connsiteY83" fmla="*/ 4982535 h 6680790"/>
              <a:gd name="connsiteX84" fmla="*/ 5056117 w 8636594"/>
              <a:gd name="connsiteY84" fmla="*/ 4949755 h 6680790"/>
              <a:gd name="connsiteX85" fmla="*/ 5083269 w 8636594"/>
              <a:gd name="connsiteY85" fmla="*/ 4916787 h 6680790"/>
              <a:gd name="connsiteX86" fmla="*/ 5110207 w 8636594"/>
              <a:gd name="connsiteY86" fmla="*/ 4883636 h 6680790"/>
              <a:gd name="connsiteX87" fmla="*/ 5136937 w 8636594"/>
              <a:gd name="connsiteY87" fmla="*/ 4850305 h 6680790"/>
              <a:gd name="connsiteX88" fmla="*/ 5163464 w 8636594"/>
              <a:gd name="connsiteY88" fmla="*/ 4816797 h 6680790"/>
              <a:gd name="connsiteX89" fmla="*/ 5215940 w 8636594"/>
              <a:gd name="connsiteY89" fmla="*/ 4749265 h 6680790"/>
              <a:gd name="connsiteX90" fmla="*/ 5267684 w 8636594"/>
              <a:gd name="connsiteY90" fmla="*/ 4681068 h 6680790"/>
              <a:gd name="connsiteX91" fmla="*/ 5318748 w 8636594"/>
              <a:gd name="connsiteY91" fmla="*/ 4612234 h 6680790"/>
              <a:gd name="connsiteX92" fmla="*/ 5369182 w 8636594"/>
              <a:gd name="connsiteY92" fmla="*/ 4542793 h 6680790"/>
              <a:gd name="connsiteX93" fmla="*/ 5419038 w 8636594"/>
              <a:gd name="connsiteY93" fmla="*/ 4472771 h 6680790"/>
              <a:gd name="connsiteX94" fmla="*/ 5468365 w 8636594"/>
              <a:gd name="connsiteY94" fmla="*/ 4402196 h 6680790"/>
              <a:gd name="connsiteX95" fmla="*/ 5517215 w 8636594"/>
              <a:gd name="connsiteY95" fmla="*/ 4331098 h 6680790"/>
              <a:gd name="connsiteX96" fmla="*/ 5565637 w 8636594"/>
              <a:gd name="connsiteY96" fmla="*/ 4259503 h 6680790"/>
              <a:gd name="connsiteX97" fmla="*/ 5613684 w 8636594"/>
              <a:gd name="connsiteY97" fmla="*/ 4187441 h 6680790"/>
              <a:gd name="connsiteX98" fmla="*/ 5685160 w 8636594"/>
              <a:gd name="connsiteY98" fmla="*/ 4078531 h 6680790"/>
              <a:gd name="connsiteX99" fmla="*/ 5756074 w 8636594"/>
              <a:gd name="connsiteY99" fmla="*/ 3968727 h 6680790"/>
              <a:gd name="connsiteX100" fmla="*/ 5873483 w 8636594"/>
              <a:gd name="connsiteY100" fmla="*/ 3783989 h 6680790"/>
              <a:gd name="connsiteX101" fmla="*/ 6203209 w 8636594"/>
              <a:gd name="connsiteY101" fmla="*/ 3258640 h 6680790"/>
              <a:gd name="connsiteX102" fmla="*/ 6299430 w 8636594"/>
              <a:gd name="connsiteY102" fmla="*/ 3107321 h 6680790"/>
              <a:gd name="connsiteX103" fmla="*/ 6372650 w 8636594"/>
              <a:gd name="connsiteY103" fmla="*/ 2993735 h 6680790"/>
              <a:gd name="connsiteX104" fmla="*/ 6453197 w 8636594"/>
              <a:gd name="connsiteY104" fmla="*/ 2869788 h 6680790"/>
              <a:gd name="connsiteX105" fmla="*/ 6564167 w 8636594"/>
              <a:gd name="connsiteY105" fmla="*/ 2696807 h 6680790"/>
              <a:gd name="connsiteX106" fmla="*/ 6976233 w 8636594"/>
              <a:gd name="connsiteY106" fmla="*/ 2045274 h 6680790"/>
              <a:gd name="connsiteX107" fmla="*/ 7086755 w 8636594"/>
              <a:gd name="connsiteY107" fmla="*/ 1872743 h 6680790"/>
              <a:gd name="connsiteX108" fmla="*/ 7170279 w 8636594"/>
              <a:gd name="connsiteY108" fmla="*/ 1744202 h 6680790"/>
              <a:gd name="connsiteX109" fmla="*/ 7226351 w 8636594"/>
              <a:gd name="connsiteY109" fmla="*/ 1659017 h 6680790"/>
              <a:gd name="connsiteX110" fmla="*/ 7282789 w 8636594"/>
              <a:gd name="connsiteY110" fmla="*/ 1574303 h 6680790"/>
              <a:gd name="connsiteX111" fmla="*/ 7339643 w 8636594"/>
              <a:gd name="connsiteY111" fmla="*/ 1490113 h 6680790"/>
              <a:gd name="connsiteX112" fmla="*/ 7396957 w 8636594"/>
              <a:gd name="connsiteY112" fmla="*/ 1406503 h 6680790"/>
              <a:gd name="connsiteX113" fmla="*/ 7454781 w 8636594"/>
              <a:gd name="connsiteY113" fmla="*/ 1323526 h 6680790"/>
              <a:gd name="connsiteX114" fmla="*/ 7513161 w 8636594"/>
              <a:gd name="connsiteY114" fmla="*/ 1241237 h 6680790"/>
              <a:gd name="connsiteX115" fmla="*/ 7572144 w 8636594"/>
              <a:gd name="connsiteY115" fmla="*/ 1159689 h 6680790"/>
              <a:gd name="connsiteX116" fmla="*/ 7601877 w 8636594"/>
              <a:gd name="connsiteY116" fmla="*/ 1119210 h 6680790"/>
              <a:gd name="connsiteX117" fmla="*/ 7631779 w 8636594"/>
              <a:gd name="connsiteY117" fmla="*/ 1078937 h 6680790"/>
              <a:gd name="connsiteX118" fmla="*/ 7661855 w 8636594"/>
              <a:gd name="connsiteY118" fmla="*/ 1038876 h 6680790"/>
              <a:gd name="connsiteX119" fmla="*/ 7692111 w 8636594"/>
              <a:gd name="connsiteY119" fmla="*/ 999035 h 6680790"/>
              <a:gd name="connsiteX120" fmla="*/ 7722554 w 8636594"/>
              <a:gd name="connsiteY120" fmla="*/ 959419 h 6680790"/>
              <a:gd name="connsiteX121" fmla="*/ 7753190 w 8636594"/>
              <a:gd name="connsiteY121" fmla="*/ 920037 h 6680790"/>
              <a:gd name="connsiteX122" fmla="*/ 7784023 w 8636594"/>
              <a:gd name="connsiteY122" fmla="*/ 880894 h 6680790"/>
              <a:gd name="connsiteX123" fmla="*/ 7815061 w 8636594"/>
              <a:gd name="connsiteY123" fmla="*/ 841997 h 6680790"/>
              <a:gd name="connsiteX124" fmla="*/ 7846308 w 8636594"/>
              <a:gd name="connsiteY124" fmla="*/ 803354 h 6680790"/>
              <a:gd name="connsiteX125" fmla="*/ 7877772 w 8636594"/>
              <a:gd name="connsiteY125" fmla="*/ 764970 h 6680790"/>
              <a:gd name="connsiteX126" fmla="*/ 7909458 w 8636594"/>
              <a:gd name="connsiteY126" fmla="*/ 726853 h 6680790"/>
              <a:gd name="connsiteX127" fmla="*/ 7941371 w 8636594"/>
              <a:gd name="connsiteY127" fmla="*/ 689010 h 6680790"/>
              <a:gd name="connsiteX128" fmla="*/ 7973518 w 8636594"/>
              <a:gd name="connsiteY128" fmla="*/ 651447 h 6680790"/>
              <a:gd name="connsiteX129" fmla="*/ 8005905 w 8636594"/>
              <a:gd name="connsiteY129" fmla="*/ 614171 h 6680790"/>
              <a:gd name="connsiteX130" fmla="*/ 8038538 w 8636594"/>
              <a:gd name="connsiteY130" fmla="*/ 577189 h 6680790"/>
              <a:gd name="connsiteX131" fmla="*/ 8071421 w 8636594"/>
              <a:gd name="connsiteY131" fmla="*/ 540507 h 6680790"/>
              <a:gd name="connsiteX132" fmla="*/ 8104563 w 8636594"/>
              <a:gd name="connsiteY132" fmla="*/ 504132 h 6680790"/>
              <a:gd name="connsiteX133" fmla="*/ 8137967 w 8636594"/>
              <a:gd name="connsiteY133" fmla="*/ 468072 h 6680790"/>
              <a:gd name="connsiteX134" fmla="*/ 8171641 w 8636594"/>
              <a:gd name="connsiteY134" fmla="*/ 432332 h 6680790"/>
              <a:gd name="connsiteX135" fmla="*/ 8205590 w 8636594"/>
              <a:gd name="connsiteY135" fmla="*/ 396920 h 6680790"/>
              <a:gd name="connsiteX136" fmla="*/ 8239820 w 8636594"/>
              <a:gd name="connsiteY136" fmla="*/ 361843 h 6680790"/>
              <a:gd name="connsiteX137" fmla="*/ 8274337 w 8636594"/>
              <a:gd name="connsiteY137" fmla="*/ 327107 h 6680790"/>
              <a:gd name="connsiteX138" fmla="*/ 8309147 w 8636594"/>
              <a:gd name="connsiteY138" fmla="*/ 292718 h 6680790"/>
              <a:gd name="connsiteX139" fmla="*/ 8344256 w 8636594"/>
              <a:gd name="connsiteY139" fmla="*/ 258685 h 6680790"/>
              <a:gd name="connsiteX140" fmla="*/ 8379669 w 8636594"/>
              <a:gd name="connsiteY140" fmla="*/ 225013 h 6680790"/>
              <a:gd name="connsiteX141" fmla="*/ 8415394 w 8636594"/>
              <a:gd name="connsiteY141" fmla="*/ 191709 h 6680790"/>
              <a:gd name="connsiteX142" fmla="*/ 8451434 w 8636594"/>
              <a:gd name="connsiteY142" fmla="*/ 158780 h 6680790"/>
              <a:gd name="connsiteX143" fmla="*/ 8487798 w 8636594"/>
              <a:gd name="connsiteY143" fmla="*/ 126233 h 6680790"/>
              <a:gd name="connsiteX144" fmla="*/ 8524489 w 8636594"/>
              <a:gd name="connsiteY144" fmla="*/ 94075 h 6680790"/>
              <a:gd name="connsiteX145" fmla="*/ 8561515 w 8636594"/>
              <a:gd name="connsiteY145" fmla="*/ 62312 h 6680790"/>
              <a:gd name="connsiteX146" fmla="*/ 8598881 w 8636594"/>
              <a:gd name="connsiteY146" fmla="*/ 30951 h 6680790"/>
              <a:gd name="connsiteX147" fmla="*/ 8636594 w 8636594"/>
              <a:gd name="connsiteY147" fmla="*/ 0 h 6680790"/>
              <a:gd name="connsiteX0" fmla="*/ 8636594 w 8636594"/>
              <a:gd name="connsiteY0" fmla="*/ 0 h 6673902"/>
              <a:gd name="connsiteX1" fmla="*/ 5293 w 8636594"/>
              <a:gd name="connsiteY1" fmla="*/ 0 h 6673902"/>
              <a:gd name="connsiteX2" fmla="*/ 0 w 8636594"/>
              <a:gd name="connsiteY2" fmla="*/ 5587843 h 6673902"/>
              <a:gd name="connsiteX3" fmla="*/ 1594033 w 8636594"/>
              <a:gd name="connsiteY3" fmla="*/ 5600057 h 6673902"/>
              <a:gd name="connsiteX4" fmla="*/ 1686068 w 8636594"/>
              <a:gd name="connsiteY4" fmla="*/ 5599745 h 6673902"/>
              <a:gd name="connsiteX5" fmla="*/ 1692688 w 8636594"/>
              <a:gd name="connsiteY5" fmla="*/ 6673902 h 6673902"/>
              <a:gd name="connsiteX6" fmla="*/ 1756810 w 8636594"/>
              <a:gd name="connsiteY6" fmla="*/ 6666549 h 6673902"/>
              <a:gd name="connsiteX7" fmla="*/ 1820216 w 8636594"/>
              <a:gd name="connsiteY7" fmla="*/ 6658735 h 6673902"/>
              <a:gd name="connsiteX8" fmla="*/ 1882914 w 8636594"/>
              <a:gd name="connsiteY8" fmla="*/ 6650463 h 6673902"/>
              <a:gd name="connsiteX9" fmla="*/ 1944909 w 8636594"/>
              <a:gd name="connsiteY9" fmla="*/ 6641737 h 6673902"/>
              <a:gd name="connsiteX10" fmla="*/ 2006208 w 8636594"/>
              <a:gd name="connsiteY10" fmla="*/ 6632561 h 6673902"/>
              <a:gd name="connsiteX11" fmla="*/ 2066817 w 8636594"/>
              <a:gd name="connsiteY11" fmla="*/ 6622937 h 6673902"/>
              <a:gd name="connsiteX12" fmla="*/ 2126742 w 8636594"/>
              <a:gd name="connsiteY12" fmla="*/ 6612869 h 6673902"/>
              <a:gd name="connsiteX13" fmla="*/ 2185991 w 8636594"/>
              <a:gd name="connsiteY13" fmla="*/ 6602362 h 6673902"/>
              <a:gd name="connsiteX14" fmla="*/ 2244569 w 8636594"/>
              <a:gd name="connsiteY14" fmla="*/ 6591417 h 6673902"/>
              <a:gd name="connsiteX15" fmla="*/ 2302482 w 8636594"/>
              <a:gd name="connsiteY15" fmla="*/ 6580040 h 6673902"/>
              <a:gd name="connsiteX16" fmla="*/ 2359737 w 8636594"/>
              <a:gd name="connsiteY16" fmla="*/ 6568233 h 6673902"/>
              <a:gd name="connsiteX17" fmla="*/ 2416341 w 8636594"/>
              <a:gd name="connsiteY17" fmla="*/ 6555999 h 6673902"/>
              <a:gd name="connsiteX18" fmla="*/ 2472299 w 8636594"/>
              <a:gd name="connsiteY18" fmla="*/ 6543344 h 6673902"/>
              <a:gd name="connsiteX19" fmla="*/ 2527618 w 8636594"/>
              <a:gd name="connsiteY19" fmla="*/ 6530269 h 6673902"/>
              <a:gd name="connsiteX20" fmla="*/ 2582304 w 8636594"/>
              <a:gd name="connsiteY20" fmla="*/ 6516778 h 6673902"/>
              <a:gd name="connsiteX21" fmla="*/ 2636364 w 8636594"/>
              <a:gd name="connsiteY21" fmla="*/ 6502876 h 6673902"/>
              <a:gd name="connsiteX22" fmla="*/ 2689804 w 8636594"/>
              <a:gd name="connsiteY22" fmla="*/ 6488565 h 6673902"/>
              <a:gd name="connsiteX23" fmla="*/ 2742629 w 8636594"/>
              <a:gd name="connsiteY23" fmla="*/ 6473849 h 6673902"/>
              <a:gd name="connsiteX24" fmla="*/ 2794848 w 8636594"/>
              <a:gd name="connsiteY24" fmla="*/ 6458731 h 6673902"/>
              <a:gd name="connsiteX25" fmla="*/ 2846466 w 8636594"/>
              <a:gd name="connsiteY25" fmla="*/ 6443216 h 6673902"/>
              <a:gd name="connsiteX26" fmla="*/ 2897488 w 8636594"/>
              <a:gd name="connsiteY26" fmla="*/ 6427305 h 6673902"/>
              <a:gd name="connsiteX27" fmla="*/ 2947923 w 8636594"/>
              <a:gd name="connsiteY27" fmla="*/ 6411004 h 6673902"/>
              <a:gd name="connsiteX28" fmla="*/ 2997775 w 8636594"/>
              <a:gd name="connsiteY28" fmla="*/ 6394316 h 6673902"/>
              <a:gd name="connsiteX29" fmla="*/ 3047052 w 8636594"/>
              <a:gd name="connsiteY29" fmla="*/ 6377243 h 6673902"/>
              <a:gd name="connsiteX30" fmla="*/ 3095759 w 8636594"/>
              <a:gd name="connsiteY30" fmla="*/ 6359791 h 6673902"/>
              <a:gd name="connsiteX31" fmla="*/ 3143903 w 8636594"/>
              <a:gd name="connsiteY31" fmla="*/ 6341961 h 6673902"/>
              <a:gd name="connsiteX32" fmla="*/ 3191491 w 8636594"/>
              <a:gd name="connsiteY32" fmla="*/ 6323757 h 6673902"/>
              <a:gd name="connsiteX33" fmla="*/ 3238528 w 8636594"/>
              <a:gd name="connsiteY33" fmla="*/ 6305184 h 6673902"/>
              <a:gd name="connsiteX34" fmla="*/ 3285021 w 8636594"/>
              <a:gd name="connsiteY34" fmla="*/ 6286245 h 6673902"/>
              <a:gd name="connsiteX35" fmla="*/ 3330977 w 8636594"/>
              <a:gd name="connsiteY35" fmla="*/ 6266942 h 6673902"/>
              <a:gd name="connsiteX36" fmla="*/ 3376401 w 8636594"/>
              <a:gd name="connsiteY36" fmla="*/ 6247281 h 6673902"/>
              <a:gd name="connsiteX37" fmla="*/ 3421300 w 8636594"/>
              <a:gd name="connsiteY37" fmla="*/ 6227263 h 6673902"/>
              <a:gd name="connsiteX38" fmla="*/ 3465680 w 8636594"/>
              <a:gd name="connsiteY38" fmla="*/ 6206893 h 6673902"/>
              <a:gd name="connsiteX39" fmla="*/ 3509548 w 8636594"/>
              <a:gd name="connsiteY39" fmla="*/ 6186174 h 6673902"/>
              <a:gd name="connsiteX40" fmla="*/ 3552910 w 8636594"/>
              <a:gd name="connsiteY40" fmla="*/ 6165110 h 6673902"/>
              <a:gd name="connsiteX41" fmla="*/ 3595773 w 8636594"/>
              <a:gd name="connsiteY41" fmla="*/ 6143704 h 6673902"/>
              <a:gd name="connsiteX42" fmla="*/ 3638142 w 8636594"/>
              <a:gd name="connsiteY42" fmla="*/ 6121960 h 6673902"/>
              <a:gd name="connsiteX43" fmla="*/ 3680024 w 8636594"/>
              <a:gd name="connsiteY43" fmla="*/ 6099881 h 6673902"/>
              <a:gd name="connsiteX44" fmla="*/ 3721426 w 8636594"/>
              <a:gd name="connsiteY44" fmla="*/ 6077471 h 6673902"/>
              <a:gd name="connsiteX45" fmla="*/ 3762353 w 8636594"/>
              <a:gd name="connsiteY45" fmla="*/ 6054733 h 6673902"/>
              <a:gd name="connsiteX46" fmla="*/ 3802812 w 8636594"/>
              <a:gd name="connsiteY46" fmla="*/ 6031671 h 6673902"/>
              <a:gd name="connsiteX47" fmla="*/ 3842810 w 8636594"/>
              <a:gd name="connsiteY47" fmla="*/ 6008288 h 6673902"/>
              <a:gd name="connsiteX48" fmla="*/ 3882352 w 8636594"/>
              <a:gd name="connsiteY48" fmla="*/ 5984588 h 6673902"/>
              <a:gd name="connsiteX49" fmla="*/ 3921445 w 8636594"/>
              <a:gd name="connsiteY49" fmla="*/ 5960574 h 6673902"/>
              <a:gd name="connsiteX50" fmla="*/ 3960096 w 8636594"/>
              <a:gd name="connsiteY50" fmla="*/ 5936250 h 6673902"/>
              <a:gd name="connsiteX51" fmla="*/ 3998311 w 8636594"/>
              <a:gd name="connsiteY51" fmla="*/ 5911619 h 6673902"/>
              <a:gd name="connsiteX52" fmla="*/ 4036095 w 8636594"/>
              <a:gd name="connsiteY52" fmla="*/ 5886685 h 6673902"/>
              <a:gd name="connsiteX53" fmla="*/ 4073456 w 8636594"/>
              <a:gd name="connsiteY53" fmla="*/ 5861452 h 6673902"/>
              <a:gd name="connsiteX54" fmla="*/ 4110400 w 8636594"/>
              <a:gd name="connsiteY54" fmla="*/ 5835922 h 6673902"/>
              <a:gd name="connsiteX55" fmla="*/ 4146933 w 8636594"/>
              <a:gd name="connsiteY55" fmla="*/ 5810100 h 6673902"/>
              <a:gd name="connsiteX56" fmla="*/ 4183061 w 8636594"/>
              <a:gd name="connsiteY56" fmla="*/ 5783988 h 6673902"/>
              <a:gd name="connsiteX57" fmla="*/ 4218791 w 8636594"/>
              <a:gd name="connsiteY57" fmla="*/ 5757591 h 6673902"/>
              <a:gd name="connsiteX58" fmla="*/ 4254129 w 8636594"/>
              <a:gd name="connsiteY58" fmla="*/ 5730912 h 6673902"/>
              <a:gd name="connsiteX59" fmla="*/ 4289081 w 8636594"/>
              <a:gd name="connsiteY59" fmla="*/ 5703955 h 6673902"/>
              <a:gd name="connsiteX60" fmla="*/ 4323654 w 8636594"/>
              <a:gd name="connsiteY60" fmla="*/ 5676722 h 6673902"/>
              <a:gd name="connsiteX61" fmla="*/ 4357854 w 8636594"/>
              <a:gd name="connsiteY61" fmla="*/ 5649218 h 6673902"/>
              <a:gd name="connsiteX62" fmla="*/ 4391688 w 8636594"/>
              <a:gd name="connsiteY62" fmla="*/ 5621446 h 6673902"/>
              <a:gd name="connsiteX63" fmla="*/ 4425162 w 8636594"/>
              <a:gd name="connsiteY63" fmla="*/ 5593409 h 6673902"/>
              <a:gd name="connsiteX64" fmla="*/ 4458281 w 8636594"/>
              <a:gd name="connsiteY64" fmla="*/ 5565111 h 6673902"/>
              <a:gd name="connsiteX65" fmla="*/ 4491053 w 8636594"/>
              <a:gd name="connsiteY65" fmla="*/ 5536556 h 6673902"/>
              <a:gd name="connsiteX66" fmla="*/ 4523484 w 8636594"/>
              <a:gd name="connsiteY66" fmla="*/ 5507747 h 6673902"/>
              <a:gd name="connsiteX67" fmla="*/ 4555580 w 8636594"/>
              <a:gd name="connsiteY67" fmla="*/ 5478687 h 6673902"/>
              <a:gd name="connsiteX68" fmla="*/ 4587347 w 8636594"/>
              <a:gd name="connsiteY68" fmla="*/ 5449380 h 6673902"/>
              <a:gd name="connsiteX69" fmla="*/ 4618793 w 8636594"/>
              <a:gd name="connsiteY69" fmla="*/ 5419830 h 6673902"/>
              <a:gd name="connsiteX70" fmla="*/ 4649922 w 8636594"/>
              <a:gd name="connsiteY70" fmla="*/ 5390040 h 6673902"/>
              <a:gd name="connsiteX71" fmla="*/ 4680742 w 8636594"/>
              <a:gd name="connsiteY71" fmla="*/ 5360014 h 6673902"/>
              <a:gd name="connsiteX72" fmla="*/ 4711259 w 8636594"/>
              <a:gd name="connsiteY72" fmla="*/ 5329755 h 6673902"/>
              <a:gd name="connsiteX73" fmla="*/ 4741478 w 8636594"/>
              <a:gd name="connsiteY73" fmla="*/ 5299266 h 6673902"/>
              <a:gd name="connsiteX74" fmla="*/ 4771408 w 8636594"/>
              <a:gd name="connsiteY74" fmla="*/ 5268551 h 6673902"/>
              <a:gd name="connsiteX75" fmla="*/ 4801053 w 8636594"/>
              <a:gd name="connsiteY75" fmla="*/ 5237614 h 6673902"/>
              <a:gd name="connsiteX76" fmla="*/ 4830420 w 8636594"/>
              <a:gd name="connsiteY76" fmla="*/ 5206458 h 6673902"/>
              <a:gd name="connsiteX77" fmla="*/ 4859516 w 8636594"/>
              <a:gd name="connsiteY77" fmla="*/ 5175087 h 6673902"/>
              <a:gd name="connsiteX78" fmla="*/ 4888347 w 8636594"/>
              <a:gd name="connsiteY78" fmla="*/ 5143504 h 6673902"/>
              <a:gd name="connsiteX79" fmla="*/ 4916919 w 8636594"/>
              <a:gd name="connsiteY79" fmla="*/ 5111713 h 6673902"/>
              <a:gd name="connsiteX80" fmla="*/ 4945238 w 8636594"/>
              <a:gd name="connsiteY80" fmla="*/ 5079717 h 6673902"/>
              <a:gd name="connsiteX81" fmla="*/ 4973311 w 8636594"/>
              <a:gd name="connsiteY81" fmla="*/ 5047519 h 6673902"/>
              <a:gd name="connsiteX82" fmla="*/ 5001145 w 8636594"/>
              <a:gd name="connsiteY82" fmla="*/ 5015124 h 6673902"/>
              <a:gd name="connsiteX83" fmla="*/ 5028745 w 8636594"/>
              <a:gd name="connsiteY83" fmla="*/ 4982535 h 6673902"/>
              <a:gd name="connsiteX84" fmla="*/ 5056117 w 8636594"/>
              <a:gd name="connsiteY84" fmla="*/ 4949755 h 6673902"/>
              <a:gd name="connsiteX85" fmla="*/ 5083269 w 8636594"/>
              <a:gd name="connsiteY85" fmla="*/ 4916787 h 6673902"/>
              <a:gd name="connsiteX86" fmla="*/ 5110207 w 8636594"/>
              <a:gd name="connsiteY86" fmla="*/ 4883636 h 6673902"/>
              <a:gd name="connsiteX87" fmla="*/ 5136937 w 8636594"/>
              <a:gd name="connsiteY87" fmla="*/ 4850305 h 6673902"/>
              <a:gd name="connsiteX88" fmla="*/ 5163464 w 8636594"/>
              <a:gd name="connsiteY88" fmla="*/ 4816797 h 6673902"/>
              <a:gd name="connsiteX89" fmla="*/ 5215940 w 8636594"/>
              <a:gd name="connsiteY89" fmla="*/ 4749265 h 6673902"/>
              <a:gd name="connsiteX90" fmla="*/ 5267684 w 8636594"/>
              <a:gd name="connsiteY90" fmla="*/ 4681068 h 6673902"/>
              <a:gd name="connsiteX91" fmla="*/ 5318748 w 8636594"/>
              <a:gd name="connsiteY91" fmla="*/ 4612234 h 6673902"/>
              <a:gd name="connsiteX92" fmla="*/ 5369182 w 8636594"/>
              <a:gd name="connsiteY92" fmla="*/ 4542793 h 6673902"/>
              <a:gd name="connsiteX93" fmla="*/ 5419038 w 8636594"/>
              <a:gd name="connsiteY93" fmla="*/ 4472771 h 6673902"/>
              <a:gd name="connsiteX94" fmla="*/ 5468365 w 8636594"/>
              <a:gd name="connsiteY94" fmla="*/ 4402196 h 6673902"/>
              <a:gd name="connsiteX95" fmla="*/ 5517215 w 8636594"/>
              <a:gd name="connsiteY95" fmla="*/ 4331098 h 6673902"/>
              <a:gd name="connsiteX96" fmla="*/ 5565637 w 8636594"/>
              <a:gd name="connsiteY96" fmla="*/ 4259503 h 6673902"/>
              <a:gd name="connsiteX97" fmla="*/ 5613684 w 8636594"/>
              <a:gd name="connsiteY97" fmla="*/ 4187441 h 6673902"/>
              <a:gd name="connsiteX98" fmla="*/ 5685160 w 8636594"/>
              <a:gd name="connsiteY98" fmla="*/ 4078531 h 6673902"/>
              <a:gd name="connsiteX99" fmla="*/ 5756074 w 8636594"/>
              <a:gd name="connsiteY99" fmla="*/ 3968727 h 6673902"/>
              <a:gd name="connsiteX100" fmla="*/ 5873483 w 8636594"/>
              <a:gd name="connsiteY100" fmla="*/ 3783989 h 6673902"/>
              <a:gd name="connsiteX101" fmla="*/ 6203209 w 8636594"/>
              <a:gd name="connsiteY101" fmla="*/ 3258640 h 6673902"/>
              <a:gd name="connsiteX102" fmla="*/ 6299430 w 8636594"/>
              <a:gd name="connsiteY102" fmla="*/ 3107321 h 6673902"/>
              <a:gd name="connsiteX103" fmla="*/ 6372650 w 8636594"/>
              <a:gd name="connsiteY103" fmla="*/ 2993735 h 6673902"/>
              <a:gd name="connsiteX104" fmla="*/ 6453197 w 8636594"/>
              <a:gd name="connsiteY104" fmla="*/ 2869788 h 6673902"/>
              <a:gd name="connsiteX105" fmla="*/ 6564167 w 8636594"/>
              <a:gd name="connsiteY105" fmla="*/ 2696807 h 6673902"/>
              <a:gd name="connsiteX106" fmla="*/ 6976233 w 8636594"/>
              <a:gd name="connsiteY106" fmla="*/ 2045274 h 6673902"/>
              <a:gd name="connsiteX107" fmla="*/ 7086755 w 8636594"/>
              <a:gd name="connsiteY107" fmla="*/ 1872743 h 6673902"/>
              <a:gd name="connsiteX108" fmla="*/ 7170279 w 8636594"/>
              <a:gd name="connsiteY108" fmla="*/ 1744202 h 6673902"/>
              <a:gd name="connsiteX109" fmla="*/ 7226351 w 8636594"/>
              <a:gd name="connsiteY109" fmla="*/ 1659017 h 6673902"/>
              <a:gd name="connsiteX110" fmla="*/ 7282789 w 8636594"/>
              <a:gd name="connsiteY110" fmla="*/ 1574303 h 6673902"/>
              <a:gd name="connsiteX111" fmla="*/ 7339643 w 8636594"/>
              <a:gd name="connsiteY111" fmla="*/ 1490113 h 6673902"/>
              <a:gd name="connsiteX112" fmla="*/ 7396957 w 8636594"/>
              <a:gd name="connsiteY112" fmla="*/ 1406503 h 6673902"/>
              <a:gd name="connsiteX113" fmla="*/ 7454781 w 8636594"/>
              <a:gd name="connsiteY113" fmla="*/ 1323526 h 6673902"/>
              <a:gd name="connsiteX114" fmla="*/ 7513161 w 8636594"/>
              <a:gd name="connsiteY114" fmla="*/ 1241237 h 6673902"/>
              <a:gd name="connsiteX115" fmla="*/ 7572144 w 8636594"/>
              <a:gd name="connsiteY115" fmla="*/ 1159689 h 6673902"/>
              <a:gd name="connsiteX116" fmla="*/ 7601877 w 8636594"/>
              <a:gd name="connsiteY116" fmla="*/ 1119210 h 6673902"/>
              <a:gd name="connsiteX117" fmla="*/ 7631779 w 8636594"/>
              <a:gd name="connsiteY117" fmla="*/ 1078937 h 6673902"/>
              <a:gd name="connsiteX118" fmla="*/ 7661855 w 8636594"/>
              <a:gd name="connsiteY118" fmla="*/ 1038876 h 6673902"/>
              <a:gd name="connsiteX119" fmla="*/ 7692111 w 8636594"/>
              <a:gd name="connsiteY119" fmla="*/ 999035 h 6673902"/>
              <a:gd name="connsiteX120" fmla="*/ 7722554 w 8636594"/>
              <a:gd name="connsiteY120" fmla="*/ 959419 h 6673902"/>
              <a:gd name="connsiteX121" fmla="*/ 7753190 w 8636594"/>
              <a:gd name="connsiteY121" fmla="*/ 920037 h 6673902"/>
              <a:gd name="connsiteX122" fmla="*/ 7784023 w 8636594"/>
              <a:gd name="connsiteY122" fmla="*/ 880894 h 6673902"/>
              <a:gd name="connsiteX123" fmla="*/ 7815061 w 8636594"/>
              <a:gd name="connsiteY123" fmla="*/ 841997 h 6673902"/>
              <a:gd name="connsiteX124" fmla="*/ 7846308 w 8636594"/>
              <a:gd name="connsiteY124" fmla="*/ 803354 h 6673902"/>
              <a:gd name="connsiteX125" fmla="*/ 7877772 w 8636594"/>
              <a:gd name="connsiteY125" fmla="*/ 764970 h 6673902"/>
              <a:gd name="connsiteX126" fmla="*/ 7909458 w 8636594"/>
              <a:gd name="connsiteY126" fmla="*/ 726853 h 6673902"/>
              <a:gd name="connsiteX127" fmla="*/ 7941371 w 8636594"/>
              <a:gd name="connsiteY127" fmla="*/ 689010 h 6673902"/>
              <a:gd name="connsiteX128" fmla="*/ 7973518 w 8636594"/>
              <a:gd name="connsiteY128" fmla="*/ 651447 h 6673902"/>
              <a:gd name="connsiteX129" fmla="*/ 8005905 w 8636594"/>
              <a:gd name="connsiteY129" fmla="*/ 614171 h 6673902"/>
              <a:gd name="connsiteX130" fmla="*/ 8038538 w 8636594"/>
              <a:gd name="connsiteY130" fmla="*/ 577189 h 6673902"/>
              <a:gd name="connsiteX131" fmla="*/ 8071421 w 8636594"/>
              <a:gd name="connsiteY131" fmla="*/ 540507 h 6673902"/>
              <a:gd name="connsiteX132" fmla="*/ 8104563 w 8636594"/>
              <a:gd name="connsiteY132" fmla="*/ 504132 h 6673902"/>
              <a:gd name="connsiteX133" fmla="*/ 8137967 w 8636594"/>
              <a:gd name="connsiteY133" fmla="*/ 468072 h 6673902"/>
              <a:gd name="connsiteX134" fmla="*/ 8171641 w 8636594"/>
              <a:gd name="connsiteY134" fmla="*/ 432332 h 6673902"/>
              <a:gd name="connsiteX135" fmla="*/ 8205590 w 8636594"/>
              <a:gd name="connsiteY135" fmla="*/ 396920 h 6673902"/>
              <a:gd name="connsiteX136" fmla="*/ 8239820 w 8636594"/>
              <a:gd name="connsiteY136" fmla="*/ 361843 h 6673902"/>
              <a:gd name="connsiteX137" fmla="*/ 8274337 w 8636594"/>
              <a:gd name="connsiteY137" fmla="*/ 327107 h 6673902"/>
              <a:gd name="connsiteX138" fmla="*/ 8309147 w 8636594"/>
              <a:gd name="connsiteY138" fmla="*/ 292718 h 6673902"/>
              <a:gd name="connsiteX139" fmla="*/ 8344256 w 8636594"/>
              <a:gd name="connsiteY139" fmla="*/ 258685 h 6673902"/>
              <a:gd name="connsiteX140" fmla="*/ 8379669 w 8636594"/>
              <a:gd name="connsiteY140" fmla="*/ 225013 h 6673902"/>
              <a:gd name="connsiteX141" fmla="*/ 8415394 w 8636594"/>
              <a:gd name="connsiteY141" fmla="*/ 191709 h 6673902"/>
              <a:gd name="connsiteX142" fmla="*/ 8451434 w 8636594"/>
              <a:gd name="connsiteY142" fmla="*/ 158780 h 6673902"/>
              <a:gd name="connsiteX143" fmla="*/ 8487798 w 8636594"/>
              <a:gd name="connsiteY143" fmla="*/ 126233 h 6673902"/>
              <a:gd name="connsiteX144" fmla="*/ 8524489 w 8636594"/>
              <a:gd name="connsiteY144" fmla="*/ 94075 h 6673902"/>
              <a:gd name="connsiteX145" fmla="*/ 8561515 w 8636594"/>
              <a:gd name="connsiteY145" fmla="*/ 62312 h 6673902"/>
              <a:gd name="connsiteX146" fmla="*/ 8598881 w 8636594"/>
              <a:gd name="connsiteY146" fmla="*/ 30951 h 6673902"/>
              <a:gd name="connsiteX147" fmla="*/ 8636594 w 8636594"/>
              <a:gd name="connsiteY147" fmla="*/ 0 h 6673902"/>
              <a:gd name="connsiteX0" fmla="*/ 8636594 w 8636594"/>
              <a:gd name="connsiteY0" fmla="*/ 0 h 6666549"/>
              <a:gd name="connsiteX1" fmla="*/ 5293 w 8636594"/>
              <a:gd name="connsiteY1" fmla="*/ 0 h 6666549"/>
              <a:gd name="connsiteX2" fmla="*/ 0 w 8636594"/>
              <a:gd name="connsiteY2" fmla="*/ 5587843 h 6666549"/>
              <a:gd name="connsiteX3" fmla="*/ 1594033 w 8636594"/>
              <a:gd name="connsiteY3" fmla="*/ 5600057 h 6666549"/>
              <a:gd name="connsiteX4" fmla="*/ 1686068 w 8636594"/>
              <a:gd name="connsiteY4" fmla="*/ 5599745 h 6666549"/>
              <a:gd name="connsiteX5" fmla="*/ 1883237 w 8636594"/>
              <a:gd name="connsiteY5" fmla="*/ 5855484 h 6666549"/>
              <a:gd name="connsiteX6" fmla="*/ 1756810 w 8636594"/>
              <a:gd name="connsiteY6" fmla="*/ 6666549 h 6666549"/>
              <a:gd name="connsiteX7" fmla="*/ 1820216 w 8636594"/>
              <a:gd name="connsiteY7" fmla="*/ 6658735 h 6666549"/>
              <a:gd name="connsiteX8" fmla="*/ 1882914 w 8636594"/>
              <a:gd name="connsiteY8" fmla="*/ 6650463 h 6666549"/>
              <a:gd name="connsiteX9" fmla="*/ 1944909 w 8636594"/>
              <a:gd name="connsiteY9" fmla="*/ 6641737 h 6666549"/>
              <a:gd name="connsiteX10" fmla="*/ 2006208 w 8636594"/>
              <a:gd name="connsiteY10" fmla="*/ 6632561 h 6666549"/>
              <a:gd name="connsiteX11" fmla="*/ 2066817 w 8636594"/>
              <a:gd name="connsiteY11" fmla="*/ 6622937 h 6666549"/>
              <a:gd name="connsiteX12" fmla="*/ 2126742 w 8636594"/>
              <a:gd name="connsiteY12" fmla="*/ 6612869 h 6666549"/>
              <a:gd name="connsiteX13" fmla="*/ 2185991 w 8636594"/>
              <a:gd name="connsiteY13" fmla="*/ 6602362 h 6666549"/>
              <a:gd name="connsiteX14" fmla="*/ 2244569 w 8636594"/>
              <a:gd name="connsiteY14" fmla="*/ 6591417 h 6666549"/>
              <a:gd name="connsiteX15" fmla="*/ 2302482 w 8636594"/>
              <a:gd name="connsiteY15" fmla="*/ 6580040 h 6666549"/>
              <a:gd name="connsiteX16" fmla="*/ 2359737 w 8636594"/>
              <a:gd name="connsiteY16" fmla="*/ 6568233 h 6666549"/>
              <a:gd name="connsiteX17" fmla="*/ 2416341 w 8636594"/>
              <a:gd name="connsiteY17" fmla="*/ 6555999 h 6666549"/>
              <a:gd name="connsiteX18" fmla="*/ 2472299 w 8636594"/>
              <a:gd name="connsiteY18" fmla="*/ 6543344 h 6666549"/>
              <a:gd name="connsiteX19" fmla="*/ 2527618 w 8636594"/>
              <a:gd name="connsiteY19" fmla="*/ 6530269 h 6666549"/>
              <a:gd name="connsiteX20" fmla="*/ 2582304 w 8636594"/>
              <a:gd name="connsiteY20" fmla="*/ 6516778 h 6666549"/>
              <a:gd name="connsiteX21" fmla="*/ 2636364 w 8636594"/>
              <a:gd name="connsiteY21" fmla="*/ 6502876 h 6666549"/>
              <a:gd name="connsiteX22" fmla="*/ 2689804 w 8636594"/>
              <a:gd name="connsiteY22" fmla="*/ 6488565 h 6666549"/>
              <a:gd name="connsiteX23" fmla="*/ 2742629 w 8636594"/>
              <a:gd name="connsiteY23" fmla="*/ 6473849 h 6666549"/>
              <a:gd name="connsiteX24" fmla="*/ 2794848 w 8636594"/>
              <a:gd name="connsiteY24" fmla="*/ 6458731 h 6666549"/>
              <a:gd name="connsiteX25" fmla="*/ 2846466 w 8636594"/>
              <a:gd name="connsiteY25" fmla="*/ 6443216 h 6666549"/>
              <a:gd name="connsiteX26" fmla="*/ 2897488 w 8636594"/>
              <a:gd name="connsiteY26" fmla="*/ 6427305 h 6666549"/>
              <a:gd name="connsiteX27" fmla="*/ 2947923 w 8636594"/>
              <a:gd name="connsiteY27" fmla="*/ 6411004 h 6666549"/>
              <a:gd name="connsiteX28" fmla="*/ 2997775 w 8636594"/>
              <a:gd name="connsiteY28" fmla="*/ 6394316 h 6666549"/>
              <a:gd name="connsiteX29" fmla="*/ 3047052 w 8636594"/>
              <a:gd name="connsiteY29" fmla="*/ 6377243 h 6666549"/>
              <a:gd name="connsiteX30" fmla="*/ 3095759 w 8636594"/>
              <a:gd name="connsiteY30" fmla="*/ 6359791 h 6666549"/>
              <a:gd name="connsiteX31" fmla="*/ 3143903 w 8636594"/>
              <a:gd name="connsiteY31" fmla="*/ 6341961 h 6666549"/>
              <a:gd name="connsiteX32" fmla="*/ 3191491 w 8636594"/>
              <a:gd name="connsiteY32" fmla="*/ 6323757 h 6666549"/>
              <a:gd name="connsiteX33" fmla="*/ 3238528 w 8636594"/>
              <a:gd name="connsiteY33" fmla="*/ 6305184 h 6666549"/>
              <a:gd name="connsiteX34" fmla="*/ 3285021 w 8636594"/>
              <a:gd name="connsiteY34" fmla="*/ 6286245 h 6666549"/>
              <a:gd name="connsiteX35" fmla="*/ 3330977 w 8636594"/>
              <a:gd name="connsiteY35" fmla="*/ 6266942 h 6666549"/>
              <a:gd name="connsiteX36" fmla="*/ 3376401 w 8636594"/>
              <a:gd name="connsiteY36" fmla="*/ 6247281 h 6666549"/>
              <a:gd name="connsiteX37" fmla="*/ 3421300 w 8636594"/>
              <a:gd name="connsiteY37" fmla="*/ 6227263 h 6666549"/>
              <a:gd name="connsiteX38" fmla="*/ 3465680 w 8636594"/>
              <a:gd name="connsiteY38" fmla="*/ 6206893 h 6666549"/>
              <a:gd name="connsiteX39" fmla="*/ 3509548 w 8636594"/>
              <a:gd name="connsiteY39" fmla="*/ 6186174 h 6666549"/>
              <a:gd name="connsiteX40" fmla="*/ 3552910 w 8636594"/>
              <a:gd name="connsiteY40" fmla="*/ 6165110 h 6666549"/>
              <a:gd name="connsiteX41" fmla="*/ 3595773 w 8636594"/>
              <a:gd name="connsiteY41" fmla="*/ 6143704 h 6666549"/>
              <a:gd name="connsiteX42" fmla="*/ 3638142 w 8636594"/>
              <a:gd name="connsiteY42" fmla="*/ 6121960 h 6666549"/>
              <a:gd name="connsiteX43" fmla="*/ 3680024 w 8636594"/>
              <a:gd name="connsiteY43" fmla="*/ 6099881 h 6666549"/>
              <a:gd name="connsiteX44" fmla="*/ 3721426 w 8636594"/>
              <a:gd name="connsiteY44" fmla="*/ 6077471 h 6666549"/>
              <a:gd name="connsiteX45" fmla="*/ 3762353 w 8636594"/>
              <a:gd name="connsiteY45" fmla="*/ 6054733 h 6666549"/>
              <a:gd name="connsiteX46" fmla="*/ 3802812 w 8636594"/>
              <a:gd name="connsiteY46" fmla="*/ 6031671 h 6666549"/>
              <a:gd name="connsiteX47" fmla="*/ 3842810 w 8636594"/>
              <a:gd name="connsiteY47" fmla="*/ 6008288 h 6666549"/>
              <a:gd name="connsiteX48" fmla="*/ 3882352 w 8636594"/>
              <a:gd name="connsiteY48" fmla="*/ 5984588 h 6666549"/>
              <a:gd name="connsiteX49" fmla="*/ 3921445 w 8636594"/>
              <a:gd name="connsiteY49" fmla="*/ 5960574 h 6666549"/>
              <a:gd name="connsiteX50" fmla="*/ 3960096 w 8636594"/>
              <a:gd name="connsiteY50" fmla="*/ 5936250 h 6666549"/>
              <a:gd name="connsiteX51" fmla="*/ 3998311 w 8636594"/>
              <a:gd name="connsiteY51" fmla="*/ 5911619 h 6666549"/>
              <a:gd name="connsiteX52" fmla="*/ 4036095 w 8636594"/>
              <a:gd name="connsiteY52" fmla="*/ 5886685 h 6666549"/>
              <a:gd name="connsiteX53" fmla="*/ 4073456 w 8636594"/>
              <a:gd name="connsiteY53" fmla="*/ 5861452 h 6666549"/>
              <a:gd name="connsiteX54" fmla="*/ 4110400 w 8636594"/>
              <a:gd name="connsiteY54" fmla="*/ 5835922 h 6666549"/>
              <a:gd name="connsiteX55" fmla="*/ 4146933 w 8636594"/>
              <a:gd name="connsiteY55" fmla="*/ 5810100 h 6666549"/>
              <a:gd name="connsiteX56" fmla="*/ 4183061 w 8636594"/>
              <a:gd name="connsiteY56" fmla="*/ 5783988 h 6666549"/>
              <a:gd name="connsiteX57" fmla="*/ 4218791 w 8636594"/>
              <a:gd name="connsiteY57" fmla="*/ 5757591 h 6666549"/>
              <a:gd name="connsiteX58" fmla="*/ 4254129 w 8636594"/>
              <a:gd name="connsiteY58" fmla="*/ 5730912 h 6666549"/>
              <a:gd name="connsiteX59" fmla="*/ 4289081 w 8636594"/>
              <a:gd name="connsiteY59" fmla="*/ 5703955 h 6666549"/>
              <a:gd name="connsiteX60" fmla="*/ 4323654 w 8636594"/>
              <a:gd name="connsiteY60" fmla="*/ 5676722 h 6666549"/>
              <a:gd name="connsiteX61" fmla="*/ 4357854 w 8636594"/>
              <a:gd name="connsiteY61" fmla="*/ 5649218 h 6666549"/>
              <a:gd name="connsiteX62" fmla="*/ 4391688 w 8636594"/>
              <a:gd name="connsiteY62" fmla="*/ 5621446 h 6666549"/>
              <a:gd name="connsiteX63" fmla="*/ 4425162 w 8636594"/>
              <a:gd name="connsiteY63" fmla="*/ 5593409 h 6666549"/>
              <a:gd name="connsiteX64" fmla="*/ 4458281 w 8636594"/>
              <a:gd name="connsiteY64" fmla="*/ 5565111 h 6666549"/>
              <a:gd name="connsiteX65" fmla="*/ 4491053 w 8636594"/>
              <a:gd name="connsiteY65" fmla="*/ 5536556 h 6666549"/>
              <a:gd name="connsiteX66" fmla="*/ 4523484 w 8636594"/>
              <a:gd name="connsiteY66" fmla="*/ 5507747 h 6666549"/>
              <a:gd name="connsiteX67" fmla="*/ 4555580 w 8636594"/>
              <a:gd name="connsiteY67" fmla="*/ 5478687 h 6666549"/>
              <a:gd name="connsiteX68" fmla="*/ 4587347 w 8636594"/>
              <a:gd name="connsiteY68" fmla="*/ 5449380 h 6666549"/>
              <a:gd name="connsiteX69" fmla="*/ 4618793 w 8636594"/>
              <a:gd name="connsiteY69" fmla="*/ 5419830 h 6666549"/>
              <a:gd name="connsiteX70" fmla="*/ 4649922 w 8636594"/>
              <a:gd name="connsiteY70" fmla="*/ 5390040 h 6666549"/>
              <a:gd name="connsiteX71" fmla="*/ 4680742 w 8636594"/>
              <a:gd name="connsiteY71" fmla="*/ 5360014 h 6666549"/>
              <a:gd name="connsiteX72" fmla="*/ 4711259 w 8636594"/>
              <a:gd name="connsiteY72" fmla="*/ 5329755 h 6666549"/>
              <a:gd name="connsiteX73" fmla="*/ 4741478 w 8636594"/>
              <a:gd name="connsiteY73" fmla="*/ 5299266 h 6666549"/>
              <a:gd name="connsiteX74" fmla="*/ 4771408 w 8636594"/>
              <a:gd name="connsiteY74" fmla="*/ 5268551 h 6666549"/>
              <a:gd name="connsiteX75" fmla="*/ 4801053 w 8636594"/>
              <a:gd name="connsiteY75" fmla="*/ 5237614 h 6666549"/>
              <a:gd name="connsiteX76" fmla="*/ 4830420 w 8636594"/>
              <a:gd name="connsiteY76" fmla="*/ 5206458 h 6666549"/>
              <a:gd name="connsiteX77" fmla="*/ 4859516 w 8636594"/>
              <a:gd name="connsiteY77" fmla="*/ 5175087 h 6666549"/>
              <a:gd name="connsiteX78" fmla="*/ 4888347 w 8636594"/>
              <a:gd name="connsiteY78" fmla="*/ 5143504 h 6666549"/>
              <a:gd name="connsiteX79" fmla="*/ 4916919 w 8636594"/>
              <a:gd name="connsiteY79" fmla="*/ 5111713 h 6666549"/>
              <a:gd name="connsiteX80" fmla="*/ 4945238 w 8636594"/>
              <a:gd name="connsiteY80" fmla="*/ 5079717 h 6666549"/>
              <a:gd name="connsiteX81" fmla="*/ 4973311 w 8636594"/>
              <a:gd name="connsiteY81" fmla="*/ 5047519 h 6666549"/>
              <a:gd name="connsiteX82" fmla="*/ 5001145 w 8636594"/>
              <a:gd name="connsiteY82" fmla="*/ 5015124 h 6666549"/>
              <a:gd name="connsiteX83" fmla="*/ 5028745 w 8636594"/>
              <a:gd name="connsiteY83" fmla="*/ 4982535 h 6666549"/>
              <a:gd name="connsiteX84" fmla="*/ 5056117 w 8636594"/>
              <a:gd name="connsiteY84" fmla="*/ 4949755 h 6666549"/>
              <a:gd name="connsiteX85" fmla="*/ 5083269 w 8636594"/>
              <a:gd name="connsiteY85" fmla="*/ 4916787 h 6666549"/>
              <a:gd name="connsiteX86" fmla="*/ 5110207 w 8636594"/>
              <a:gd name="connsiteY86" fmla="*/ 4883636 h 6666549"/>
              <a:gd name="connsiteX87" fmla="*/ 5136937 w 8636594"/>
              <a:gd name="connsiteY87" fmla="*/ 4850305 h 6666549"/>
              <a:gd name="connsiteX88" fmla="*/ 5163464 w 8636594"/>
              <a:gd name="connsiteY88" fmla="*/ 4816797 h 6666549"/>
              <a:gd name="connsiteX89" fmla="*/ 5215940 w 8636594"/>
              <a:gd name="connsiteY89" fmla="*/ 4749265 h 6666549"/>
              <a:gd name="connsiteX90" fmla="*/ 5267684 w 8636594"/>
              <a:gd name="connsiteY90" fmla="*/ 4681068 h 6666549"/>
              <a:gd name="connsiteX91" fmla="*/ 5318748 w 8636594"/>
              <a:gd name="connsiteY91" fmla="*/ 4612234 h 6666549"/>
              <a:gd name="connsiteX92" fmla="*/ 5369182 w 8636594"/>
              <a:gd name="connsiteY92" fmla="*/ 4542793 h 6666549"/>
              <a:gd name="connsiteX93" fmla="*/ 5419038 w 8636594"/>
              <a:gd name="connsiteY93" fmla="*/ 4472771 h 6666549"/>
              <a:gd name="connsiteX94" fmla="*/ 5468365 w 8636594"/>
              <a:gd name="connsiteY94" fmla="*/ 4402196 h 6666549"/>
              <a:gd name="connsiteX95" fmla="*/ 5517215 w 8636594"/>
              <a:gd name="connsiteY95" fmla="*/ 4331098 h 6666549"/>
              <a:gd name="connsiteX96" fmla="*/ 5565637 w 8636594"/>
              <a:gd name="connsiteY96" fmla="*/ 4259503 h 6666549"/>
              <a:gd name="connsiteX97" fmla="*/ 5613684 w 8636594"/>
              <a:gd name="connsiteY97" fmla="*/ 4187441 h 6666549"/>
              <a:gd name="connsiteX98" fmla="*/ 5685160 w 8636594"/>
              <a:gd name="connsiteY98" fmla="*/ 4078531 h 6666549"/>
              <a:gd name="connsiteX99" fmla="*/ 5756074 w 8636594"/>
              <a:gd name="connsiteY99" fmla="*/ 3968727 h 6666549"/>
              <a:gd name="connsiteX100" fmla="*/ 5873483 w 8636594"/>
              <a:gd name="connsiteY100" fmla="*/ 3783989 h 6666549"/>
              <a:gd name="connsiteX101" fmla="*/ 6203209 w 8636594"/>
              <a:gd name="connsiteY101" fmla="*/ 3258640 h 6666549"/>
              <a:gd name="connsiteX102" fmla="*/ 6299430 w 8636594"/>
              <a:gd name="connsiteY102" fmla="*/ 3107321 h 6666549"/>
              <a:gd name="connsiteX103" fmla="*/ 6372650 w 8636594"/>
              <a:gd name="connsiteY103" fmla="*/ 2993735 h 6666549"/>
              <a:gd name="connsiteX104" fmla="*/ 6453197 w 8636594"/>
              <a:gd name="connsiteY104" fmla="*/ 2869788 h 6666549"/>
              <a:gd name="connsiteX105" fmla="*/ 6564167 w 8636594"/>
              <a:gd name="connsiteY105" fmla="*/ 2696807 h 6666549"/>
              <a:gd name="connsiteX106" fmla="*/ 6976233 w 8636594"/>
              <a:gd name="connsiteY106" fmla="*/ 2045274 h 6666549"/>
              <a:gd name="connsiteX107" fmla="*/ 7086755 w 8636594"/>
              <a:gd name="connsiteY107" fmla="*/ 1872743 h 6666549"/>
              <a:gd name="connsiteX108" fmla="*/ 7170279 w 8636594"/>
              <a:gd name="connsiteY108" fmla="*/ 1744202 h 6666549"/>
              <a:gd name="connsiteX109" fmla="*/ 7226351 w 8636594"/>
              <a:gd name="connsiteY109" fmla="*/ 1659017 h 6666549"/>
              <a:gd name="connsiteX110" fmla="*/ 7282789 w 8636594"/>
              <a:gd name="connsiteY110" fmla="*/ 1574303 h 6666549"/>
              <a:gd name="connsiteX111" fmla="*/ 7339643 w 8636594"/>
              <a:gd name="connsiteY111" fmla="*/ 1490113 h 6666549"/>
              <a:gd name="connsiteX112" fmla="*/ 7396957 w 8636594"/>
              <a:gd name="connsiteY112" fmla="*/ 1406503 h 6666549"/>
              <a:gd name="connsiteX113" fmla="*/ 7454781 w 8636594"/>
              <a:gd name="connsiteY113" fmla="*/ 1323526 h 6666549"/>
              <a:gd name="connsiteX114" fmla="*/ 7513161 w 8636594"/>
              <a:gd name="connsiteY114" fmla="*/ 1241237 h 6666549"/>
              <a:gd name="connsiteX115" fmla="*/ 7572144 w 8636594"/>
              <a:gd name="connsiteY115" fmla="*/ 1159689 h 6666549"/>
              <a:gd name="connsiteX116" fmla="*/ 7601877 w 8636594"/>
              <a:gd name="connsiteY116" fmla="*/ 1119210 h 6666549"/>
              <a:gd name="connsiteX117" fmla="*/ 7631779 w 8636594"/>
              <a:gd name="connsiteY117" fmla="*/ 1078937 h 6666549"/>
              <a:gd name="connsiteX118" fmla="*/ 7661855 w 8636594"/>
              <a:gd name="connsiteY118" fmla="*/ 1038876 h 6666549"/>
              <a:gd name="connsiteX119" fmla="*/ 7692111 w 8636594"/>
              <a:gd name="connsiteY119" fmla="*/ 999035 h 6666549"/>
              <a:gd name="connsiteX120" fmla="*/ 7722554 w 8636594"/>
              <a:gd name="connsiteY120" fmla="*/ 959419 h 6666549"/>
              <a:gd name="connsiteX121" fmla="*/ 7753190 w 8636594"/>
              <a:gd name="connsiteY121" fmla="*/ 920037 h 6666549"/>
              <a:gd name="connsiteX122" fmla="*/ 7784023 w 8636594"/>
              <a:gd name="connsiteY122" fmla="*/ 880894 h 6666549"/>
              <a:gd name="connsiteX123" fmla="*/ 7815061 w 8636594"/>
              <a:gd name="connsiteY123" fmla="*/ 841997 h 6666549"/>
              <a:gd name="connsiteX124" fmla="*/ 7846308 w 8636594"/>
              <a:gd name="connsiteY124" fmla="*/ 803354 h 6666549"/>
              <a:gd name="connsiteX125" fmla="*/ 7877772 w 8636594"/>
              <a:gd name="connsiteY125" fmla="*/ 764970 h 6666549"/>
              <a:gd name="connsiteX126" fmla="*/ 7909458 w 8636594"/>
              <a:gd name="connsiteY126" fmla="*/ 726853 h 6666549"/>
              <a:gd name="connsiteX127" fmla="*/ 7941371 w 8636594"/>
              <a:gd name="connsiteY127" fmla="*/ 689010 h 6666549"/>
              <a:gd name="connsiteX128" fmla="*/ 7973518 w 8636594"/>
              <a:gd name="connsiteY128" fmla="*/ 651447 h 6666549"/>
              <a:gd name="connsiteX129" fmla="*/ 8005905 w 8636594"/>
              <a:gd name="connsiteY129" fmla="*/ 614171 h 6666549"/>
              <a:gd name="connsiteX130" fmla="*/ 8038538 w 8636594"/>
              <a:gd name="connsiteY130" fmla="*/ 577189 h 6666549"/>
              <a:gd name="connsiteX131" fmla="*/ 8071421 w 8636594"/>
              <a:gd name="connsiteY131" fmla="*/ 540507 h 6666549"/>
              <a:gd name="connsiteX132" fmla="*/ 8104563 w 8636594"/>
              <a:gd name="connsiteY132" fmla="*/ 504132 h 6666549"/>
              <a:gd name="connsiteX133" fmla="*/ 8137967 w 8636594"/>
              <a:gd name="connsiteY133" fmla="*/ 468072 h 6666549"/>
              <a:gd name="connsiteX134" fmla="*/ 8171641 w 8636594"/>
              <a:gd name="connsiteY134" fmla="*/ 432332 h 6666549"/>
              <a:gd name="connsiteX135" fmla="*/ 8205590 w 8636594"/>
              <a:gd name="connsiteY135" fmla="*/ 396920 h 6666549"/>
              <a:gd name="connsiteX136" fmla="*/ 8239820 w 8636594"/>
              <a:gd name="connsiteY136" fmla="*/ 361843 h 6666549"/>
              <a:gd name="connsiteX137" fmla="*/ 8274337 w 8636594"/>
              <a:gd name="connsiteY137" fmla="*/ 327107 h 6666549"/>
              <a:gd name="connsiteX138" fmla="*/ 8309147 w 8636594"/>
              <a:gd name="connsiteY138" fmla="*/ 292718 h 6666549"/>
              <a:gd name="connsiteX139" fmla="*/ 8344256 w 8636594"/>
              <a:gd name="connsiteY139" fmla="*/ 258685 h 6666549"/>
              <a:gd name="connsiteX140" fmla="*/ 8379669 w 8636594"/>
              <a:gd name="connsiteY140" fmla="*/ 225013 h 6666549"/>
              <a:gd name="connsiteX141" fmla="*/ 8415394 w 8636594"/>
              <a:gd name="connsiteY141" fmla="*/ 191709 h 6666549"/>
              <a:gd name="connsiteX142" fmla="*/ 8451434 w 8636594"/>
              <a:gd name="connsiteY142" fmla="*/ 158780 h 6666549"/>
              <a:gd name="connsiteX143" fmla="*/ 8487798 w 8636594"/>
              <a:gd name="connsiteY143" fmla="*/ 126233 h 6666549"/>
              <a:gd name="connsiteX144" fmla="*/ 8524489 w 8636594"/>
              <a:gd name="connsiteY144" fmla="*/ 94075 h 6666549"/>
              <a:gd name="connsiteX145" fmla="*/ 8561515 w 8636594"/>
              <a:gd name="connsiteY145" fmla="*/ 62312 h 6666549"/>
              <a:gd name="connsiteX146" fmla="*/ 8598881 w 8636594"/>
              <a:gd name="connsiteY146" fmla="*/ 30951 h 6666549"/>
              <a:gd name="connsiteX147" fmla="*/ 8636594 w 8636594"/>
              <a:gd name="connsiteY147" fmla="*/ 0 h 6666549"/>
              <a:gd name="connsiteX0" fmla="*/ 8636594 w 8636594"/>
              <a:gd name="connsiteY0" fmla="*/ 0 h 6658735"/>
              <a:gd name="connsiteX1" fmla="*/ 5293 w 8636594"/>
              <a:gd name="connsiteY1" fmla="*/ 0 h 6658735"/>
              <a:gd name="connsiteX2" fmla="*/ 0 w 8636594"/>
              <a:gd name="connsiteY2" fmla="*/ 5587843 h 6658735"/>
              <a:gd name="connsiteX3" fmla="*/ 1594033 w 8636594"/>
              <a:gd name="connsiteY3" fmla="*/ 5600057 h 6658735"/>
              <a:gd name="connsiteX4" fmla="*/ 1686068 w 8636594"/>
              <a:gd name="connsiteY4" fmla="*/ 5599745 h 6658735"/>
              <a:gd name="connsiteX5" fmla="*/ 1883237 w 8636594"/>
              <a:gd name="connsiteY5" fmla="*/ 5855484 h 6658735"/>
              <a:gd name="connsiteX6" fmla="*/ 2084977 w 8636594"/>
              <a:gd name="connsiteY6" fmla="*/ 5695440 h 6658735"/>
              <a:gd name="connsiteX7" fmla="*/ 1820216 w 8636594"/>
              <a:gd name="connsiteY7" fmla="*/ 6658735 h 6658735"/>
              <a:gd name="connsiteX8" fmla="*/ 1882914 w 8636594"/>
              <a:gd name="connsiteY8" fmla="*/ 6650463 h 6658735"/>
              <a:gd name="connsiteX9" fmla="*/ 1944909 w 8636594"/>
              <a:gd name="connsiteY9" fmla="*/ 6641737 h 6658735"/>
              <a:gd name="connsiteX10" fmla="*/ 2006208 w 8636594"/>
              <a:gd name="connsiteY10" fmla="*/ 6632561 h 6658735"/>
              <a:gd name="connsiteX11" fmla="*/ 2066817 w 8636594"/>
              <a:gd name="connsiteY11" fmla="*/ 6622937 h 6658735"/>
              <a:gd name="connsiteX12" fmla="*/ 2126742 w 8636594"/>
              <a:gd name="connsiteY12" fmla="*/ 6612869 h 6658735"/>
              <a:gd name="connsiteX13" fmla="*/ 2185991 w 8636594"/>
              <a:gd name="connsiteY13" fmla="*/ 6602362 h 6658735"/>
              <a:gd name="connsiteX14" fmla="*/ 2244569 w 8636594"/>
              <a:gd name="connsiteY14" fmla="*/ 6591417 h 6658735"/>
              <a:gd name="connsiteX15" fmla="*/ 2302482 w 8636594"/>
              <a:gd name="connsiteY15" fmla="*/ 6580040 h 6658735"/>
              <a:gd name="connsiteX16" fmla="*/ 2359737 w 8636594"/>
              <a:gd name="connsiteY16" fmla="*/ 6568233 h 6658735"/>
              <a:gd name="connsiteX17" fmla="*/ 2416341 w 8636594"/>
              <a:gd name="connsiteY17" fmla="*/ 6555999 h 6658735"/>
              <a:gd name="connsiteX18" fmla="*/ 2472299 w 8636594"/>
              <a:gd name="connsiteY18" fmla="*/ 6543344 h 6658735"/>
              <a:gd name="connsiteX19" fmla="*/ 2527618 w 8636594"/>
              <a:gd name="connsiteY19" fmla="*/ 6530269 h 6658735"/>
              <a:gd name="connsiteX20" fmla="*/ 2582304 w 8636594"/>
              <a:gd name="connsiteY20" fmla="*/ 6516778 h 6658735"/>
              <a:gd name="connsiteX21" fmla="*/ 2636364 w 8636594"/>
              <a:gd name="connsiteY21" fmla="*/ 6502876 h 6658735"/>
              <a:gd name="connsiteX22" fmla="*/ 2689804 w 8636594"/>
              <a:gd name="connsiteY22" fmla="*/ 6488565 h 6658735"/>
              <a:gd name="connsiteX23" fmla="*/ 2742629 w 8636594"/>
              <a:gd name="connsiteY23" fmla="*/ 6473849 h 6658735"/>
              <a:gd name="connsiteX24" fmla="*/ 2794848 w 8636594"/>
              <a:gd name="connsiteY24" fmla="*/ 6458731 h 6658735"/>
              <a:gd name="connsiteX25" fmla="*/ 2846466 w 8636594"/>
              <a:gd name="connsiteY25" fmla="*/ 6443216 h 6658735"/>
              <a:gd name="connsiteX26" fmla="*/ 2897488 w 8636594"/>
              <a:gd name="connsiteY26" fmla="*/ 6427305 h 6658735"/>
              <a:gd name="connsiteX27" fmla="*/ 2947923 w 8636594"/>
              <a:gd name="connsiteY27" fmla="*/ 6411004 h 6658735"/>
              <a:gd name="connsiteX28" fmla="*/ 2997775 w 8636594"/>
              <a:gd name="connsiteY28" fmla="*/ 6394316 h 6658735"/>
              <a:gd name="connsiteX29" fmla="*/ 3047052 w 8636594"/>
              <a:gd name="connsiteY29" fmla="*/ 6377243 h 6658735"/>
              <a:gd name="connsiteX30" fmla="*/ 3095759 w 8636594"/>
              <a:gd name="connsiteY30" fmla="*/ 6359791 h 6658735"/>
              <a:gd name="connsiteX31" fmla="*/ 3143903 w 8636594"/>
              <a:gd name="connsiteY31" fmla="*/ 6341961 h 6658735"/>
              <a:gd name="connsiteX32" fmla="*/ 3191491 w 8636594"/>
              <a:gd name="connsiteY32" fmla="*/ 6323757 h 6658735"/>
              <a:gd name="connsiteX33" fmla="*/ 3238528 w 8636594"/>
              <a:gd name="connsiteY33" fmla="*/ 6305184 h 6658735"/>
              <a:gd name="connsiteX34" fmla="*/ 3285021 w 8636594"/>
              <a:gd name="connsiteY34" fmla="*/ 6286245 h 6658735"/>
              <a:gd name="connsiteX35" fmla="*/ 3330977 w 8636594"/>
              <a:gd name="connsiteY35" fmla="*/ 6266942 h 6658735"/>
              <a:gd name="connsiteX36" fmla="*/ 3376401 w 8636594"/>
              <a:gd name="connsiteY36" fmla="*/ 6247281 h 6658735"/>
              <a:gd name="connsiteX37" fmla="*/ 3421300 w 8636594"/>
              <a:gd name="connsiteY37" fmla="*/ 6227263 h 6658735"/>
              <a:gd name="connsiteX38" fmla="*/ 3465680 w 8636594"/>
              <a:gd name="connsiteY38" fmla="*/ 6206893 h 6658735"/>
              <a:gd name="connsiteX39" fmla="*/ 3509548 w 8636594"/>
              <a:gd name="connsiteY39" fmla="*/ 6186174 h 6658735"/>
              <a:gd name="connsiteX40" fmla="*/ 3552910 w 8636594"/>
              <a:gd name="connsiteY40" fmla="*/ 6165110 h 6658735"/>
              <a:gd name="connsiteX41" fmla="*/ 3595773 w 8636594"/>
              <a:gd name="connsiteY41" fmla="*/ 6143704 h 6658735"/>
              <a:gd name="connsiteX42" fmla="*/ 3638142 w 8636594"/>
              <a:gd name="connsiteY42" fmla="*/ 6121960 h 6658735"/>
              <a:gd name="connsiteX43" fmla="*/ 3680024 w 8636594"/>
              <a:gd name="connsiteY43" fmla="*/ 6099881 h 6658735"/>
              <a:gd name="connsiteX44" fmla="*/ 3721426 w 8636594"/>
              <a:gd name="connsiteY44" fmla="*/ 6077471 h 6658735"/>
              <a:gd name="connsiteX45" fmla="*/ 3762353 w 8636594"/>
              <a:gd name="connsiteY45" fmla="*/ 6054733 h 6658735"/>
              <a:gd name="connsiteX46" fmla="*/ 3802812 w 8636594"/>
              <a:gd name="connsiteY46" fmla="*/ 6031671 h 6658735"/>
              <a:gd name="connsiteX47" fmla="*/ 3842810 w 8636594"/>
              <a:gd name="connsiteY47" fmla="*/ 6008288 h 6658735"/>
              <a:gd name="connsiteX48" fmla="*/ 3882352 w 8636594"/>
              <a:gd name="connsiteY48" fmla="*/ 5984588 h 6658735"/>
              <a:gd name="connsiteX49" fmla="*/ 3921445 w 8636594"/>
              <a:gd name="connsiteY49" fmla="*/ 5960574 h 6658735"/>
              <a:gd name="connsiteX50" fmla="*/ 3960096 w 8636594"/>
              <a:gd name="connsiteY50" fmla="*/ 5936250 h 6658735"/>
              <a:gd name="connsiteX51" fmla="*/ 3998311 w 8636594"/>
              <a:gd name="connsiteY51" fmla="*/ 5911619 h 6658735"/>
              <a:gd name="connsiteX52" fmla="*/ 4036095 w 8636594"/>
              <a:gd name="connsiteY52" fmla="*/ 5886685 h 6658735"/>
              <a:gd name="connsiteX53" fmla="*/ 4073456 w 8636594"/>
              <a:gd name="connsiteY53" fmla="*/ 5861452 h 6658735"/>
              <a:gd name="connsiteX54" fmla="*/ 4110400 w 8636594"/>
              <a:gd name="connsiteY54" fmla="*/ 5835922 h 6658735"/>
              <a:gd name="connsiteX55" fmla="*/ 4146933 w 8636594"/>
              <a:gd name="connsiteY55" fmla="*/ 5810100 h 6658735"/>
              <a:gd name="connsiteX56" fmla="*/ 4183061 w 8636594"/>
              <a:gd name="connsiteY56" fmla="*/ 5783988 h 6658735"/>
              <a:gd name="connsiteX57" fmla="*/ 4218791 w 8636594"/>
              <a:gd name="connsiteY57" fmla="*/ 5757591 h 6658735"/>
              <a:gd name="connsiteX58" fmla="*/ 4254129 w 8636594"/>
              <a:gd name="connsiteY58" fmla="*/ 5730912 h 6658735"/>
              <a:gd name="connsiteX59" fmla="*/ 4289081 w 8636594"/>
              <a:gd name="connsiteY59" fmla="*/ 5703955 h 6658735"/>
              <a:gd name="connsiteX60" fmla="*/ 4323654 w 8636594"/>
              <a:gd name="connsiteY60" fmla="*/ 5676722 h 6658735"/>
              <a:gd name="connsiteX61" fmla="*/ 4357854 w 8636594"/>
              <a:gd name="connsiteY61" fmla="*/ 5649218 h 6658735"/>
              <a:gd name="connsiteX62" fmla="*/ 4391688 w 8636594"/>
              <a:gd name="connsiteY62" fmla="*/ 5621446 h 6658735"/>
              <a:gd name="connsiteX63" fmla="*/ 4425162 w 8636594"/>
              <a:gd name="connsiteY63" fmla="*/ 5593409 h 6658735"/>
              <a:gd name="connsiteX64" fmla="*/ 4458281 w 8636594"/>
              <a:gd name="connsiteY64" fmla="*/ 5565111 h 6658735"/>
              <a:gd name="connsiteX65" fmla="*/ 4491053 w 8636594"/>
              <a:gd name="connsiteY65" fmla="*/ 5536556 h 6658735"/>
              <a:gd name="connsiteX66" fmla="*/ 4523484 w 8636594"/>
              <a:gd name="connsiteY66" fmla="*/ 5507747 h 6658735"/>
              <a:gd name="connsiteX67" fmla="*/ 4555580 w 8636594"/>
              <a:gd name="connsiteY67" fmla="*/ 5478687 h 6658735"/>
              <a:gd name="connsiteX68" fmla="*/ 4587347 w 8636594"/>
              <a:gd name="connsiteY68" fmla="*/ 5449380 h 6658735"/>
              <a:gd name="connsiteX69" fmla="*/ 4618793 w 8636594"/>
              <a:gd name="connsiteY69" fmla="*/ 5419830 h 6658735"/>
              <a:gd name="connsiteX70" fmla="*/ 4649922 w 8636594"/>
              <a:gd name="connsiteY70" fmla="*/ 5390040 h 6658735"/>
              <a:gd name="connsiteX71" fmla="*/ 4680742 w 8636594"/>
              <a:gd name="connsiteY71" fmla="*/ 5360014 h 6658735"/>
              <a:gd name="connsiteX72" fmla="*/ 4711259 w 8636594"/>
              <a:gd name="connsiteY72" fmla="*/ 5329755 h 6658735"/>
              <a:gd name="connsiteX73" fmla="*/ 4741478 w 8636594"/>
              <a:gd name="connsiteY73" fmla="*/ 5299266 h 6658735"/>
              <a:gd name="connsiteX74" fmla="*/ 4771408 w 8636594"/>
              <a:gd name="connsiteY74" fmla="*/ 5268551 h 6658735"/>
              <a:gd name="connsiteX75" fmla="*/ 4801053 w 8636594"/>
              <a:gd name="connsiteY75" fmla="*/ 5237614 h 6658735"/>
              <a:gd name="connsiteX76" fmla="*/ 4830420 w 8636594"/>
              <a:gd name="connsiteY76" fmla="*/ 5206458 h 6658735"/>
              <a:gd name="connsiteX77" fmla="*/ 4859516 w 8636594"/>
              <a:gd name="connsiteY77" fmla="*/ 5175087 h 6658735"/>
              <a:gd name="connsiteX78" fmla="*/ 4888347 w 8636594"/>
              <a:gd name="connsiteY78" fmla="*/ 5143504 h 6658735"/>
              <a:gd name="connsiteX79" fmla="*/ 4916919 w 8636594"/>
              <a:gd name="connsiteY79" fmla="*/ 5111713 h 6658735"/>
              <a:gd name="connsiteX80" fmla="*/ 4945238 w 8636594"/>
              <a:gd name="connsiteY80" fmla="*/ 5079717 h 6658735"/>
              <a:gd name="connsiteX81" fmla="*/ 4973311 w 8636594"/>
              <a:gd name="connsiteY81" fmla="*/ 5047519 h 6658735"/>
              <a:gd name="connsiteX82" fmla="*/ 5001145 w 8636594"/>
              <a:gd name="connsiteY82" fmla="*/ 5015124 h 6658735"/>
              <a:gd name="connsiteX83" fmla="*/ 5028745 w 8636594"/>
              <a:gd name="connsiteY83" fmla="*/ 4982535 h 6658735"/>
              <a:gd name="connsiteX84" fmla="*/ 5056117 w 8636594"/>
              <a:gd name="connsiteY84" fmla="*/ 4949755 h 6658735"/>
              <a:gd name="connsiteX85" fmla="*/ 5083269 w 8636594"/>
              <a:gd name="connsiteY85" fmla="*/ 4916787 h 6658735"/>
              <a:gd name="connsiteX86" fmla="*/ 5110207 w 8636594"/>
              <a:gd name="connsiteY86" fmla="*/ 4883636 h 6658735"/>
              <a:gd name="connsiteX87" fmla="*/ 5136937 w 8636594"/>
              <a:gd name="connsiteY87" fmla="*/ 4850305 h 6658735"/>
              <a:gd name="connsiteX88" fmla="*/ 5163464 w 8636594"/>
              <a:gd name="connsiteY88" fmla="*/ 4816797 h 6658735"/>
              <a:gd name="connsiteX89" fmla="*/ 5215940 w 8636594"/>
              <a:gd name="connsiteY89" fmla="*/ 4749265 h 6658735"/>
              <a:gd name="connsiteX90" fmla="*/ 5267684 w 8636594"/>
              <a:gd name="connsiteY90" fmla="*/ 4681068 h 6658735"/>
              <a:gd name="connsiteX91" fmla="*/ 5318748 w 8636594"/>
              <a:gd name="connsiteY91" fmla="*/ 4612234 h 6658735"/>
              <a:gd name="connsiteX92" fmla="*/ 5369182 w 8636594"/>
              <a:gd name="connsiteY92" fmla="*/ 4542793 h 6658735"/>
              <a:gd name="connsiteX93" fmla="*/ 5419038 w 8636594"/>
              <a:gd name="connsiteY93" fmla="*/ 4472771 h 6658735"/>
              <a:gd name="connsiteX94" fmla="*/ 5468365 w 8636594"/>
              <a:gd name="connsiteY94" fmla="*/ 4402196 h 6658735"/>
              <a:gd name="connsiteX95" fmla="*/ 5517215 w 8636594"/>
              <a:gd name="connsiteY95" fmla="*/ 4331098 h 6658735"/>
              <a:gd name="connsiteX96" fmla="*/ 5565637 w 8636594"/>
              <a:gd name="connsiteY96" fmla="*/ 4259503 h 6658735"/>
              <a:gd name="connsiteX97" fmla="*/ 5613684 w 8636594"/>
              <a:gd name="connsiteY97" fmla="*/ 4187441 h 6658735"/>
              <a:gd name="connsiteX98" fmla="*/ 5685160 w 8636594"/>
              <a:gd name="connsiteY98" fmla="*/ 4078531 h 6658735"/>
              <a:gd name="connsiteX99" fmla="*/ 5756074 w 8636594"/>
              <a:gd name="connsiteY99" fmla="*/ 3968727 h 6658735"/>
              <a:gd name="connsiteX100" fmla="*/ 5873483 w 8636594"/>
              <a:gd name="connsiteY100" fmla="*/ 3783989 h 6658735"/>
              <a:gd name="connsiteX101" fmla="*/ 6203209 w 8636594"/>
              <a:gd name="connsiteY101" fmla="*/ 3258640 h 6658735"/>
              <a:gd name="connsiteX102" fmla="*/ 6299430 w 8636594"/>
              <a:gd name="connsiteY102" fmla="*/ 3107321 h 6658735"/>
              <a:gd name="connsiteX103" fmla="*/ 6372650 w 8636594"/>
              <a:gd name="connsiteY103" fmla="*/ 2993735 h 6658735"/>
              <a:gd name="connsiteX104" fmla="*/ 6453197 w 8636594"/>
              <a:gd name="connsiteY104" fmla="*/ 2869788 h 6658735"/>
              <a:gd name="connsiteX105" fmla="*/ 6564167 w 8636594"/>
              <a:gd name="connsiteY105" fmla="*/ 2696807 h 6658735"/>
              <a:gd name="connsiteX106" fmla="*/ 6976233 w 8636594"/>
              <a:gd name="connsiteY106" fmla="*/ 2045274 h 6658735"/>
              <a:gd name="connsiteX107" fmla="*/ 7086755 w 8636594"/>
              <a:gd name="connsiteY107" fmla="*/ 1872743 h 6658735"/>
              <a:gd name="connsiteX108" fmla="*/ 7170279 w 8636594"/>
              <a:gd name="connsiteY108" fmla="*/ 1744202 h 6658735"/>
              <a:gd name="connsiteX109" fmla="*/ 7226351 w 8636594"/>
              <a:gd name="connsiteY109" fmla="*/ 1659017 h 6658735"/>
              <a:gd name="connsiteX110" fmla="*/ 7282789 w 8636594"/>
              <a:gd name="connsiteY110" fmla="*/ 1574303 h 6658735"/>
              <a:gd name="connsiteX111" fmla="*/ 7339643 w 8636594"/>
              <a:gd name="connsiteY111" fmla="*/ 1490113 h 6658735"/>
              <a:gd name="connsiteX112" fmla="*/ 7396957 w 8636594"/>
              <a:gd name="connsiteY112" fmla="*/ 1406503 h 6658735"/>
              <a:gd name="connsiteX113" fmla="*/ 7454781 w 8636594"/>
              <a:gd name="connsiteY113" fmla="*/ 1323526 h 6658735"/>
              <a:gd name="connsiteX114" fmla="*/ 7513161 w 8636594"/>
              <a:gd name="connsiteY114" fmla="*/ 1241237 h 6658735"/>
              <a:gd name="connsiteX115" fmla="*/ 7572144 w 8636594"/>
              <a:gd name="connsiteY115" fmla="*/ 1159689 h 6658735"/>
              <a:gd name="connsiteX116" fmla="*/ 7601877 w 8636594"/>
              <a:gd name="connsiteY116" fmla="*/ 1119210 h 6658735"/>
              <a:gd name="connsiteX117" fmla="*/ 7631779 w 8636594"/>
              <a:gd name="connsiteY117" fmla="*/ 1078937 h 6658735"/>
              <a:gd name="connsiteX118" fmla="*/ 7661855 w 8636594"/>
              <a:gd name="connsiteY118" fmla="*/ 1038876 h 6658735"/>
              <a:gd name="connsiteX119" fmla="*/ 7692111 w 8636594"/>
              <a:gd name="connsiteY119" fmla="*/ 999035 h 6658735"/>
              <a:gd name="connsiteX120" fmla="*/ 7722554 w 8636594"/>
              <a:gd name="connsiteY120" fmla="*/ 959419 h 6658735"/>
              <a:gd name="connsiteX121" fmla="*/ 7753190 w 8636594"/>
              <a:gd name="connsiteY121" fmla="*/ 920037 h 6658735"/>
              <a:gd name="connsiteX122" fmla="*/ 7784023 w 8636594"/>
              <a:gd name="connsiteY122" fmla="*/ 880894 h 6658735"/>
              <a:gd name="connsiteX123" fmla="*/ 7815061 w 8636594"/>
              <a:gd name="connsiteY123" fmla="*/ 841997 h 6658735"/>
              <a:gd name="connsiteX124" fmla="*/ 7846308 w 8636594"/>
              <a:gd name="connsiteY124" fmla="*/ 803354 h 6658735"/>
              <a:gd name="connsiteX125" fmla="*/ 7877772 w 8636594"/>
              <a:gd name="connsiteY125" fmla="*/ 764970 h 6658735"/>
              <a:gd name="connsiteX126" fmla="*/ 7909458 w 8636594"/>
              <a:gd name="connsiteY126" fmla="*/ 726853 h 6658735"/>
              <a:gd name="connsiteX127" fmla="*/ 7941371 w 8636594"/>
              <a:gd name="connsiteY127" fmla="*/ 689010 h 6658735"/>
              <a:gd name="connsiteX128" fmla="*/ 7973518 w 8636594"/>
              <a:gd name="connsiteY128" fmla="*/ 651447 h 6658735"/>
              <a:gd name="connsiteX129" fmla="*/ 8005905 w 8636594"/>
              <a:gd name="connsiteY129" fmla="*/ 614171 h 6658735"/>
              <a:gd name="connsiteX130" fmla="*/ 8038538 w 8636594"/>
              <a:gd name="connsiteY130" fmla="*/ 577189 h 6658735"/>
              <a:gd name="connsiteX131" fmla="*/ 8071421 w 8636594"/>
              <a:gd name="connsiteY131" fmla="*/ 540507 h 6658735"/>
              <a:gd name="connsiteX132" fmla="*/ 8104563 w 8636594"/>
              <a:gd name="connsiteY132" fmla="*/ 504132 h 6658735"/>
              <a:gd name="connsiteX133" fmla="*/ 8137967 w 8636594"/>
              <a:gd name="connsiteY133" fmla="*/ 468072 h 6658735"/>
              <a:gd name="connsiteX134" fmla="*/ 8171641 w 8636594"/>
              <a:gd name="connsiteY134" fmla="*/ 432332 h 6658735"/>
              <a:gd name="connsiteX135" fmla="*/ 8205590 w 8636594"/>
              <a:gd name="connsiteY135" fmla="*/ 396920 h 6658735"/>
              <a:gd name="connsiteX136" fmla="*/ 8239820 w 8636594"/>
              <a:gd name="connsiteY136" fmla="*/ 361843 h 6658735"/>
              <a:gd name="connsiteX137" fmla="*/ 8274337 w 8636594"/>
              <a:gd name="connsiteY137" fmla="*/ 327107 h 6658735"/>
              <a:gd name="connsiteX138" fmla="*/ 8309147 w 8636594"/>
              <a:gd name="connsiteY138" fmla="*/ 292718 h 6658735"/>
              <a:gd name="connsiteX139" fmla="*/ 8344256 w 8636594"/>
              <a:gd name="connsiteY139" fmla="*/ 258685 h 6658735"/>
              <a:gd name="connsiteX140" fmla="*/ 8379669 w 8636594"/>
              <a:gd name="connsiteY140" fmla="*/ 225013 h 6658735"/>
              <a:gd name="connsiteX141" fmla="*/ 8415394 w 8636594"/>
              <a:gd name="connsiteY141" fmla="*/ 191709 h 6658735"/>
              <a:gd name="connsiteX142" fmla="*/ 8451434 w 8636594"/>
              <a:gd name="connsiteY142" fmla="*/ 158780 h 6658735"/>
              <a:gd name="connsiteX143" fmla="*/ 8487798 w 8636594"/>
              <a:gd name="connsiteY143" fmla="*/ 126233 h 6658735"/>
              <a:gd name="connsiteX144" fmla="*/ 8524489 w 8636594"/>
              <a:gd name="connsiteY144" fmla="*/ 94075 h 6658735"/>
              <a:gd name="connsiteX145" fmla="*/ 8561515 w 8636594"/>
              <a:gd name="connsiteY145" fmla="*/ 62312 h 6658735"/>
              <a:gd name="connsiteX146" fmla="*/ 8598881 w 8636594"/>
              <a:gd name="connsiteY146" fmla="*/ 30951 h 6658735"/>
              <a:gd name="connsiteX147" fmla="*/ 8636594 w 8636594"/>
              <a:gd name="connsiteY147" fmla="*/ 0 h 6658735"/>
              <a:gd name="connsiteX0" fmla="*/ 8636594 w 8636594"/>
              <a:gd name="connsiteY0" fmla="*/ 0 h 6650463"/>
              <a:gd name="connsiteX1" fmla="*/ 5293 w 8636594"/>
              <a:gd name="connsiteY1" fmla="*/ 0 h 6650463"/>
              <a:gd name="connsiteX2" fmla="*/ 0 w 8636594"/>
              <a:gd name="connsiteY2" fmla="*/ 5587843 h 6650463"/>
              <a:gd name="connsiteX3" fmla="*/ 1594033 w 8636594"/>
              <a:gd name="connsiteY3" fmla="*/ 5600057 h 6650463"/>
              <a:gd name="connsiteX4" fmla="*/ 1686068 w 8636594"/>
              <a:gd name="connsiteY4" fmla="*/ 5599745 h 6650463"/>
              <a:gd name="connsiteX5" fmla="*/ 1883237 w 8636594"/>
              <a:gd name="connsiteY5" fmla="*/ 5855484 h 6650463"/>
              <a:gd name="connsiteX6" fmla="*/ 2084977 w 8636594"/>
              <a:gd name="connsiteY6" fmla="*/ 5695440 h 6650463"/>
              <a:gd name="connsiteX7" fmla="*/ 2222486 w 8636594"/>
              <a:gd name="connsiteY7" fmla="*/ 5687627 h 6650463"/>
              <a:gd name="connsiteX8" fmla="*/ 1882914 w 8636594"/>
              <a:gd name="connsiteY8" fmla="*/ 6650463 h 6650463"/>
              <a:gd name="connsiteX9" fmla="*/ 1944909 w 8636594"/>
              <a:gd name="connsiteY9" fmla="*/ 6641737 h 6650463"/>
              <a:gd name="connsiteX10" fmla="*/ 2006208 w 8636594"/>
              <a:gd name="connsiteY10" fmla="*/ 6632561 h 6650463"/>
              <a:gd name="connsiteX11" fmla="*/ 2066817 w 8636594"/>
              <a:gd name="connsiteY11" fmla="*/ 6622937 h 6650463"/>
              <a:gd name="connsiteX12" fmla="*/ 2126742 w 8636594"/>
              <a:gd name="connsiteY12" fmla="*/ 6612869 h 6650463"/>
              <a:gd name="connsiteX13" fmla="*/ 2185991 w 8636594"/>
              <a:gd name="connsiteY13" fmla="*/ 6602362 h 6650463"/>
              <a:gd name="connsiteX14" fmla="*/ 2244569 w 8636594"/>
              <a:gd name="connsiteY14" fmla="*/ 6591417 h 6650463"/>
              <a:gd name="connsiteX15" fmla="*/ 2302482 w 8636594"/>
              <a:gd name="connsiteY15" fmla="*/ 6580040 h 6650463"/>
              <a:gd name="connsiteX16" fmla="*/ 2359737 w 8636594"/>
              <a:gd name="connsiteY16" fmla="*/ 6568233 h 6650463"/>
              <a:gd name="connsiteX17" fmla="*/ 2416341 w 8636594"/>
              <a:gd name="connsiteY17" fmla="*/ 6555999 h 6650463"/>
              <a:gd name="connsiteX18" fmla="*/ 2472299 w 8636594"/>
              <a:gd name="connsiteY18" fmla="*/ 6543344 h 6650463"/>
              <a:gd name="connsiteX19" fmla="*/ 2527618 w 8636594"/>
              <a:gd name="connsiteY19" fmla="*/ 6530269 h 6650463"/>
              <a:gd name="connsiteX20" fmla="*/ 2582304 w 8636594"/>
              <a:gd name="connsiteY20" fmla="*/ 6516778 h 6650463"/>
              <a:gd name="connsiteX21" fmla="*/ 2636364 w 8636594"/>
              <a:gd name="connsiteY21" fmla="*/ 6502876 h 6650463"/>
              <a:gd name="connsiteX22" fmla="*/ 2689804 w 8636594"/>
              <a:gd name="connsiteY22" fmla="*/ 6488565 h 6650463"/>
              <a:gd name="connsiteX23" fmla="*/ 2742629 w 8636594"/>
              <a:gd name="connsiteY23" fmla="*/ 6473849 h 6650463"/>
              <a:gd name="connsiteX24" fmla="*/ 2794848 w 8636594"/>
              <a:gd name="connsiteY24" fmla="*/ 6458731 h 6650463"/>
              <a:gd name="connsiteX25" fmla="*/ 2846466 w 8636594"/>
              <a:gd name="connsiteY25" fmla="*/ 6443216 h 6650463"/>
              <a:gd name="connsiteX26" fmla="*/ 2897488 w 8636594"/>
              <a:gd name="connsiteY26" fmla="*/ 6427305 h 6650463"/>
              <a:gd name="connsiteX27" fmla="*/ 2947923 w 8636594"/>
              <a:gd name="connsiteY27" fmla="*/ 6411004 h 6650463"/>
              <a:gd name="connsiteX28" fmla="*/ 2997775 w 8636594"/>
              <a:gd name="connsiteY28" fmla="*/ 6394316 h 6650463"/>
              <a:gd name="connsiteX29" fmla="*/ 3047052 w 8636594"/>
              <a:gd name="connsiteY29" fmla="*/ 6377243 h 6650463"/>
              <a:gd name="connsiteX30" fmla="*/ 3095759 w 8636594"/>
              <a:gd name="connsiteY30" fmla="*/ 6359791 h 6650463"/>
              <a:gd name="connsiteX31" fmla="*/ 3143903 w 8636594"/>
              <a:gd name="connsiteY31" fmla="*/ 6341961 h 6650463"/>
              <a:gd name="connsiteX32" fmla="*/ 3191491 w 8636594"/>
              <a:gd name="connsiteY32" fmla="*/ 6323757 h 6650463"/>
              <a:gd name="connsiteX33" fmla="*/ 3238528 w 8636594"/>
              <a:gd name="connsiteY33" fmla="*/ 6305184 h 6650463"/>
              <a:gd name="connsiteX34" fmla="*/ 3285021 w 8636594"/>
              <a:gd name="connsiteY34" fmla="*/ 6286245 h 6650463"/>
              <a:gd name="connsiteX35" fmla="*/ 3330977 w 8636594"/>
              <a:gd name="connsiteY35" fmla="*/ 6266942 h 6650463"/>
              <a:gd name="connsiteX36" fmla="*/ 3376401 w 8636594"/>
              <a:gd name="connsiteY36" fmla="*/ 6247281 h 6650463"/>
              <a:gd name="connsiteX37" fmla="*/ 3421300 w 8636594"/>
              <a:gd name="connsiteY37" fmla="*/ 6227263 h 6650463"/>
              <a:gd name="connsiteX38" fmla="*/ 3465680 w 8636594"/>
              <a:gd name="connsiteY38" fmla="*/ 6206893 h 6650463"/>
              <a:gd name="connsiteX39" fmla="*/ 3509548 w 8636594"/>
              <a:gd name="connsiteY39" fmla="*/ 6186174 h 6650463"/>
              <a:gd name="connsiteX40" fmla="*/ 3552910 w 8636594"/>
              <a:gd name="connsiteY40" fmla="*/ 6165110 h 6650463"/>
              <a:gd name="connsiteX41" fmla="*/ 3595773 w 8636594"/>
              <a:gd name="connsiteY41" fmla="*/ 6143704 h 6650463"/>
              <a:gd name="connsiteX42" fmla="*/ 3638142 w 8636594"/>
              <a:gd name="connsiteY42" fmla="*/ 6121960 h 6650463"/>
              <a:gd name="connsiteX43" fmla="*/ 3680024 w 8636594"/>
              <a:gd name="connsiteY43" fmla="*/ 6099881 h 6650463"/>
              <a:gd name="connsiteX44" fmla="*/ 3721426 w 8636594"/>
              <a:gd name="connsiteY44" fmla="*/ 6077471 h 6650463"/>
              <a:gd name="connsiteX45" fmla="*/ 3762353 w 8636594"/>
              <a:gd name="connsiteY45" fmla="*/ 6054733 h 6650463"/>
              <a:gd name="connsiteX46" fmla="*/ 3802812 w 8636594"/>
              <a:gd name="connsiteY46" fmla="*/ 6031671 h 6650463"/>
              <a:gd name="connsiteX47" fmla="*/ 3842810 w 8636594"/>
              <a:gd name="connsiteY47" fmla="*/ 6008288 h 6650463"/>
              <a:gd name="connsiteX48" fmla="*/ 3882352 w 8636594"/>
              <a:gd name="connsiteY48" fmla="*/ 5984588 h 6650463"/>
              <a:gd name="connsiteX49" fmla="*/ 3921445 w 8636594"/>
              <a:gd name="connsiteY49" fmla="*/ 5960574 h 6650463"/>
              <a:gd name="connsiteX50" fmla="*/ 3960096 w 8636594"/>
              <a:gd name="connsiteY50" fmla="*/ 5936250 h 6650463"/>
              <a:gd name="connsiteX51" fmla="*/ 3998311 w 8636594"/>
              <a:gd name="connsiteY51" fmla="*/ 5911619 h 6650463"/>
              <a:gd name="connsiteX52" fmla="*/ 4036095 w 8636594"/>
              <a:gd name="connsiteY52" fmla="*/ 5886685 h 6650463"/>
              <a:gd name="connsiteX53" fmla="*/ 4073456 w 8636594"/>
              <a:gd name="connsiteY53" fmla="*/ 5861452 h 6650463"/>
              <a:gd name="connsiteX54" fmla="*/ 4110400 w 8636594"/>
              <a:gd name="connsiteY54" fmla="*/ 5835922 h 6650463"/>
              <a:gd name="connsiteX55" fmla="*/ 4146933 w 8636594"/>
              <a:gd name="connsiteY55" fmla="*/ 5810100 h 6650463"/>
              <a:gd name="connsiteX56" fmla="*/ 4183061 w 8636594"/>
              <a:gd name="connsiteY56" fmla="*/ 5783988 h 6650463"/>
              <a:gd name="connsiteX57" fmla="*/ 4218791 w 8636594"/>
              <a:gd name="connsiteY57" fmla="*/ 5757591 h 6650463"/>
              <a:gd name="connsiteX58" fmla="*/ 4254129 w 8636594"/>
              <a:gd name="connsiteY58" fmla="*/ 5730912 h 6650463"/>
              <a:gd name="connsiteX59" fmla="*/ 4289081 w 8636594"/>
              <a:gd name="connsiteY59" fmla="*/ 5703955 h 6650463"/>
              <a:gd name="connsiteX60" fmla="*/ 4323654 w 8636594"/>
              <a:gd name="connsiteY60" fmla="*/ 5676722 h 6650463"/>
              <a:gd name="connsiteX61" fmla="*/ 4357854 w 8636594"/>
              <a:gd name="connsiteY61" fmla="*/ 5649218 h 6650463"/>
              <a:gd name="connsiteX62" fmla="*/ 4391688 w 8636594"/>
              <a:gd name="connsiteY62" fmla="*/ 5621446 h 6650463"/>
              <a:gd name="connsiteX63" fmla="*/ 4425162 w 8636594"/>
              <a:gd name="connsiteY63" fmla="*/ 5593409 h 6650463"/>
              <a:gd name="connsiteX64" fmla="*/ 4458281 w 8636594"/>
              <a:gd name="connsiteY64" fmla="*/ 5565111 h 6650463"/>
              <a:gd name="connsiteX65" fmla="*/ 4491053 w 8636594"/>
              <a:gd name="connsiteY65" fmla="*/ 5536556 h 6650463"/>
              <a:gd name="connsiteX66" fmla="*/ 4523484 w 8636594"/>
              <a:gd name="connsiteY66" fmla="*/ 5507747 h 6650463"/>
              <a:gd name="connsiteX67" fmla="*/ 4555580 w 8636594"/>
              <a:gd name="connsiteY67" fmla="*/ 5478687 h 6650463"/>
              <a:gd name="connsiteX68" fmla="*/ 4587347 w 8636594"/>
              <a:gd name="connsiteY68" fmla="*/ 5449380 h 6650463"/>
              <a:gd name="connsiteX69" fmla="*/ 4618793 w 8636594"/>
              <a:gd name="connsiteY69" fmla="*/ 5419830 h 6650463"/>
              <a:gd name="connsiteX70" fmla="*/ 4649922 w 8636594"/>
              <a:gd name="connsiteY70" fmla="*/ 5390040 h 6650463"/>
              <a:gd name="connsiteX71" fmla="*/ 4680742 w 8636594"/>
              <a:gd name="connsiteY71" fmla="*/ 5360014 h 6650463"/>
              <a:gd name="connsiteX72" fmla="*/ 4711259 w 8636594"/>
              <a:gd name="connsiteY72" fmla="*/ 5329755 h 6650463"/>
              <a:gd name="connsiteX73" fmla="*/ 4741478 w 8636594"/>
              <a:gd name="connsiteY73" fmla="*/ 5299266 h 6650463"/>
              <a:gd name="connsiteX74" fmla="*/ 4771408 w 8636594"/>
              <a:gd name="connsiteY74" fmla="*/ 5268551 h 6650463"/>
              <a:gd name="connsiteX75" fmla="*/ 4801053 w 8636594"/>
              <a:gd name="connsiteY75" fmla="*/ 5237614 h 6650463"/>
              <a:gd name="connsiteX76" fmla="*/ 4830420 w 8636594"/>
              <a:gd name="connsiteY76" fmla="*/ 5206458 h 6650463"/>
              <a:gd name="connsiteX77" fmla="*/ 4859516 w 8636594"/>
              <a:gd name="connsiteY77" fmla="*/ 5175087 h 6650463"/>
              <a:gd name="connsiteX78" fmla="*/ 4888347 w 8636594"/>
              <a:gd name="connsiteY78" fmla="*/ 5143504 h 6650463"/>
              <a:gd name="connsiteX79" fmla="*/ 4916919 w 8636594"/>
              <a:gd name="connsiteY79" fmla="*/ 5111713 h 6650463"/>
              <a:gd name="connsiteX80" fmla="*/ 4945238 w 8636594"/>
              <a:gd name="connsiteY80" fmla="*/ 5079717 h 6650463"/>
              <a:gd name="connsiteX81" fmla="*/ 4973311 w 8636594"/>
              <a:gd name="connsiteY81" fmla="*/ 5047519 h 6650463"/>
              <a:gd name="connsiteX82" fmla="*/ 5001145 w 8636594"/>
              <a:gd name="connsiteY82" fmla="*/ 5015124 h 6650463"/>
              <a:gd name="connsiteX83" fmla="*/ 5028745 w 8636594"/>
              <a:gd name="connsiteY83" fmla="*/ 4982535 h 6650463"/>
              <a:gd name="connsiteX84" fmla="*/ 5056117 w 8636594"/>
              <a:gd name="connsiteY84" fmla="*/ 4949755 h 6650463"/>
              <a:gd name="connsiteX85" fmla="*/ 5083269 w 8636594"/>
              <a:gd name="connsiteY85" fmla="*/ 4916787 h 6650463"/>
              <a:gd name="connsiteX86" fmla="*/ 5110207 w 8636594"/>
              <a:gd name="connsiteY86" fmla="*/ 4883636 h 6650463"/>
              <a:gd name="connsiteX87" fmla="*/ 5136937 w 8636594"/>
              <a:gd name="connsiteY87" fmla="*/ 4850305 h 6650463"/>
              <a:gd name="connsiteX88" fmla="*/ 5163464 w 8636594"/>
              <a:gd name="connsiteY88" fmla="*/ 4816797 h 6650463"/>
              <a:gd name="connsiteX89" fmla="*/ 5215940 w 8636594"/>
              <a:gd name="connsiteY89" fmla="*/ 4749265 h 6650463"/>
              <a:gd name="connsiteX90" fmla="*/ 5267684 w 8636594"/>
              <a:gd name="connsiteY90" fmla="*/ 4681068 h 6650463"/>
              <a:gd name="connsiteX91" fmla="*/ 5318748 w 8636594"/>
              <a:gd name="connsiteY91" fmla="*/ 4612234 h 6650463"/>
              <a:gd name="connsiteX92" fmla="*/ 5369182 w 8636594"/>
              <a:gd name="connsiteY92" fmla="*/ 4542793 h 6650463"/>
              <a:gd name="connsiteX93" fmla="*/ 5419038 w 8636594"/>
              <a:gd name="connsiteY93" fmla="*/ 4472771 h 6650463"/>
              <a:gd name="connsiteX94" fmla="*/ 5468365 w 8636594"/>
              <a:gd name="connsiteY94" fmla="*/ 4402196 h 6650463"/>
              <a:gd name="connsiteX95" fmla="*/ 5517215 w 8636594"/>
              <a:gd name="connsiteY95" fmla="*/ 4331098 h 6650463"/>
              <a:gd name="connsiteX96" fmla="*/ 5565637 w 8636594"/>
              <a:gd name="connsiteY96" fmla="*/ 4259503 h 6650463"/>
              <a:gd name="connsiteX97" fmla="*/ 5613684 w 8636594"/>
              <a:gd name="connsiteY97" fmla="*/ 4187441 h 6650463"/>
              <a:gd name="connsiteX98" fmla="*/ 5685160 w 8636594"/>
              <a:gd name="connsiteY98" fmla="*/ 4078531 h 6650463"/>
              <a:gd name="connsiteX99" fmla="*/ 5756074 w 8636594"/>
              <a:gd name="connsiteY99" fmla="*/ 3968727 h 6650463"/>
              <a:gd name="connsiteX100" fmla="*/ 5873483 w 8636594"/>
              <a:gd name="connsiteY100" fmla="*/ 3783989 h 6650463"/>
              <a:gd name="connsiteX101" fmla="*/ 6203209 w 8636594"/>
              <a:gd name="connsiteY101" fmla="*/ 3258640 h 6650463"/>
              <a:gd name="connsiteX102" fmla="*/ 6299430 w 8636594"/>
              <a:gd name="connsiteY102" fmla="*/ 3107321 h 6650463"/>
              <a:gd name="connsiteX103" fmla="*/ 6372650 w 8636594"/>
              <a:gd name="connsiteY103" fmla="*/ 2993735 h 6650463"/>
              <a:gd name="connsiteX104" fmla="*/ 6453197 w 8636594"/>
              <a:gd name="connsiteY104" fmla="*/ 2869788 h 6650463"/>
              <a:gd name="connsiteX105" fmla="*/ 6564167 w 8636594"/>
              <a:gd name="connsiteY105" fmla="*/ 2696807 h 6650463"/>
              <a:gd name="connsiteX106" fmla="*/ 6976233 w 8636594"/>
              <a:gd name="connsiteY106" fmla="*/ 2045274 h 6650463"/>
              <a:gd name="connsiteX107" fmla="*/ 7086755 w 8636594"/>
              <a:gd name="connsiteY107" fmla="*/ 1872743 h 6650463"/>
              <a:gd name="connsiteX108" fmla="*/ 7170279 w 8636594"/>
              <a:gd name="connsiteY108" fmla="*/ 1744202 h 6650463"/>
              <a:gd name="connsiteX109" fmla="*/ 7226351 w 8636594"/>
              <a:gd name="connsiteY109" fmla="*/ 1659017 h 6650463"/>
              <a:gd name="connsiteX110" fmla="*/ 7282789 w 8636594"/>
              <a:gd name="connsiteY110" fmla="*/ 1574303 h 6650463"/>
              <a:gd name="connsiteX111" fmla="*/ 7339643 w 8636594"/>
              <a:gd name="connsiteY111" fmla="*/ 1490113 h 6650463"/>
              <a:gd name="connsiteX112" fmla="*/ 7396957 w 8636594"/>
              <a:gd name="connsiteY112" fmla="*/ 1406503 h 6650463"/>
              <a:gd name="connsiteX113" fmla="*/ 7454781 w 8636594"/>
              <a:gd name="connsiteY113" fmla="*/ 1323526 h 6650463"/>
              <a:gd name="connsiteX114" fmla="*/ 7513161 w 8636594"/>
              <a:gd name="connsiteY114" fmla="*/ 1241237 h 6650463"/>
              <a:gd name="connsiteX115" fmla="*/ 7572144 w 8636594"/>
              <a:gd name="connsiteY115" fmla="*/ 1159689 h 6650463"/>
              <a:gd name="connsiteX116" fmla="*/ 7601877 w 8636594"/>
              <a:gd name="connsiteY116" fmla="*/ 1119210 h 6650463"/>
              <a:gd name="connsiteX117" fmla="*/ 7631779 w 8636594"/>
              <a:gd name="connsiteY117" fmla="*/ 1078937 h 6650463"/>
              <a:gd name="connsiteX118" fmla="*/ 7661855 w 8636594"/>
              <a:gd name="connsiteY118" fmla="*/ 1038876 h 6650463"/>
              <a:gd name="connsiteX119" fmla="*/ 7692111 w 8636594"/>
              <a:gd name="connsiteY119" fmla="*/ 999035 h 6650463"/>
              <a:gd name="connsiteX120" fmla="*/ 7722554 w 8636594"/>
              <a:gd name="connsiteY120" fmla="*/ 959419 h 6650463"/>
              <a:gd name="connsiteX121" fmla="*/ 7753190 w 8636594"/>
              <a:gd name="connsiteY121" fmla="*/ 920037 h 6650463"/>
              <a:gd name="connsiteX122" fmla="*/ 7784023 w 8636594"/>
              <a:gd name="connsiteY122" fmla="*/ 880894 h 6650463"/>
              <a:gd name="connsiteX123" fmla="*/ 7815061 w 8636594"/>
              <a:gd name="connsiteY123" fmla="*/ 841997 h 6650463"/>
              <a:gd name="connsiteX124" fmla="*/ 7846308 w 8636594"/>
              <a:gd name="connsiteY124" fmla="*/ 803354 h 6650463"/>
              <a:gd name="connsiteX125" fmla="*/ 7877772 w 8636594"/>
              <a:gd name="connsiteY125" fmla="*/ 764970 h 6650463"/>
              <a:gd name="connsiteX126" fmla="*/ 7909458 w 8636594"/>
              <a:gd name="connsiteY126" fmla="*/ 726853 h 6650463"/>
              <a:gd name="connsiteX127" fmla="*/ 7941371 w 8636594"/>
              <a:gd name="connsiteY127" fmla="*/ 689010 h 6650463"/>
              <a:gd name="connsiteX128" fmla="*/ 7973518 w 8636594"/>
              <a:gd name="connsiteY128" fmla="*/ 651447 h 6650463"/>
              <a:gd name="connsiteX129" fmla="*/ 8005905 w 8636594"/>
              <a:gd name="connsiteY129" fmla="*/ 614171 h 6650463"/>
              <a:gd name="connsiteX130" fmla="*/ 8038538 w 8636594"/>
              <a:gd name="connsiteY130" fmla="*/ 577189 h 6650463"/>
              <a:gd name="connsiteX131" fmla="*/ 8071421 w 8636594"/>
              <a:gd name="connsiteY131" fmla="*/ 540507 h 6650463"/>
              <a:gd name="connsiteX132" fmla="*/ 8104563 w 8636594"/>
              <a:gd name="connsiteY132" fmla="*/ 504132 h 6650463"/>
              <a:gd name="connsiteX133" fmla="*/ 8137967 w 8636594"/>
              <a:gd name="connsiteY133" fmla="*/ 468072 h 6650463"/>
              <a:gd name="connsiteX134" fmla="*/ 8171641 w 8636594"/>
              <a:gd name="connsiteY134" fmla="*/ 432332 h 6650463"/>
              <a:gd name="connsiteX135" fmla="*/ 8205590 w 8636594"/>
              <a:gd name="connsiteY135" fmla="*/ 396920 h 6650463"/>
              <a:gd name="connsiteX136" fmla="*/ 8239820 w 8636594"/>
              <a:gd name="connsiteY136" fmla="*/ 361843 h 6650463"/>
              <a:gd name="connsiteX137" fmla="*/ 8274337 w 8636594"/>
              <a:gd name="connsiteY137" fmla="*/ 327107 h 6650463"/>
              <a:gd name="connsiteX138" fmla="*/ 8309147 w 8636594"/>
              <a:gd name="connsiteY138" fmla="*/ 292718 h 6650463"/>
              <a:gd name="connsiteX139" fmla="*/ 8344256 w 8636594"/>
              <a:gd name="connsiteY139" fmla="*/ 258685 h 6650463"/>
              <a:gd name="connsiteX140" fmla="*/ 8379669 w 8636594"/>
              <a:gd name="connsiteY140" fmla="*/ 225013 h 6650463"/>
              <a:gd name="connsiteX141" fmla="*/ 8415394 w 8636594"/>
              <a:gd name="connsiteY141" fmla="*/ 191709 h 6650463"/>
              <a:gd name="connsiteX142" fmla="*/ 8451434 w 8636594"/>
              <a:gd name="connsiteY142" fmla="*/ 158780 h 6650463"/>
              <a:gd name="connsiteX143" fmla="*/ 8487798 w 8636594"/>
              <a:gd name="connsiteY143" fmla="*/ 126233 h 6650463"/>
              <a:gd name="connsiteX144" fmla="*/ 8524489 w 8636594"/>
              <a:gd name="connsiteY144" fmla="*/ 94075 h 6650463"/>
              <a:gd name="connsiteX145" fmla="*/ 8561515 w 8636594"/>
              <a:gd name="connsiteY145" fmla="*/ 62312 h 6650463"/>
              <a:gd name="connsiteX146" fmla="*/ 8598881 w 8636594"/>
              <a:gd name="connsiteY146" fmla="*/ 30951 h 6650463"/>
              <a:gd name="connsiteX147" fmla="*/ 8636594 w 8636594"/>
              <a:gd name="connsiteY147" fmla="*/ 0 h 6650463"/>
              <a:gd name="connsiteX0" fmla="*/ 8636594 w 8636594"/>
              <a:gd name="connsiteY0" fmla="*/ 0 h 6641737"/>
              <a:gd name="connsiteX1" fmla="*/ 5293 w 8636594"/>
              <a:gd name="connsiteY1" fmla="*/ 0 h 6641737"/>
              <a:gd name="connsiteX2" fmla="*/ 0 w 8636594"/>
              <a:gd name="connsiteY2" fmla="*/ 5587843 h 6641737"/>
              <a:gd name="connsiteX3" fmla="*/ 1594033 w 8636594"/>
              <a:gd name="connsiteY3" fmla="*/ 5600057 h 6641737"/>
              <a:gd name="connsiteX4" fmla="*/ 1686068 w 8636594"/>
              <a:gd name="connsiteY4" fmla="*/ 5599745 h 6641737"/>
              <a:gd name="connsiteX5" fmla="*/ 1883237 w 8636594"/>
              <a:gd name="connsiteY5" fmla="*/ 5855484 h 6641737"/>
              <a:gd name="connsiteX6" fmla="*/ 2084977 w 8636594"/>
              <a:gd name="connsiteY6" fmla="*/ 5695440 h 6641737"/>
              <a:gd name="connsiteX7" fmla="*/ 2222486 w 8636594"/>
              <a:gd name="connsiteY7" fmla="*/ 5687627 h 6641737"/>
              <a:gd name="connsiteX8" fmla="*/ 2412216 w 8636594"/>
              <a:gd name="connsiteY8" fmla="*/ 5587741 h 6641737"/>
              <a:gd name="connsiteX9" fmla="*/ 1944909 w 8636594"/>
              <a:gd name="connsiteY9" fmla="*/ 6641737 h 6641737"/>
              <a:gd name="connsiteX10" fmla="*/ 2006208 w 8636594"/>
              <a:gd name="connsiteY10" fmla="*/ 6632561 h 6641737"/>
              <a:gd name="connsiteX11" fmla="*/ 2066817 w 8636594"/>
              <a:gd name="connsiteY11" fmla="*/ 6622937 h 6641737"/>
              <a:gd name="connsiteX12" fmla="*/ 2126742 w 8636594"/>
              <a:gd name="connsiteY12" fmla="*/ 6612869 h 6641737"/>
              <a:gd name="connsiteX13" fmla="*/ 2185991 w 8636594"/>
              <a:gd name="connsiteY13" fmla="*/ 6602362 h 6641737"/>
              <a:gd name="connsiteX14" fmla="*/ 2244569 w 8636594"/>
              <a:gd name="connsiteY14" fmla="*/ 6591417 h 6641737"/>
              <a:gd name="connsiteX15" fmla="*/ 2302482 w 8636594"/>
              <a:gd name="connsiteY15" fmla="*/ 6580040 h 6641737"/>
              <a:gd name="connsiteX16" fmla="*/ 2359737 w 8636594"/>
              <a:gd name="connsiteY16" fmla="*/ 6568233 h 6641737"/>
              <a:gd name="connsiteX17" fmla="*/ 2416341 w 8636594"/>
              <a:gd name="connsiteY17" fmla="*/ 6555999 h 6641737"/>
              <a:gd name="connsiteX18" fmla="*/ 2472299 w 8636594"/>
              <a:gd name="connsiteY18" fmla="*/ 6543344 h 6641737"/>
              <a:gd name="connsiteX19" fmla="*/ 2527618 w 8636594"/>
              <a:gd name="connsiteY19" fmla="*/ 6530269 h 6641737"/>
              <a:gd name="connsiteX20" fmla="*/ 2582304 w 8636594"/>
              <a:gd name="connsiteY20" fmla="*/ 6516778 h 6641737"/>
              <a:gd name="connsiteX21" fmla="*/ 2636364 w 8636594"/>
              <a:gd name="connsiteY21" fmla="*/ 6502876 h 6641737"/>
              <a:gd name="connsiteX22" fmla="*/ 2689804 w 8636594"/>
              <a:gd name="connsiteY22" fmla="*/ 6488565 h 6641737"/>
              <a:gd name="connsiteX23" fmla="*/ 2742629 w 8636594"/>
              <a:gd name="connsiteY23" fmla="*/ 6473849 h 6641737"/>
              <a:gd name="connsiteX24" fmla="*/ 2794848 w 8636594"/>
              <a:gd name="connsiteY24" fmla="*/ 6458731 h 6641737"/>
              <a:gd name="connsiteX25" fmla="*/ 2846466 w 8636594"/>
              <a:gd name="connsiteY25" fmla="*/ 6443216 h 6641737"/>
              <a:gd name="connsiteX26" fmla="*/ 2897488 w 8636594"/>
              <a:gd name="connsiteY26" fmla="*/ 6427305 h 6641737"/>
              <a:gd name="connsiteX27" fmla="*/ 2947923 w 8636594"/>
              <a:gd name="connsiteY27" fmla="*/ 6411004 h 6641737"/>
              <a:gd name="connsiteX28" fmla="*/ 2997775 w 8636594"/>
              <a:gd name="connsiteY28" fmla="*/ 6394316 h 6641737"/>
              <a:gd name="connsiteX29" fmla="*/ 3047052 w 8636594"/>
              <a:gd name="connsiteY29" fmla="*/ 6377243 h 6641737"/>
              <a:gd name="connsiteX30" fmla="*/ 3095759 w 8636594"/>
              <a:gd name="connsiteY30" fmla="*/ 6359791 h 6641737"/>
              <a:gd name="connsiteX31" fmla="*/ 3143903 w 8636594"/>
              <a:gd name="connsiteY31" fmla="*/ 6341961 h 6641737"/>
              <a:gd name="connsiteX32" fmla="*/ 3191491 w 8636594"/>
              <a:gd name="connsiteY32" fmla="*/ 6323757 h 6641737"/>
              <a:gd name="connsiteX33" fmla="*/ 3238528 w 8636594"/>
              <a:gd name="connsiteY33" fmla="*/ 6305184 h 6641737"/>
              <a:gd name="connsiteX34" fmla="*/ 3285021 w 8636594"/>
              <a:gd name="connsiteY34" fmla="*/ 6286245 h 6641737"/>
              <a:gd name="connsiteX35" fmla="*/ 3330977 w 8636594"/>
              <a:gd name="connsiteY35" fmla="*/ 6266942 h 6641737"/>
              <a:gd name="connsiteX36" fmla="*/ 3376401 w 8636594"/>
              <a:gd name="connsiteY36" fmla="*/ 6247281 h 6641737"/>
              <a:gd name="connsiteX37" fmla="*/ 3421300 w 8636594"/>
              <a:gd name="connsiteY37" fmla="*/ 6227263 h 6641737"/>
              <a:gd name="connsiteX38" fmla="*/ 3465680 w 8636594"/>
              <a:gd name="connsiteY38" fmla="*/ 6206893 h 6641737"/>
              <a:gd name="connsiteX39" fmla="*/ 3509548 w 8636594"/>
              <a:gd name="connsiteY39" fmla="*/ 6186174 h 6641737"/>
              <a:gd name="connsiteX40" fmla="*/ 3552910 w 8636594"/>
              <a:gd name="connsiteY40" fmla="*/ 6165110 h 6641737"/>
              <a:gd name="connsiteX41" fmla="*/ 3595773 w 8636594"/>
              <a:gd name="connsiteY41" fmla="*/ 6143704 h 6641737"/>
              <a:gd name="connsiteX42" fmla="*/ 3638142 w 8636594"/>
              <a:gd name="connsiteY42" fmla="*/ 6121960 h 6641737"/>
              <a:gd name="connsiteX43" fmla="*/ 3680024 w 8636594"/>
              <a:gd name="connsiteY43" fmla="*/ 6099881 h 6641737"/>
              <a:gd name="connsiteX44" fmla="*/ 3721426 w 8636594"/>
              <a:gd name="connsiteY44" fmla="*/ 6077471 h 6641737"/>
              <a:gd name="connsiteX45" fmla="*/ 3762353 w 8636594"/>
              <a:gd name="connsiteY45" fmla="*/ 6054733 h 6641737"/>
              <a:gd name="connsiteX46" fmla="*/ 3802812 w 8636594"/>
              <a:gd name="connsiteY46" fmla="*/ 6031671 h 6641737"/>
              <a:gd name="connsiteX47" fmla="*/ 3842810 w 8636594"/>
              <a:gd name="connsiteY47" fmla="*/ 6008288 h 6641737"/>
              <a:gd name="connsiteX48" fmla="*/ 3882352 w 8636594"/>
              <a:gd name="connsiteY48" fmla="*/ 5984588 h 6641737"/>
              <a:gd name="connsiteX49" fmla="*/ 3921445 w 8636594"/>
              <a:gd name="connsiteY49" fmla="*/ 5960574 h 6641737"/>
              <a:gd name="connsiteX50" fmla="*/ 3960096 w 8636594"/>
              <a:gd name="connsiteY50" fmla="*/ 5936250 h 6641737"/>
              <a:gd name="connsiteX51" fmla="*/ 3998311 w 8636594"/>
              <a:gd name="connsiteY51" fmla="*/ 5911619 h 6641737"/>
              <a:gd name="connsiteX52" fmla="*/ 4036095 w 8636594"/>
              <a:gd name="connsiteY52" fmla="*/ 5886685 h 6641737"/>
              <a:gd name="connsiteX53" fmla="*/ 4073456 w 8636594"/>
              <a:gd name="connsiteY53" fmla="*/ 5861452 h 6641737"/>
              <a:gd name="connsiteX54" fmla="*/ 4110400 w 8636594"/>
              <a:gd name="connsiteY54" fmla="*/ 5835922 h 6641737"/>
              <a:gd name="connsiteX55" fmla="*/ 4146933 w 8636594"/>
              <a:gd name="connsiteY55" fmla="*/ 5810100 h 6641737"/>
              <a:gd name="connsiteX56" fmla="*/ 4183061 w 8636594"/>
              <a:gd name="connsiteY56" fmla="*/ 5783988 h 6641737"/>
              <a:gd name="connsiteX57" fmla="*/ 4218791 w 8636594"/>
              <a:gd name="connsiteY57" fmla="*/ 5757591 h 6641737"/>
              <a:gd name="connsiteX58" fmla="*/ 4254129 w 8636594"/>
              <a:gd name="connsiteY58" fmla="*/ 5730912 h 6641737"/>
              <a:gd name="connsiteX59" fmla="*/ 4289081 w 8636594"/>
              <a:gd name="connsiteY59" fmla="*/ 5703955 h 6641737"/>
              <a:gd name="connsiteX60" fmla="*/ 4323654 w 8636594"/>
              <a:gd name="connsiteY60" fmla="*/ 5676722 h 6641737"/>
              <a:gd name="connsiteX61" fmla="*/ 4357854 w 8636594"/>
              <a:gd name="connsiteY61" fmla="*/ 5649218 h 6641737"/>
              <a:gd name="connsiteX62" fmla="*/ 4391688 w 8636594"/>
              <a:gd name="connsiteY62" fmla="*/ 5621446 h 6641737"/>
              <a:gd name="connsiteX63" fmla="*/ 4425162 w 8636594"/>
              <a:gd name="connsiteY63" fmla="*/ 5593409 h 6641737"/>
              <a:gd name="connsiteX64" fmla="*/ 4458281 w 8636594"/>
              <a:gd name="connsiteY64" fmla="*/ 5565111 h 6641737"/>
              <a:gd name="connsiteX65" fmla="*/ 4491053 w 8636594"/>
              <a:gd name="connsiteY65" fmla="*/ 5536556 h 6641737"/>
              <a:gd name="connsiteX66" fmla="*/ 4523484 w 8636594"/>
              <a:gd name="connsiteY66" fmla="*/ 5507747 h 6641737"/>
              <a:gd name="connsiteX67" fmla="*/ 4555580 w 8636594"/>
              <a:gd name="connsiteY67" fmla="*/ 5478687 h 6641737"/>
              <a:gd name="connsiteX68" fmla="*/ 4587347 w 8636594"/>
              <a:gd name="connsiteY68" fmla="*/ 5449380 h 6641737"/>
              <a:gd name="connsiteX69" fmla="*/ 4618793 w 8636594"/>
              <a:gd name="connsiteY69" fmla="*/ 5419830 h 6641737"/>
              <a:gd name="connsiteX70" fmla="*/ 4649922 w 8636594"/>
              <a:gd name="connsiteY70" fmla="*/ 5390040 h 6641737"/>
              <a:gd name="connsiteX71" fmla="*/ 4680742 w 8636594"/>
              <a:gd name="connsiteY71" fmla="*/ 5360014 h 6641737"/>
              <a:gd name="connsiteX72" fmla="*/ 4711259 w 8636594"/>
              <a:gd name="connsiteY72" fmla="*/ 5329755 h 6641737"/>
              <a:gd name="connsiteX73" fmla="*/ 4741478 w 8636594"/>
              <a:gd name="connsiteY73" fmla="*/ 5299266 h 6641737"/>
              <a:gd name="connsiteX74" fmla="*/ 4771408 w 8636594"/>
              <a:gd name="connsiteY74" fmla="*/ 5268551 h 6641737"/>
              <a:gd name="connsiteX75" fmla="*/ 4801053 w 8636594"/>
              <a:gd name="connsiteY75" fmla="*/ 5237614 h 6641737"/>
              <a:gd name="connsiteX76" fmla="*/ 4830420 w 8636594"/>
              <a:gd name="connsiteY76" fmla="*/ 5206458 h 6641737"/>
              <a:gd name="connsiteX77" fmla="*/ 4859516 w 8636594"/>
              <a:gd name="connsiteY77" fmla="*/ 5175087 h 6641737"/>
              <a:gd name="connsiteX78" fmla="*/ 4888347 w 8636594"/>
              <a:gd name="connsiteY78" fmla="*/ 5143504 h 6641737"/>
              <a:gd name="connsiteX79" fmla="*/ 4916919 w 8636594"/>
              <a:gd name="connsiteY79" fmla="*/ 5111713 h 6641737"/>
              <a:gd name="connsiteX80" fmla="*/ 4945238 w 8636594"/>
              <a:gd name="connsiteY80" fmla="*/ 5079717 h 6641737"/>
              <a:gd name="connsiteX81" fmla="*/ 4973311 w 8636594"/>
              <a:gd name="connsiteY81" fmla="*/ 5047519 h 6641737"/>
              <a:gd name="connsiteX82" fmla="*/ 5001145 w 8636594"/>
              <a:gd name="connsiteY82" fmla="*/ 5015124 h 6641737"/>
              <a:gd name="connsiteX83" fmla="*/ 5028745 w 8636594"/>
              <a:gd name="connsiteY83" fmla="*/ 4982535 h 6641737"/>
              <a:gd name="connsiteX84" fmla="*/ 5056117 w 8636594"/>
              <a:gd name="connsiteY84" fmla="*/ 4949755 h 6641737"/>
              <a:gd name="connsiteX85" fmla="*/ 5083269 w 8636594"/>
              <a:gd name="connsiteY85" fmla="*/ 4916787 h 6641737"/>
              <a:gd name="connsiteX86" fmla="*/ 5110207 w 8636594"/>
              <a:gd name="connsiteY86" fmla="*/ 4883636 h 6641737"/>
              <a:gd name="connsiteX87" fmla="*/ 5136937 w 8636594"/>
              <a:gd name="connsiteY87" fmla="*/ 4850305 h 6641737"/>
              <a:gd name="connsiteX88" fmla="*/ 5163464 w 8636594"/>
              <a:gd name="connsiteY88" fmla="*/ 4816797 h 6641737"/>
              <a:gd name="connsiteX89" fmla="*/ 5215940 w 8636594"/>
              <a:gd name="connsiteY89" fmla="*/ 4749265 h 6641737"/>
              <a:gd name="connsiteX90" fmla="*/ 5267684 w 8636594"/>
              <a:gd name="connsiteY90" fmla="*/ 4681068 h 6641737"/>
              <a:gd name="connsiteX91" fmla="*/ 5318748 w 8636594"/>
              <a:gd name="connsiteY91" fmla="*/ 4612234 h 6641737"/>
              <a:gd name="connsiteX92" fmla="*/ 5369182 w 8636594"/>
              <a:gd name="connsiteY92" fmla="*/ 4542793 h 6641737"/>
              <a:gd name="connsiteX93" fmla="*/ 5419038 w 8636594"/>
              <a:gd name="connsiteY93" fmla="*/ 4472771 h 6641737"/>
              <a:gd name="connsiteX94" fmla="*/ 5468365 w 8636594"/>
              <a:gd name="connsiteY94" fmla="*/ 4402196 h 6641737"/>
              <a:gd name="connsiteX95" fmla="*/ 5517215 w 8636594"/>
              <a:gd name="connsiteY95" fmla="*/ 4331098 h 6641737"/>
              <a:gd name="connsiteX96" fmla="*/ 5565637 w 8636594"/>
              <a:gd name="connsiteY96" fmla="*/ 4259503 h 6641737"/>
              <a:gd name="connsiteX97" fmla="*/ 5613684 w 8636594"/>
              <a:gd name="connsiteY97" fmla="*/ 4187441 h 6641737"/>
              <a:gd name="connsiteX98" fmla="*/ 5685160 w 8636594"/>
              <a:gd name="connsiteY98" fmla="*/ 4078531 h 6641737"/>
              <a:gd name="connsiteX99" fmla="*/ 5756074 w 8636594"/>
              <a:gd name="connsiteY99" fmla="*/ 3968727 h 6641737"/>
              <a:gd name="connsiteX100" fmla="*/ 5873483 w 8636594"/>
              <a:gd name="connsiteY100" fmla="*/ 3783989 h 6641737"/>
              <a:gd name="connsiteX101" fmla="*/ 6203209 w 8636594"/>
              <a:gd name="connsiteY101" fmla="*/ 3258640 h 6641737"/>
              <a:gd name="connsiteX102" fmla="*/ 6299430 w 8636594"/>
              <a:gd name="connsiteY102" fmla="*/ 3107321 h 6641737"/>
              <a:gd name="connsiteX103" fmla="*/ 6372650 w 8636594"/>
              <a:gd name="connsiteY103" fmla="*/ 2993735 h 6641737"/>
              <a:gd name="connsiteX104" fmla="*/ 6453197 w 8636594"/>
              <a:gd name="connsiteY104" fmla="*/ 2869788 h 6641737"/>
              <a:gd name="connsiteX105" fmla="*/ 6564167 w 8636594"/>
              <a:gd name="connsiteY105" fmla="*/ 2696807 h 6641737"/>
              <a:gd name="connsiteX106" fmla="*/ 6976233 w 8636594"/>
              <a:gd name="connsiteY106" fmla="*/ 2045274 h 6641737"/>
              <a:gd name="connsiteX107" fmla="*/ 7086755 w 8636594"/>
              <a:gd name="connsiteY107" fmla="*/ 1872743 h 6641737"/>
              <a:gd name="connsiteX108" fmla="*/ 7170279 w 8636594"/>
              <a:gd name="connsiteY108" fmla="*/ 1744202 h 6641737"/>
              <a:gd name="connsiteX109" fmla="*/ 7226351 w 8636594"/>
              <a:gd name="connsiteY109" fmla="*/ 1659017 h 6641737"/>
              <a:gd name="connsiteX110" fmla="*/ 7282789 w 8636594"/>
              <a:gd name="connsiteY110" fmla="*/ 1574303 h 6641737"/>
              <a:gd name="connsiteX111" fmla="*/ 7339643 w 8636594"/>
              <a:gd name="connsiteY111" fmla="*/ 1490113 h 6641737"/>
              <a:gd name="connsiteX112" fmla="*/ 7396957 w 8636594"/>
              <a:gd name="connsiteY112" fmla="*/ 1406503 h 6641737"/>
              <a:gd name="connsiteX113" fmla="*/ 7454781 w 8636594"/>
              <a:gd name="connsiteY113" fmla="*/ 1323526 h 6641737"/>
              <a:gd name="connsiteX114" fmla="*/ 7513161 w 8636594"/>
              <a:gd name="connsiteY114" fmla="*/ 1241237 h 6641737"/>
              <a:gd name="connsiteX115" fmla="*/ 7572144 w 8636594"/>
              <a:gd name="connsiteY115" fmla="*/ 1159689 h 6641737"/>
              <a:gd name="connsiteX116" fmla="*/ 7601877 w 8636594"/>
              <a:gd name="connsiteY116" fmla="*/ 1119210 h 6641737"/>
              <a:gd name="connsiteX117" fmla="*/ 7631779 w 8636594"/>
              <a:gd name="connsiteY117" fmla="*/ 1078937 h 6641737"/>
              <a:gd name="connsiteX118" fmla="*/ 7661855 w 8636594"/>
              <a:gd name="connsiteY118" fmla="*/ 1038876 h 6641737"/>
              <a:gd name="connsiteX119" fmla="*/ 7692111 w 8636594"/>
              <a:gd name="connsiteY119" fmla="*/ 999035 h 6641737"/>
              <a:gd name="connsiteX120" fmla="*/ 7722554 w 8636594"/>
              <a:gd name="connsiteY120" fmla="*/ 959419 h 6641737"/>
              <a:gd name="connsiteX121" fmla="*/ 7753190 w 8636594"/>
              <a:gd name="connsiteY121" fmla="*/ 920037 h 6641737"/>
              <a:gd name="connsiteX122" fmla="*/ 7784023 w 8636594"/>
              <a:gd name="connsiteY122" fmla="*/ 880894 h 6641737"/>
              <a:gd name="connsiteX123" fmla="*/ 7815061 w 8636594"/>
              <a:gd name="connsiteY123" fmla="*/ 841997 h 6641737"/>
              <a:gd name="connsiteX124" fmla="*/ 7846308 w 8636594"/>
              <a:gd name="connsiteY124" fmla="*/ 803354 h 6641737"/>
              <a:gd name="connsiteX125" fmla="*/ 7877772 w 8636594"/>
              <a:gd name="connsiteY125" fmla="*/ 764970 h 6641737"/>
              <a:gd name="connsiteX126" fmla="*/ 7909458 w 8636594"/>
              <a:gd name="connsiteY126" fmla="*/ 726853 h 6641737"/>
              <a:gd name="connsiteX127" fmla="*/ 7941371 w 8636594"/>
              <a:gd name="connsiteY127" fmla="*/ 689010 h 6641737"/>
              <a:gd name="connsiteX128" fmla="*/ 7973518 w 8636594"/>
              <a:gd name="connsiteY128" fmla="*/ 651447 h 6641737"/>
              <a:gd name="connsiteX129" fmla="*/ 8005905 w 8636594"/>
              <a:gd name="connsiteY129" fmla="*/ 614171 h 6641737"/>
              <a:gd name="connsiteX130" fmla="*/ 8038538 w 8636594"/>
              <a:gd name="connsiteY130" fmla="*/ 577189 h 6641737"/>
              <a:gd name="connsiteX131" fmla="*/ 8071421 w 8636594"/>
              <a:gd name="connsiteY131" fmla="*/ 540507 h 6641737"/>
              <a:gd name="connsiteX132" fmla="*/ 8104563 w 8636594"/>
              <a:gd name="connsiteY132" fmla="*/ 504132 h 6641737"/>
              <a:gd name="connsiteX133" fmla="*/ 8137967 w 8636594"/>
              <a:gd name="connsiteY133" fmla="*/ 468072 h 6641737"/>
              <a:gd name="connsiteX134" fmla="*/ 8171641 w 8636594"/>
              <a:gd name="connsiteY134" fmla="*/ 432332 h 6641737"/>
              <a:gd name="connsiteX135" fmla="*/ 8205590 w 8636594"/>
              <a:gd name="connsiteY135" fmla="*/ 396920 h 6641737"/>
              <a:gd name="connsiteX136" fmla="*/ 8239820 w 8636594"/>
              <a:gd name="connsiteY136" fmla="*/ 361843 h 6641737"/>
              <a:gd name="connsiteX137" fmla="*/ 8274337 w 8636594"/>
              <a:gd name="connsiteY137" fmla="*/ 327107 h 6641737"/>
              <a:gd name="connsiteX138" fmla="*/ 8309147 w 8636594"/>
              <a:gd name="connsiteY138" fmla="*/ 292718 h 6641737"/>
              <a:gd name="connsiteX139" fmla="*/ 8344256 w 8636594"/>
              <a:gd name="connsiteY139" fmla="*/ 258685 h 6641737"/>
              <a:gd name="connsiteX140" fmla="*/ 8379669 w 8636594"/>
              <a:gd name="connsiteY140" fmla="*/ 225013 h 6641737"/>
              <a:gd name="connsiteX141" fmla="*/ 8415394 w 8636594"/>
              <a:gd name="connsiteY141" fmla="*/ 191709 h 6641737"/>
              <a:gd name="connsiteX142" fmla="*/ 8451434 w 8636594"/>
              <a:gd name="connsiteY142" fmla="*/ 158780 h 6641737"/>
              <a:gd name="connsiteX143" fmla="*/ 8487798 w 8636594"/>
              <a:gd name="connsiteY143" fmla="*/ 126233 h 6641737"/>
              <a:gd name="connsiteX144" fmla="*/ 8524489 w 8636594"/>
              <a:gd name="connsiteY144" fmla="*/ 94075 h 6641737"/>
              <a:gd name="connsiteX145" fmla="*/ 8561515 w 8636594"/>
              <a:gd name="connsiteY145" fmla="*/ 62312 h 6641737"/>
              <a:gd name="connsiteX146" fmla="*/ 8598881 w 8636594"/>
              <a:gd name="connsiteY146" fmla="*/ 30951 h 6641737"/>
              <a:gd name="connsiteX147" fmla="*/ 8636594 w 8636594"/>
              <a:gd name="connsiteY147" fmla="*/ 0 h 6641737"/>
              <a:gd name="connsiteX0" fmla="*/ 8636594 w 8636594"/>
              <a:gd name="connsiteY0" fmla="*/ 0 h 6632561"/>
              <a:gd name="connsiteX1" fmla="*/ 5293 w 8636594"/>
              <a:gd name="connsiteY1" fmla="*/ 0 h 6632561"/>
              <a:gd name="connsiteX2" fmla="*/ 0 w 8636594"/>
              <a:gd name="connsiteY2" fmla="*/ 5587843 h 6632561"/>
              <a:gd name="connsiteX3" fmla="*/ 1594033 w 8636594"/>
              <a:gd name="connsiteY3" fmla="*/ 5600057 h 6632561"/>
              <a:gd name="connsiteX4" fmla="*/ 1686068 w 8636594"/>
              <a:gd name="connsiteY4" fmla="*/ 5599745 h 6632561"/>
              <a:gd name="connsiteX5" fmla="*/ 1883237 w 8636594"/>
              <a:gd name="connsiteY5" fmla="*/ 5855484 h 6632561"/>
              <a:gd name="connsiteX6" fmla="*/ 2084977 w 8636594"/>
              <a:gd name="connsiteY6" fmla="*/ 5695440 h 6632561"/>
              <a:gd name="connsiteX7" fmla="*/ 2222486 w 8636594"/>
              <a:gd name="connsiteY7" fmla="*/ 5687627 h 6632561"/>
              <a:gd name="connsiteX8" fmla="*/ 2412216 w 8636594"/>
              <a:gd name="connsiteY8" fmla="*/ 5587741 h 6632561"/>
              <a:gd name="connsiteX9" fmla="*/ 2490090 w 8636594"/>
              <a:gd name="connsiteY9" fmla="*/ 5591230 h 6632561"/>
              <a:gd name="connsiteX10" fmla="*/ 2006208 w 8636594"/>
              <a:gd name="connsiteY10" fmla="*/ 6632561 h 6632561"/>
              <a:gd name="connsiteX11" fmla="*/ 2066817 w 8636594"/>
              <a:gd name="connsiteY11" fmla="*/ 6622937 h 6632561"/>
              <a:gd name="connsiteX12" fmla="*/ 2126742 w 8636594"/>
              <a:gd name="connsiteY12" fmla="*/ 6612869 h 6632561"/>
              <a:gd name="connsiteX13" fmla="*/ 2185991 w 8636594"/>
              <a:gd name="connsiteY13" fmla="*/ 6602362 h 6632561"/>
              <a:gd name="connsiteX14" fmla="*/ 2244569 w 8636594"/>
              <a:gd name="connsiteY14" fmla="*/ 6591417 h 6632561"/>
              <a:gd name="connsiteX15" fmla="*/ 2302482 w 8636594"/>
              <a:gd name="connsiteY15" fmla="*/ 6580040 h 6632561"/>
              <a:gd name="connsiteX16" fmla="*/ 2359737 w 8636594"/>
              <a:gd name="connsiteY16" fmla="*/ 6568233 h 6632561"/>
              <a:gd name="connsiteX17" fmla="*/ 2416341 w 8636594"/>
              <a:gd name="connsiteY17" fmla="*/ 6555999 h 6632561"/>
              <a:gd name="connsiteX18" fmla="*/ 2472299 w 8636594"/>
              <a:gd name="connsiteY18" fmla="*/ 6543344 h 6632561"/>
              <a:gd name="connsiteX19" fmla="*/ 2527618 w 8636594"/>
              <a:gd name="connsiteY19" fmla="*/ 6530269 h 6632561"/>
              <a:gd name="connsiteX20" fmla="*/ 2582304 w 8636594"/>
              <a:gd name="connsiteY20" fmla="*/ 6516778 h 6632561"/>
              <a:gd name="connsiteX21" fmla="*/ 2636364 w 8636594"/>
              <a:gd name="connsiteY21" fmla="*/ 6502876 h 6632561"/>
              <a:gd name="connsiteX22" fmla="*/ 2689804 w 8636594"/>
              <a:gd name="connsiteY22" fmla="*/ 6488565 h 6632561"/>
              <a:gd name="connsiteX23" fmla="*/ 2742629 w 8636594"/>
              <a:gd name="connsiteY23" fmla="*/ 6473849 h 6632561"/>
              <a:gd name="connsiteX24" fmla="*/ 2794848 w 8636594"/>
              <a:gd name="connsiteY24" fmla="*/ 6458731 h 6632561"/>
              <a:gd name="connsiteX25" fmla="*/ 2846466 w 8636594"/>
              <a:gd name="connsiteY25" fmla="*/ 6443216 h 6632561"/>
              <a:gd name="connsiteX26" fmla="*/ 2897488 w 8636594"/>
              <a:gd name="connsiteY26" fmla="*/ 6427305 h 6632561"/>
              <a:gd name="connsiteX27" fmla="*/ 2947923 w 8636594"/>
              <a:gd name="connsiteY27" fmla="*/ 6411004 h 6632561"/>
              <a:gd name="connsiteX28" fmla="*/ 2997775 w 8636594"/>
              <a:gd name="connsiteY28" fmla="*/ 6394316 h 6632561"/>
              <a:gd name="connsiteX29" fmla="*/ 3047052 w 8636594"/>
              <a:gd name="connsiteY29" fmla="*/ 6377243 h 6632561"/>
              <a:gd name="connsiteX30" fmla="*/ 3095759 w 8636594"/>
              <a:gd name="connsiteY30" fmla="*/ 6359791 h 6632561"/>
              <a:gd name="connsiteX31" fmla="*/ 3143903 w 8636594"/>
              <a:gd name="connsiteY31" fmla="*/ 6341961 h 6632561"/>
              <a:gd name="connsiteX32" fmla="*/ 3191491 w 8636594"/>
              <a:gd name="connsiteY32" fmla="*/ 6323757 h 6632561"/>
              <a:gd name="connsiteX33" fmla="*/ 3238528 w 8636594"/>
              <a:gd name="connsiteY33" fmla="*/ 6305184 h 6632561"/>
              <a:gd name="connsiteX34" fmla="*/ 3285021 w 8636594"/>
              <a:gd name="connsiteY34" fmla="*/ 6286245 h 6632561"/>
              <a:gd name="connsiteX35" fmla="*/ 3330977 w 8636594"/>
              <a:gd name="connsiteY35" fmla="*/ 6266942 h 6632561"/>
              <a:gd name="connsiteX36" fmla="*/ 3376401 w 8636594"/>
              <a:gd name="connsiteY36" fmla="*/ 6247281 h 6632561"/>
              <a:gd name="connsiteX37" fmla="*/ 3421300 w 8636594"/>
              <a:gd name="connsiteY37" fmla="*/ 6227263 h 6632561"/>
              <a:gd name="connsiteX38" fmla="*/ 3465680 w 8636594"/>
              <a:gd name="connsiteY38" fmla="*/ 6206893 h 6632561"/>
              <a:gd name="connsiteX39" fmla="*/ 3509548 w 8636594"/>
              <a:gd name="connsiteY39" fmla="*/ 6186174 h 6632561"/>
              <a:gd name="connsiteX40" fmla="*/ 3552910 w 8636594"/>
              <a:gd name="connsiteY40" fmla="*/ 6165110 h 6632561"/>
              <a:gd name="connsiteX41" fmla="*/ 3595773 w 8636594"/>
              <a:gd name="connsiteY41" fmla="*/ 6143704 h 6632561"/>
              <a:gd name="connsiteX42" fmla="*/ 3638142 w 8636594"/>
              <a:gd name="connsiteY42" fmla="*/ 6121960 h 6632561"/>
              <a:gd name="connsiteX43" fmla="*/ 3680024 w 8636594"/>
              <a:gd name="connsiteY43" fmla="*/ 6099881 h 6632561"/>
              <a:gd name="connsiteX44" fmla="*/ 3721426 w 8636594"/>
              <a:gd name="connsiteY44" fmla="*/ 6077471 h 6632561"/>
              <a:gd name="connsiteX45" fmla="*/ 3762353 w 8636594"/>
              <a:gd name="connsiteY45" fmla="*/ 6054733 h 6632561"/>
              <a:gd name="connsiteX46" fmla="*/ 3802812 w 8636594"/>
              <a:gd name="connsiteY46" fmla="*/ 6031671 h 6632561"/>
              <a:gd name="connsiteX47" fmla="*/ 3842810 w 8636594"/>
              <a:gd name="connsiteY47" fmla="*/ 6008288 h 6632561"/>
              <a:gd name="connsiteX48" fmla="*/ 3882352 w 8636594"/>
              <a:gd name="connsiteY48" fmla="*/ 5984588 h 6632561"/>
              <a:gd name="connsiteX49" fmla="*/ 3921445 w 8636594"/>
              <a:gd name="connsiteY49" fmla="*/ 5960574 h 6632561"/>
              <a:gd name="connsiteX50" fmla="*/ 3960096 w 8636594"/>
              <a:gd name="connsiteY50" fmla="*/ 5936250 h 6632561"/>
              <a:gd name="connsiteX51" fmla="*/ 3998311 w 8636594"/>
              <a:gd name="connsiteY51" fmla="*/ 5911619 h 6632561"/>
              <a:gd name="connsiteX52" fmla="*/ 4036095 w 8636594"/>
              <a:gd name="connsiteY52" fmla="*/ 5886685 h 6632561"/>
              <a:gd name="connsiteX53" fmla="*/ 4073456 w 8636594"/>
              <a:gd name="connsiteY53" fmla="*/ 5861452 h 6632561"/>
              <a:gd name="connsiteX54" fmla="*/ 4110400 w 8636594"/>
              <a:gd name="connsiteY54" fmla="*/ 5835922 h 6632561"/>
              <a:gd name="connsiteX55" fmla="*/ 4146933 w 8636594"/>
              <a:gd name="connsiteY55" fmla="*/ 5810100 h 6632561"/>
              <a:gd name="connsiteX56" fmla="*/ 4183061 w 8636594"/>
              <a:gd name="connsiteY56" fmla="*/ 5783988 h 6632561"/>
              <a:gd name="connsiteX57" fmla="*/ 4218791 w 8636594"/>
              <a:gd name="connsiteY57" fmla="*/ 5757591 h 6632561"/>
              <a:gd name="connsiteX58" fmla="*/ 4254129 w 8636594"/>
              <a:gd name="connsiteY58" fmla="*/ 5730912 h 6632561"/>
              <a:gd name="connsiteX59" fmla="*/ 4289081 w 8636594"/>
              <a:gd name="connsiteY59" fmla="*/ 5703955 h 6632561"/>
              <a:gd name="connsiteX60" fmla="*/ 4323654 w 8636594"/>
              <a:gd name="connsiteY60" fmla="*/ 5676722 h 6632561"/>
              <a:gd name="connsiteX61" fmla="*/ 4357854 w 8636594"/>
              <a:gd name="connsiteY61" fmla="*/ 5649218 h 6632561"/>
              <a:gd name="connsiteX62" fmla="*/ 4391688 w 8636594"/>
              <a:gd name="connsiteY62" fmla="*/ 5621446 h 6632561"/>
              <a:gd name="connsiteX63" fmla="*/ 4425162 w 8636594"/>
              <a:gd name="connsiteY63" fmla="*/ 5593409 h 6632561"/>
              <a:gd name="connsiteX64" fmla="*/ 4458281 w 8636594"/>
              <a:gd name="connsiteY64" fmla="*/ 5565111 h 6632561"/>
              <a:gd name="connsiteX65" fmla="*/ 4491053 w 8636594"/>
              <a:gd name="connsiteY65" fmla="*/ 5536556 h 6632561"/>
              <a:gd name="connsiteX66" fmla="*/ 4523484 w 8636594"/>
              <a:gd name="connsiteY66" fmla="*/ 5507747 h 6632561"/>
              <a:gd name="connsiteX67" fmla="*/ 4555580 w 8636594"/>
              <a:gd name="connsiteY67" fmla="*/ 5478687 h 6632561"/>
              <a:gd name="connsiteX68" fmla="*/ 4587347 w 8636594"/>
              <a:gd name="connsiteY68" fmla="*/ 5449380 h 6632561"/>
              <a:gd name="connsiteX69" fmla="*/ 4618793 w 8636594"/>
              <a:gd name="connsiteY69" fmla="*/ 5419830 h 6632561"/>
              <a:gd name="connsiteX70" fmla="*/ 4649922 w 8636594"/>
              <a:gd name="connsiteY70" fmla="*/ 5390040 h 6632561"/>
              <a:gd name="connsiteX71" fmla="*/ 4680742 w 8636594"/>
              <a:gd name="connsiteY71" fmla="*/ 5360014 h 6632561"/>
              <a:gd name="connsiteX72" fmla="*/ 4711259 w 8636594"/>
              <a:gd name="connsiteY72" fmla="*/ 5329755 h 6632561"/>
              <a:gd name="connsiteX73" fmla="*/ 4741478 w 8636594"/>
              <a:gd name="connsiteY73" fmla="*/ 5299266 h 6632561"/>
              <a:gd name="connsiteX74" fmla="*/ 4771408 w 8636594"/>
              <a:gd name="connsiteY74" fmla="*/ 5268551 h 6632561"/>
              <a:gd name="connsiteX75" fmla="*/ 4801053 w 8636594"/>
              <a:gd name="connsiteY75" fmla="*/ 5237614 h 6632561"/>
              <a:gd name="connsiteX76" fmla="*/ 4830420 w 8636594"/>
              <a:gd name="connsiteY76" fmla="*/ 5206458 h 6632561"/>
              <a:gd name="connsiteX77" fmla="*/ 4859516 w 8636594"/>
              <a:gd name="connsiteY77" fmla="*/ 5175087 h 6632561"/>
              <a:gd name="connsiteX78" fmla="*/ 4888347 w 8636594"/>
              <a:gd name="connsiteY78" fmla="*/ 5143504 h 6632561"/>
              <a:gd name="connsiteX79" fmla="*/ 4916919 w 8636594"/>
              <a:gd name="connsiteY79" fmla="*/ 5111713 h 6632561"/>
              <a:gd name="connsiteX80" fmla="*/ 4945238 w 8636594"/>
              <a:gd name="connsiteY80" fmla="*/ 5079717 h 6632561"/>
              <a:gd name="connsiteX81" fmla="*/ 4973311 w 8636594"/>
              <a:gd name="connsiteY81" fmla="*/ 5047519 h 6632561"/>
              <a:gd name="connsiteX82" fmla="*/ 5001145 w 8636594"/>
              <a:gd name="connsiteY82" fmla="*/ 5015124 h 6632561"/>
              <a:gd name="connsiteX83" fmla="*/ 5028745 w 8636594"/>
              <a:gd name="connsiteY83" fmla="*/ 4982535 h 6632561"/>
              <a:gd name="connsiteX84" fmla="*/ 5056117 w 8636594"/>
              <a:gd name="connsiteY84" fmla="*/ 4949755 h 6632561"/>
              <a:gd name="connsiteX85" fmla="*/ 5083269 w 8636594"/>
              <a:gd name="connsiteY85" fmla="*/ 4916787 h 6632561"/>
              <a:gd name="connsiteX86" fmla="*/ 5110207 w 8636594"/>
              <a:gd name="connsiteY86" fmla="*/ 4883636 h 6632561"/>
              <a:gd name="connsiteX87" fmla="*/ 5136937 w 8636594"/>
              <a:gd name="connsiteY87" fmla="*/ 4850305 h 6632561"/>
              <a:gd name="connsiteX88" fmla="*/ 5163464 w 8636594"/>
              <a:gd name="connsiteY88" fmla="*/ 4816797 h 6632561"/>
              <a:gd name="connsiteX89" fmla="*/ 5215940 w 8636594"/>
              <a:gd name="connsiteY89" fmla="*/ 4749265 h 6632561"/>
              <a:gd name="connsiteX90" fmla="*/ 5267684 w 8636594"/>
              <a:gd name="connsiteY90" fmla="*/ 4681068 h 6632561"/>
              <a:gd name="connsiteX91" fmla="*/ 5318748 w 8636594"/>
              <a:gd name="connsiteY91" fmla="*/ 4612234 h 6632561"/>
              <a:gd name="connsiteX92" fmla="*/ 5369182 w 8636594"/>
              <a:gd name="connsiteY92" fmla="*/ 4542793 h 6632561"/>
              <a:gd name="connsiteX93" fmla="*/ 5419038 w 8636594"/>
              <a:gd name="connsiteY93" fmla="*/ 4472771 h 6632561"/>
              <a:gd name="connsiteX94" fmla="*/ 5468365 w 8636594"/>
              <a:gd name="connsiteY94" fmla="*/ 4402196 h 6632561"/>
              <a:gd name="connsiteX95" fmla="*/ 5517215 w 8636594"/>
              <a:gd name="connsiteY95" fmla="*/ 4331098 h 6632561"/>
              <a:gd name="connsiteX96" fmla="*/ 5565637 w 8636594"/>
              <a:gd name="connsiteY96" fmla="*/ 4259503 h 6632561"/>
              <a:gd name="connsiteX97" fmla="*/ 5613684 w 8636594"/>
              <a:gd name="connsiteY97" fmla="*/ 4187441 h 6632561"/>
              <a:gd name="connsiteX98" fmla="*/ 5685160 w 8636594"/>
              <a:gd name="connsiteY98" fmla="*/ 4078531 h 6632561"/>
              <a:gd name="connsiteX99" fmla="*/ 5756074 w 8636594"/>
              <a:gd name="connsiteY99" fmla="*/ 3968727 h 6632561"/>
              <a:gd name="connsiteX100" fmla="*/ 5873483 w 8636594"/>
              <a:gd name="connsiteY100" fmla="*/ 3783989 h 6632561"/>
              <a:gd name="connsiteX101" fmla="*/ 6203209 w 8636594"/>
              <a:gd name="connsiteY101" fmla="*/ 3258640 h 6632561"/>
              <a:gd name="connsiteX102" fmla="*/ 6299430 w 8636594"/>
              <a:gd name="connsiteY102" fmla="*/ 3107321 h 6632561"/>
              <a:gd name="connsiteX103" fmla="*/ 6372650 w 8636594"/>
              <a:gd name="connsiteY103" fmla="*/ 2993735 h 6632561"/>
              <a:gd name="connsiteX104" fmla="*/ 6453197 w 8636594"/>
              <a:gd name="connsiteY104" fmla="*/ 2869788 h 6632561"/>
              <a:gd name="connsiteX105" fmla="*/ 6564167 w 8636594"/>
              <a:gd name="connsiteY105" fmla="*/ 2696807 h 6632561"/>
              <a:gd name="connsiteX106" fmla="*/ 6976233 w 8636594"/>
              <a:gd name="connsiteY106" fmla="*/ 2045274 h 6632561"/>
              <a:gd name="connsiteX107" fmla="*/ 7086755 w 8636594"/>
              <a:gd name="connsiteY107" fmla="*/ 1872743 h 6632561"/>
              <a:gd name="connsiteX108" fmla="*/ 7170279 w 8636594"/>
              <a:gd name="connsiteY108" fmla="*/ 1744202 h 6632561"/>
              <a:gd name="connsiteX109" fmla="*/ 7226351 w 8636594"/>
              <a:gd name="connsiteY109" fmla="*/ 1659017 h 6632561"/>
              <a:gd name="connsiteX110" fmla="*/ 7282789 w 8636594"/>
              <a:gd name="connsiteY110" fmla="*/ 1574303 h 6632561"/>
              <a:gd name="connsiteX111" fmla="*/ 7339643 w 8636594"/>
              <a:gd name="connsiteY111" fmla="*/ 1490113 h 6632561"/>
              <a:gd name="connsiteX112" fmla="*/ 7396957 w 8636594"/>
              <a:gd name="connsiteY112" fmla="*/ 1406503 h 6632561"/>
              <a:gd name="connsiteX113" fmla="*/ 7454781 w 8636594"/>
              <a:gd name="connsiteY113" fmla="*/ 1323526 h 6632561"/>
              <a:gd name="connsiteX114" fmla="*/ 7513161 w 8636594"/>
              <a:gd name="connsiteY114" fmla="*/ 1241237 h 6632561"/>
              <a:gd name="connsiteX115" fmla="*/ 7572144 w 8636594"/>
              <a:gd name="connsiteY115" fmla="*/ 1159689 h 6632561"/>
              <a:gd name="connsiteX116" fmla="*/ 7601877 w 8636594"/>
              <a:gd name="connsiteY116" fmla="*/ 1119210 h 6632561"/>
              <a:gd name="connsiteX117" fmla="*/ 7631779 w 8636594"/>
              <a:gd name="connsiteY117" fmla="*/ 1078937 h 6632561"/>
              <a:gd name="connsiteX118" fmla="*/ 7661855 w 8636594"/>
              <a:gd name="connsiteY118" fmla="*/ 1038876 h 6632561"/>
              <a:gd name="connsiteX119" fmla="*/ 7692111 w 8636594"/>
              <a:gd name="connsiteY119" fmla="*/ 999035 h 6632561"/>
              <a:gd name="connsiteX120" fmla="*/ 7722554 w 8636594"/>
              <a:gd name="connsiteY120" fmla="*/ 959419 h 6632561"/>
              <a:gd name="connsiteX121" fmla="*/ 7753190 w 8636594"/>
              <a:gd name="connsiteY121" fmla="*/ 920037 h 6632561"/>
              <a:gd name="connsiteX122" fmla="*/ 7784023 w 8636594"/>
              <a:gd name="connsiteY122" fmla="*/ 880894 h 6632561"/>
              <a:gd name="connsiteX123" fmla="*/ 7815061 w 8636594"/>
              <a:gd name="connsiteY123" fmla="*/ 841997 h 6632561"/>
              <a:gd name="connsiteX124" fmla="*/ 7846308 w 8636594"/>
              <a:gd name="connsiteY124" fmla="*/ 803354 h 6632561"/>
              <a:gd name="connsiteX125" fmla="*/ 7877772 w 8636594"/>
              <a:gd name="connsiteY125" fmla="*/ 764970 h 6632561"/>
              <a:gd name="connsiteX126" fmla="*/ 7909458 w 8636594"/>
              <a:gd name="connsiteY126" fmla="*/ 726853 h 6632561"/>
              <a:gd name="connsiteX127" fmla="*/ 7941371 w 8636594"/>
              <a:gd name="connsiteY127" fmla="*/ 689010 h 6632561"/>
              <a:gd name="connsiteX128" fmla="*/ 7973518 w 8636594"/>
              <a:gd name="connsiteY128" fmla="*/ 651447 h 6632561"/>
              <a:gd name="connsiteX129" fmla="*/ 8005905 w 8636594"/>
              <a:gd name="connsiteY129" fmla="*/ 614171 h 6632561"/>
              <a:gd name="connsiteX130" fmla="*/ 8038538 w 8636594"/>
              <a:gd name="connsiteY130" fmla="*/ 577189 h 6632561"/>
              <a:gd name="connsiteX131" fmla="*/ 8071421 w 8636594"/>
              <a:gd name="connsiteY131" fmla="*/ 540507 h 6632561"/>
              <a:gd name="connsiteX132" fmla="*/ 8104563 w 8636594"/>
              <a:gd name="connsiteY132" fmla="*/ 504132 h 6632561"/>
              <a:gd name="connsiteX133" fmla="*/ 8137967 w 8636594"/>
              <a:gd name="connsiteY133" fmla="*/ 468072 h 6632561"/>
              <a:gd name="connsiteX134" fmla="*/ 8171641 w 8636594"/>
              <a:gd name="connsiteY134" fmla="*/ 432332 h 6632561"/>
              <a:gd name="connsiteX135" fmla="*/ 8205590 w 8636594"/>
              <a:gd name="connsiteY135" fmla="*/ 396920 h 6632561"/>
              <a:gd name="connsiteX136" fmla="*/ 8239820 w 8636594"/>
              <a:gd name="connsiteY136" fmla="*/ 361843 h 6632561"/>
              <a:gd name="connsiteX137" fmla="*/ 8274337 w 8636594"/>
              <a:gd name="connsiteY137" fmla="*/ 327107 h 6632561"/>
              <a:gd name="connsiteX138" fmla="*/ 8309147 w 8636594"/>
              <a:gd name="connsiteY138" fmla="*/ 292718 h 6632561"/>
              <a:gd name="connsiteX139" fmla="*/ 8344256 w 8636594"/>
              <a:gd name="connsiteY139" fmla="*/ 258685 h 6632561"/>
              <a:gd name="connsiteX140" fmla="*/ 8379669 w 8636594"/>
              <a:gd name="connsiteY140" fmla="*/ 225013 h 6632561"/>
              <a:gd name="connsiteX141" fmla="*/ 8415394 w 8636594"/>
              <a:gd name="connsiteY141" fmla="*/ 191709 h 6632561"/>
              <a:gd name="connsiteX142" fmla="*/ 8451434 w 8636594"/>
              <a:gd name="connsiteY142" fmla="*/ 158780 h 6632561"/>
              <a:gd name="connsiteX143" fmla="*/ 8487798 w 8636594"/>
              <a:gd name="connsiteY143" fmla="*/ 126233 h 6632561"/>
              <a:gd name="connsiteX144" fmla="*/ 8524489 w 8636594"/>
              <a:gd name="connsiteY144" fmla="*/ 94075 h 6632561"/>
              <a:gd name="connsiteX145" fmla="*/ 8561515 w 8636594"/>
              <a:gd name="connsiteY145" fmla="*/ 62312 h 6632561"/>
              <a:gd name="connsiteX146" fmla="*/ 8598881 w 8636594"/>
              <a:gd name="connsiteY146" fmla="*/ 30951 h 6632561"/>
              <a:gd name="connsiteX147" fmla="*/ 8636594 w 8636594"/>
              <a:gd name="connsiteY147" fmla="*/ 0 h 6632561"/>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222486 w 8636594"/>
              <a:gd name="connsiteY6" fmla="*/ 5687627 h 6622937"/>
              <a:gd name="connsiteX7" fmla="*/ 2412216 w 8636594"/>
              <a:gd name="connsiteY7" fmla="*/ 5587741 h 6622937"/>
              <a:gd name="connsiteX8" fmla="*/ 2490090 w 8636594"/>
              <a:gd name="connsiteY8" fmla="*/ 5591230 h 6622937"/>
              <a:gd name="connsiteX9" fmla="*/ 2561975 w 8636594"/>
              <a:gd name="connsiteY9" fmla="*/ 5533193 h 6622937"/>
              <a:gd name="connsiteX10" fmla="*/ 2066817 w 8636594"/>
              <a:gd name="connsiteY10" fmla="*/ 6622937 h 6622937"/>
              <a:gd name="connsiteX11" fmla="*/ 2126742 w 8636594"/>
              <a:gd name="connsiteY11" fmla="*/ 6612869 h 6622937"/>
              <a:gd name="connsiteX12" fmla="*/ 2185991 w 8636594"/>
              <a:gd name="connsiteY12" fmla="*/ 6602362 h 6622937"/>
              <a:gd name="connsiteX13" fmla="*/ 2244569 w 8636594"/>
              <a:gd name="connsiteY13" fmla="*/ 6591417 h 6622937"/>
              <a:gd name="connsiteX14" fmla="*/ 2302482 w 8636594"/>
              <a:gd name="connsiteY14" fmla="*/ 6580040 h 6622937"/>
              <a:gd name="connsiteX15" fmla="*/ 2359737 w 8636594"/>
              <a:gd name="connsiteY15" fmla="*/ 6568233 h 6622937"/>
              <a:gd name="connsiteX16" fmla="*/ 2416341 w 8636594"/>
              <a:gd name="connsiteY16" fmla="*/ 6555999 h 6622937"/>
              <a:gd name="connsiteX17" fmla="*/ 2472299 w 8636594"/>
              <a:gd name="connsiteY17" fmla="*/ 6543344 h 6622937"/>
              <a:gd name="connsiteX18" fmla="*/ 2527618 w 8636594"/>
              <a:gd name="connsiteY18" fmla="*/ 6530269 h 6622937"/>
              <a:gd name="connsiteX19" fmla="*/ 2582304 w 8636594"/>
              <a:gd name="connsiteY19" fmla="*/ 6516778 h 6622937"/>
              <a:gd name="connsiteX20" fmla="*/ 2636364 w 8636594"/>
              <a:gd name="connsiteY20" fmla="*/ 6502876 h 6622937"/>
              <a:gd name="connsiteX21" fmla="*/ 2689804 w 8636594"/>
              <a:gd name="connsiteY21" fmla="*/ 6488565 h 6622937"/>
              <a:gd name="connsiteX22" fmla="*/ 2742629 w 8636594"/>
              <a:gd name="connsiteY22" fmla="*/ 6473849 h 6622937"/>
              <a:gd name="connsiteX23" fmla="*/ 2794848 w 8636594"/>
              <a:gd name="connsiteY23" fmla="*/ 6458731 h 6622937"/>
              <a:gd name="connsiteX24" fmla="*/ 2846466 w 8636594"/>
              <a:gd name="connsiteY24" fmla="*/ 6443216 h 6622937"/>
              <a:gd name="connsiteX25" fmla="*/ 2897488 w 8636594"/>
              <a:gd name="connsiteY25" fmla="*/ 6427305 h 6622937"/>
              <a:gd name="connsiteX26" fmla="*/ 2947923 w 8636594"/>
              <a:gd name="connsiteY26" fmla="*/ 6411004 h 6622937"/>
              <a:gd name="connsiteX27" fmla="*/ 2997775 w 8636594"/>
              <a:gd name="connsiteY27" fmla="*/ 6394316 h 6622937"/>
              <a:gd name="connsiteX28" fmla="*/ 3047052 w 8636594"/>
              <a:gd name="connsiteY28" fmla="*/ 6377243 h 6622937"/>
              <a:gd name="connsiteX29" fmla="*/ 3095759 w 8636594"/>
              <a:gd name="connsiteY29" fmla="*/ 6359791 h 6622937"/>
              <a:gd name="connsiteX30" fmla="*/ 3143903 w 8636594"/>
              <a:gd name="connsiteY30" fmla="*/ 6341961 h 6622937"/>
              <a:gd name="connsiteX31" fmla="*/ 3191491 w 8636594"/>
              <a:gd name="connsiteY31" fmla="*/ 6323757 h 6622937"/>
              <a:gd name="connsiteX32" fmla="*/ 3238528 w 8636594"/>
              <a:gd name="connsiteY32" fmla="*/ 6305184 h 6622937"/>
              <a:gd name="connsiteX33" fmla="*/ 3285021 w 8636594"/>
              <a:gd name="connsiteY33" fmla="*/ 6286245 h 6622937"/>
              <a:gd name="connsiteX34" fmla="*/ 3330977 w 8636594"/>
              <a:gd name="connsiteY34" fmla="*/ 6266942 h 6622937"/>
              <a:gd name="connsiteX35" fmla="*/ 3376401 w 8636594"/>
              <a:gd name="connsiteY35" fmla="*/ 6247281 h 6622937"/>
              <a:gd name="connsiteX36" fmla="*/ 3421300 w 8636594"/>
              <a:gd name="connsiteY36" fmla="*/ 6227263 h 6622937"/>
              <a:gd name="connsiteX37" fmla="*/ 3465680 w 8636594"/>
              <a:gd name="connsiteY37" fmla="*/ 6206893 h 6622937"/>
              <a:gd name="connsiteX38" fmla="*/ 3509548 w 8636594"/>
              <a:gd name="connsiteY38" fmla="*/ 6186174 h 6622937"/>
              <a:gd name="connsiteX39" fmla="*/ 3552910 w 8636594"/>
              <a:gd name="connsiteY39" fmla="*/ 6165110 h 6622937"/>
              <a:gd name="connsiteX40" fmla="*/ 3595773 w 8636594"/>
              <a:gd name="connsiteY40" fmla="*/ 6143704 h 6622937"/>
              <a:gd name="connsiteX41" fmla="*/ 3638142 w 8636594"/>
              <a:gd name="connsiteY41" fmla="*/ 6121960 h 6622937"/>
              <a:gd name="connsiteX42" fmla="*/ 3680024 w 8636594"/>
              <a:gd name="connsiteY42" fmla="*/ 6099881 h 6622937"/>
              <a:gd name="connsiteX43" fmla="*/ 3721426 w 8636594"/>
              <a:gd name="connsiteY43" fmla="*/ 6077471 h 6622937"/>
              <a:gd name="connsiteX44" fmla="*/ 3762353 w 8636594"/>
              <a:gd name="connsiteY44" fmla="*/ 6054733 h 6622937"/>
              <a:gd name="connsiteX45" fmla="*/ 3802812 w 8636594"/>
              <a:gd name="connsiteY45" fmla="*/ 6031671 h 6622937"/>
              <a:gd name="connsiteX46" fmla="*/ 3842810 w 8636594"/>
              <a:gd name="connsiteY46" fmla="*/ 6008288 h 6622937"/>
              <a:gd name="connsiteX47" fmla="*/ 3882352 w 8636594"/>
              <a:gd name="connsiteY47" fmla="*/ 5984588 h 6622937"/>
              <a:gd name="connsiteX48" fmla="*/ 3921445 w 8636594"/>
              <a:gd name="connsiteY48" fmla="*/ 5960574 h 6622937"/>
              <a:gd name="connsiteX49" fmla="*/ 3960096 w 8636594"/>
              <a:gd name="connsiteY49" fmla="*/ 5936250 h 6622937"/>
              <a:gd name="connsiteX50" fmla="*/ 3998311 w 8636594"/>
              <a:gd name="connsiteY50" fmla="*/ 5911619 h 6622937"/>
              <a:gd name="connsiteX51" fmla="*/ 4036095 w 8636594"/>
              <a:gd name="connsiteY51" fmla="*/ 5886685 h 6622937"/>
              <a:gd name="connsiteX52" fmla="*/ 4073456 w 8636594"/>
              <a:gd name="connsiteY52" fmla="*/ 5861452 h 6622937"/>
              <a:gd name="connsiteX53" fmla="*/ 4110400 w 8636594"/>
              <a:gd name="connsiteY53" fmla="*/ 5835922 h 6622937"/>
              <a:gd name="connsiteX54" fmla="*/ 4146933 w 8636594"/>
              <a:gd name="connsiteY54" fmla="*/ 5810100 h 6622937"/>
              <a:gd name="connsiteX55" fmla="*/ 4183061 w 8636594"/>
              <a:gd name="connsiteY55" fmla="*/ 5783988 h 6622937"/>
              <a:gd name="connsiteX56" fmla="*/ 4218791 w 8636594"/>
              <a:gd name="connsiteY56" fmla="*/ 5757591 h 6622937"/>
              <a:gd name="connsiteX57" fmla="*/ 4254129 w 8636594"/>
              <a:gd name="connsiteY57" fmla="*/ 5730912 h 6622937"/>
              <a:gd name="connsiteX58" fmla="*/ 4289081 w 8636594"/>
              <a:gd name="connsiteY58" fmla="*/ 5703955 h 6622937"/>
              <a:gd name="connsiteX59" fmla="*/ 4323654 w 8636594"/>
              <a:gd name="connsiteY59" fmla="*/ 5676722 h 6622937"/>
              <a:gd name="connsiteX60" fmla="*/ 4357854 w 8636594"/>
              <a:gd name="connsiteY60" fmla="*/ 5649218 h 6622937"/>
              <a:gd name="connsiteX61" fmla="*/ 4391688 w 8636594"/>
              <a:gd name="connsiteY61" fmla="*/ 5621446 h 6622937"/>
              <a:gd name="connsiteX62" fmla="*/ 4425162 w 8636594"/>
              <a:gd name="connsiteY62" fmla="*/ 5593409 h 6622937"/>
              <a:gd name="connsiteX63" fmla="*/ 4458281 w 8636594"/>
              <a:gd name="connsiteY63" fmla="*/ 5565111 h 6622937"/>
              <a:gd name="connsiteX64" fmla="*/ 4491053 w 8636594"/>
              <a:gd name="connsiteY64" fmla="*/ 5536556 h 6622937"/>
              <a:gd name="connsiteX65" fmla="*/ 4523484 w 8636594"/>
              <a:gd name="connsiteY65" fmla="*/ 5507747 h 6622937"/>
              <a:gd name="connsiteX66" fmla="*/ 4555580 w 8636594"/>
              <a:gd name="connsiteY66" fmla="*/ 5478687 h 6622937"/>
              <a:gd name="connsiteX67" fmla="*/ 4587347 w 8636594"/>
              <a:gd name="connsiteY67" fmla="*/ 5449380 h 6622937"/>
              <a:gd name="connsiteX68" fmla="*/ 4618793 w 8636594"/>
              <a:gd name="connsiteY68" fmla="*/ 5419830 h 6622937"/>
              <a:gd name="connsiteX69" fmla="*/ 4649922 w 8636594"/>
              <a:gd name="connsiteY69" fmla="*/ 5390040 h 6622937"/>
              <a:gd name="connsiteX70" fmla="*/ 4680742 w 8636594"/>
              <a:gd name="connsiteY70" fmla="*/ 5360014 h 6622937"/>
              <a:gd name="connsiteX71" fmla="*/ 4711259 w 8636594"/>
              <a:gd name="connsiteY71" fmla="*/ 5329755 h 6622937"/>
              <a:gd name="connsiteX72" fmla="*/ 4741478 w 8636594"/>
              <a:gd name="connsiteY72" fmla="*/ 5299266 h 6622937"/>
              <a:gd name="connsiteX73" fmla="*/ 4771408 w 8636594"/>
              <a:gd name="connsiteY73" fmla="*/ 5268551 h 6622937"/>
              <a:gd name="connsiteX74" fmla="*/ 4801053 w 8636594"/>
              <a:gd name="connsiteY74" fmla="*/ 5237614 h 6622937"/>
              <a:gd name="connsiteX75" fmla="*/ 4830420 w 8636594"/>
              <a:gd name="connsiteY75" fmla="*/ 5206458 h 6622937"/>
              <a:gd name="connsiteX76" fmla="*/ 4859516 w 8636594"/>
              <a:gd name="connsiteY76" fmla="*/ 5175087 h 6622937"/>
              <a:gd name="connsiteX77" fmla="*/ 4888347 w 8636594"/>
              <a:gd name="connsiteY77" fmla="*/ 5143504 h 6622937"/>
              <a:gd name="connsiteX78" fmla="*/ 4916919 w 8636594"/>
              <a:gd name="connsiteY78" fmla="*/ 5111713 h 6622937"/>
              <a:gd name="connsiteX79" fmla="*/ 4945238 w 8636594"/>
              <a:gd name="connsiteY79" fmla="*/ 5079717 h 6622937"/>
              <a:gd name="connsiteX80" fmla="*/ 4973311 w 8636594"/>
              <a:gd name="connsiteY80" fmla="*/ 5047519 h 6622937"/>
              <a:gd name="connsiteX81" fmla="*/ 5001145 w 8636594"/>
              <a:gd name="connsiteY81" fmla="*/ 5015124 h 6622937"/>
              <a:gd name="connsiteX82" fmla="*/ 5028745 w 8636594"/>
              <a:gd name="connsiteY82" fmla="*/ 4982535 h 6622937"/>
              <a:gd name="connsiteX83" fmla="*/ 5056117 w 8636594"/>
              <a:gd name="connsiteY83" fmla="*/ 4949755 h 6622937"/>
              <a:gd name="connsiteX84" fmla="*/ 5083269 w 8636594"/>
              <a:gd name="connsiteY84" fmla="*/ 4916787 h 6622937"/>
              <a:gd name="connsiteX85" fmla="*/ 5110207 w 8636594"/>
              <a:gd name="connsiteY85" fmla="*/ 4883636 h 6622937"/>
              <a:gd name="connsiteX86" fmla="*/ 5136937 w 8636594"/>
              <a:gd name="connsiteY86" fmla="*/ 4850305 h 6622937"/>
              <a:gd name="connsiteX87" fmla="*/ 5163464 w 8636594"/>
              <a:gd name="connsiteY87" fmla="*/ 4816797 h 6622937"/>
              <a:gd name="connsiteX88" fmla="*/ 5215940 w 8636594"/>
              <a:gd name="connsiteY88" fmla="*/ 4749265 h 6622937"/>
              <a:gd name="connsiteX89" fmla="*/ 5267684 w 8636594"/>
              <a:gd name="connsiteY89" fmla="*/ 4681068 h 6622937"/>
              <a:gd name="connsiteX90" fmla="*/ 5318748 w 8636594"/>
              <a:gd name="connsiteY90" fmla="*/ 4612234 h 6622937"/>
              <a:gd name="connsiteX91" fmla="*/ 5369182 w 8636594"/>
              <a:gd name="connsiteY91" fmla="*/ 4542793 h 6622937"/>
              <a:gd name="connsiteX92" fmla="*/ 5419038 w 8636594"/>
              <a:gd name="connsiteY92" fmla="*/ 4472771 h 6622937"/>
              <a:gd name="connsiteX93" fmla="*/ 5468365 w 8636594"/>
              <a:gd name="connsiteY93" fmla="*/ 4402196 h 6622937"/>
              <a:gd name="connsiteX94" fmla="*/ 5517215 w 8636594"/>
              <a:gd name="connsiteY94" fmla="*/ 4331098 h 6622937"/>
              <a:gd name="connsiteX95" fmla="*/ 5565637 w 8636594"/>
              <a:gd name="connsiteY95" fmla="*/ 4259503 h 6622937"/>
              <a:gd name="connsiteX96" fmla="*/ 5613684 w 8636594"/>
              <a:gd name="connsiteY96" fmla="*/ 4187441 h 6622937"/>
              <a:gd name="connsiteX97" fmla="*/ 5685160 w 8636594"/>
              <a:gd name="connsiteY97" fmla="*/ 4078531 h 6622937"/>
              <a:gd name="connsiteX98" fmla="*/ 5756074 w 8636594"/>
              <a:gd name="connsiteY98" fmla="*/ 3968727 h 6622937"/>
              <a:gd name="connsiteX99" fmla="*/ 5873483 w 8636594"/>
              <a:gd name="connsiteY99" fmla="*/ 3783989 h 6622937"/>
              <a:gd name="connsiteX100" fmla="*/ 6203209 w 8636594"/>
              <a:gd name="connsiteY100" fmla="*/ 3258640 h 6622937"/>
              <a:gd name="connsiteX101" fmla="*/ 6299430 w 8636594"/>
              <a:gd name="connsiteY101" fmla="*/ 3107321 h 6622937"/>
              <a:gd name="connsiteX102" fmla="*/ 6372650 w 8636594"/>
              <a:gd name="connsiteY102" fmla="*/ 2993735 h 6622937"/>
              <a:gd name="connsiteX103" fmla="*/ 6453197 w 8636594"/>
              <a:gd name="connsiteY103" fmla="*/ 2869788 h 6622937"/>
              <a:gd name="connsiteX104" fmla="*/ 6564167 w 8636594"/>
              <a:gd name="connsiteY104" fmla="*/ 2696807 h 6622937"/>
              <a:gd name="connsiteX105" fmla="*/ 6976233 w 8636594"/>
              <a:gd name="connsiteY105" fmla="*/ 2045274 h 6622937"/>
              <a:gd name="connsiteX106" fmla="*/ 7086755 w 8636594"/>
              <a:gd name="connsiteY106" fmla="*/ 1872743 h 6622937"/>
              <a:gd name="connsiteX107" fmla="*/ 7170279 w 8636594"/>
              <a:gd name="connsiteY107" fmla="*/ 1744202 h 6622937"/>
              <a:gd name="connsiteX108" fmla="*/ 7226351 w 8636594"/>
              <a:gd name="connsiteY108" fmla="*/ 1659017 h 6622937"/>
              <a:gd name="connsiteX109" fmla="*/ 7282789 w 8636594"/>
              <a:gd name="connsiteY109" fmla="*/ 1574303 h 6622937"/>
              <a:gd name="connsiteX110" fmla="*/ 7339643 w 8636594"/>
              <a:gd name="connsiteY110" fmla="*/ 1490113 h 6622937"/>
              <a:gd name="connsiteX111" fmla="*/ 7396957 w 8636594"/>
              <a:gd name="connsiteY111" fmla="*/ 1406503 h 6622937"/>
              <a:gd name="connsiteX112" fmla="*/ 7454781 w 8636594"/>
              <a:gd name="connsiteY112" fmla="*/ 1323526 h 6622937"/>
              <a:gd name="connsiteX113" fmla="*/ 7513161 w 8636594"/>
              <a:gd name="connsiteY113" fmla="*/ 1241237 h 6622937"/>
              <a:gd name="connsiteX114" fmla="*/ 7572144 w 8636594"/>
              <a:gd name="connsiteY114" fmla="*/ 1159689 h 6622937"/>
              <a:gd name="connsiteX115" fmla="*/ 7601877 w 8636594"/>
              <a:gd name="connsiteY115" fmla="*/ 1119210 h 6622937"/>
              <a:gd name="connsiteX116" fmla="*/ 7631779 w 8636594"/>
              <a:gd name="connsiteY116" fmla="*/ 1078937 h 6622937"/>
              <a:gd name="connsiteX117" fmla="*/ 7661855 w 8636594"/>
              <a:gd name="connsiteY117" fmla="*/ 1038876 h 6622937"/>
              <a:gd name="connsiteX118" fmla="*/ 7692111 w 8636594"/>
              <a:gd name="connsiteY118" fmla="*/ 999035 h 6622937"/>
              <a:gd name="connsiteX119" fmla="*/ 7722554 w 8636594"/>
              <a:gd name="connsiteY119" fmla="*/ 959419 h 6622937"/>
              <a:gd name="connsiteX120" fmla="*/ 7753190 w 8636594"/>
              <a:gd name="connsiteY120" fmla="*/ 920037 h 6622937"/>
              <a:gd name="connsiteX121" fmla="*/ 7784023 w 8636594"/>
              <a:gd name="connsiteY121" fmla="*/ 880894 h 6622937"/>
              <a:gd name="connsiteX122" fmla="*/ 7815061 w 8636594"/>
              <a:gd name="connsiteY122" fmla="*/ 841997 h 6622937"/>
              <a:gd name="connsiteX123" fmla="*/ 7846308 w 8636594"/>
              <a:gd name="connsiteY123" fmla="*/ 803354 h 6622937"/>
              <a:gd name="connsiteX124" fmla="*/ 7877772 w 8636594"/>
              <a:gd name="connsiteY124" fmla="*/ 764970 h 6622937"/>
              <a:gd name="connsiteX125" fmla="*/ 7909458 w 8636594"/>
              <a:gd name="connsiteY125" fmla="*/ 726853 h 6622937"/>
              <a:gd name="connsiteX126" fmla="*/ 7941371 w 8636594"/>
              <a:gd name="connsiteY126" fmla="*/ 689010 h 6622937"/>
              <a:gd name="connsiteX127" fmla="*/ 7973518 w 8636594"/>
              <a:gd name="connsiteY127" fmla="*/ 651447 h 6622937"/>
              <a:gd name="connsiteX128" fmla="*/ 8005905 w 8636594"/>
              <a:gd name="connsiteY128" fmla="*/ 614171 h 6622937"/>
              <a:gd name="connsiteX129" fmla="*/ 8038538 w 8636594"/>
              <a:gd name="connsiteY129" fmla="*/ 577189 h 6622937"/>
              <a:gd name="connsiteX130" fmla="*/ 8071421 w 8636594"/>
              <a:gd name="connsiteY130" fmla="*/ 540507 h 6622937"/>
              <a:gd name="connsiteX131" fmla="*/ 8104563 w 8636594"/>
              <a:gd name="connsiteY131" fmla="*/ 504132 h 6622937"/>
              <a:gd name="connsiteX132" fmla="*/ 8137967 w 8636594"/>
              <a:gd name="connsiteY132" fmla="*/ 468072 h 6622937"/>
              <a:gd name="connsiteX133" fmla="*/ 8171641 w 8636594"/>
              <a:gd name="connsiteY133" fmla="*/ 432332 h 6622937"/>
              <a:gd name="connsiteX134" fmla="*/ 8205590 w 8636594"/>
              <a:gd name="connsiteY134" fmla="*/ 396920 h 6622937"/>
              <a:gd name="connsiteX135" fmla="*/ 8239820 w 8636594"/>
              <a:gd name="connsiteY135" fmla="*/ 361843 h 6622937"/>
              <a:gd name="connsiteX136" fmla="*/ 8274337 w 8636594"/>
              <a:gd name="connsiteY136" fmla="*/ 327107 h 6622937"/>
              <a:gd name="connsiteX137" fmla="*/ 8309147 w 8636594"/>
              <a:gd name="connsiteY137" fmla="*/ 292718 h 6622937"/>
              <a:gd name="connsiteX138" fmla="*/ 8344256 w 8636594"/>
              <a:gd name="connsiteY138" fmla="*/ 258685 h 6622937"/>
              <a:gd name="connsiteX139" fmla="*/ 8379669 w 8636594"/>
              <a:gd name="connsiteY139" fmla="*/ 225013 h 6622937"/>
              <a:gd name="connsiteX140" fmla="*/ 8415394 w 8636594"/>
              <a:gd name="connsiteY140" fmla="*/ 191709 h 6622937"/>
              <a:gd name="connsiteX141" fmla="*/ 8451434 w 8636594"/>
              <a:gd name="connsiteY141" fmla="*/ 158780 h 6622937"/>
              <a:gd name="connsiteX142" fmla="*/ 8487798 w 8636594"/>
              <a:gd name="connsiteY142" fmla="*/ 126233 h 6622937"/>
              <a:gd name="connsiteX143" fmla="*/ 8524489 w 8636594"/>
              <a:gd name="connsiteY143" fmla="*/ 94075 h 6622937"/>
              <a:gd name="connsiteX144" fmla="*/ 8561515 w 8636594"/>
              <a:gd name="connsiteY144" fmla="*/ 62312 h 6622937"/>
              <a:gd name="connsiteX145" fmla="*/ 8598881 w 8636594"/>
              <a:gd name="connsiteY145" fmla="*/ 30951 h 6622937"/>
              <a:gd name="connsiteX146" fmla="*/ 8636594 w 8636594"/>
              <a:gd name="connsiteY146"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222486 w 8636594"/>
              <a:gd name="connsiteY5" fmla="*/ 5687627 h 6622937"/>
              <a:gd name="connsiteX6" fmla="*/ 2412216 w 8636594"/>
              <a:gd name="connsiteY6" fmla="*/ 5587741 h 6622937"/>
              <a:gd name="connsiteX7" fmla="*/ 2490090 w 8636594"/>
              <a:gd name="connsiteY7" fmla="*/ 5591230 h 6622937"/>
              <a:gd name="connsiteX8" fmla="*/ 2561975 w 8636594"/>
              <a:gd name="connsiteY8" fmla="*/ 5533193 h 6622937"/>
              <a:gd name="connsiteX9" fmla="*/ 2066817 w 8636594"/>
              <a:gd name="connsiteY9" fmla="*/ 6622937 h 6622937"/>
              <a:gd name="connsiteX10" fmla="*/ 2126742 w 8636594"/>
              <a:gd name="connsiteY10" fmla="*/ 6612869 h 6622937"/>
              <a:gd name="connsiteX11" fmla="*/ 2185991 w 8636594"/>
              <a:gd name="connsiteY11" fmla="*/ 6602362 h 6622937"/>
              <a:gd name="connsiteX12" fmla="*/ 2244569 w 8636594"/>
              <a:gd name="connsiteY12" fmla="*/ 6591417 h 6622937"/>
              <a:gd name="connsiteX13" fmla="*/ 2302482 w 8636594"/>
              <a:gd name="connsiteY13" fmla="*/ 6580040 h 6622937"/>
              <a:gd name="connsiteX14" fmla="*/ 2359737 w 8636594"/>
              <a:gd name="connsiteY14" fmla="*/ 6568233 h 6622937"/>
              <a:gd name="connsiteX15" fmla="*/ 2416341 w 8636594"/>
              <a:gd name="connsiteY15" fmla="*/ 6555999 h 6622937"/>
              <a:gd name="connsiteX16" fmla="*/ 2472299 w 8636594"/>
              <a:gd name="connsiteY16" fmla="*/ 6543344 h 6622937"/>
              <a:gd name="connsiteX17" fmla="*/ 2527618 w 8636594"/>
              <a:gd name="connsiteY17" fmla="*/ 6530269 h 6622937"/>
              <a:gd name="connsiteX18" fmla="*/ 2582304 w 8636594"/>
              <a:gd name="connsiteY18" fmla="*/ 6516778 h 6622937"/>
              <a:gd name="connsiteX19" fmla="*/ 2636364 w 8636594"/>
              <a:gd name="connsiteY19" fmla="*/ 6502876 h 6622937"/>
              <a:gd name="connsiteX20" fmla="*/ 2689804 w 8636594"/>
              <a:gd name="connsiteY20" fmla="*/ 6488565 h 6622937"/>
              <a:gd name="connsiteX21" fmla="*/ 2742629 w 8636594"/>
              <a:gd name="connsiteY21" fmla="*/ 6473849 h 6622937"/>
              <a:gd name="connsiteX22" fmla="*/ 2794848 w 8636594"/>
              <a:gd name="connsiteY22" fmla="*/ 6458731 h 6622937"/>
              <a:gd name="connsiteX23" fmla="*/ 2846466 w 8636594"/>
              <a:gd name="connsiteY23" fmla="*/ 6443216 h 6622937"/>
              <a:gd name="connsiteX24" fmla="*/ 2897488 w 8636594"/>
              <a:gd name="connsiteY24" fmla="*/ 6427305 h 6622937"/>
              <a:gd name="connsiteX25" fmla="*/ 2947923 w 8636594"/>
              <a:gd name="connsiteY25" fmla="*/ 6411004 h 6622937"/>
              <a:gd name="connsiteX26" fmla="*/ 2997775 w 8636594"/>
              <a:gd name="connsiteY26" fmla="*/ 6394316 h 6622937"/>
              <a:gd name="connsiteX27" fmla="*/ 3047052 w 8636594"/>
              <a:gd name="connsiteY27" fmla="*/ 6377243 h 6622937"/>
              <a:gd name="connsiteX28" fmla="*/ 3095759 w 8636594"/>
              <a:gd name="connsiteY28" fmla="*/ 6359791 h 6622937"/>
              <a:gd name="connsiteX29" fmla="*/ 3143903 w 8636594"/>
              <a:gd name="connsiteY29" fmla="*/ 6341961 h 6622937"/>
              <a:gd name="connsiteX30" fmla="*/ 3191491 w 8636594"/>
              <a:gd name="connsiteY30" fmla="*/ 6323757 h 6622937"/>
              <a:gd name="connsiteX31" fmla="*/ 3238528 w 8636594"/>
              <a:gd name="connsiteY31" fmla="*/ 6305184 h 6622937"/>
              <a:gd name="connsiteX32" fmla="*/ 3285021 w 8636594"/>
              <a:gd name="connsiteY32" fmla="*/ 6286245 h 6622937"/>
              <a:gd name="connsiteX33" fmla="*/ 3330977 w 8636594"/>
              <a:gd name="connsiteY33" fmla="*/ 6266942 h 6622937"/>
              <a:gd name="connsiteX34" fmla="*/ 3376401 w 8636594"/>
              <a:gd name="connsiteY34" fmla="*/ 6247281 h 6622937"/>
              <a:gd name="connsiteX35" fmla="*/ 3421300 w 8636594"/>
              <a:gd name="connsiteY35" fmla="*/ 6227263 h 6622937"/>
              <a:gd name="connsiteX36" fmla="*/ 3465680 w 8636594"/>
              <a:gd name="connsiteY36" fmla="*/ 6206893 h 6622937"/>
              <a:gd name="connsiteX37" fmla="*/ 3509548 w 8636594"/>
              <a:gd name="connsiteY37" fmla="*/ 6186174 h 6622937"/>
              <a:gd name="connsiteX38" fmla="*/ 3552910 w 8636594"/>
              <a:gd name="connsiteY38" fmla="*/ 6165110 h 6622937"/>
              <a:gd name="connsiteX39" fmla="*/ 3595773 w 8636594"/>
              <a:gd name="connsiteY39" fmla="*/ 6143704 h 6622937"/>
              <a:gd name="connsiteX40" fmla="*/ 3638142 w 8636594"/>
              <a:gd name="connsiteY40" fmla="*/ 6121960 h 6622937"/>
              <a:gd name="connsiteX41" fmla="*/ 3680024 w 8636594"/>
              <a:gd name="connsiteY41" fmla="*/ 6099881 h 6622937"/>
              <a:gd name="connsiteX42" fmla="*/ 3721426 w 8636594"/>
              <a:gd name="connsiteY42" fmla="*/ 6077471 h 6622937"/>
              <a:gd name="connsiteX43" fmla="*/ 3762353 w 8636594"/>
              <a:gd name="connsiteY43" fmla="*/ 6054733 h 6622937"/>
              <a:gd name="connsiteX44" fmla="*/ 3802812 w 8636594"/>
              <a:gd name="connsiteY44" fmla="*/ 6031671 h 6622937"/>
              <a:gd name="connsiteX45" fmla="*/ 3842810 w 8636594"/>
              <a:gd name="connsiteY45" fmla="*/ 6008288 h 6622937"/>
              <a:gd name="connsiteX46" fmla="*/ 3882352 w 8636594"/>
              <a:gd name="connsiteY46" fmla="*/ 5984588 h 6622937"/>
              <a:gd name="connsiteX47" fmla="*/ 3921445 w 8636594"/>
              <a:gd name="connsiteY47" fmla="*/ 5960574 h 6622937"/>
              <a:gd name="connsiteX48" fmla="*/ 3960096 w 8636594"/>
              <a:gd name="connsiteY48" fmla="*/ 5936250 h 6622937"/>
              <a:gd name="connsiteX49" fmla="*/ 3998311 w 8636594"/>
              <a:gd name="connsiteY49" fmla="*/ 5911619 h 6622937"/>
              <a:gd name="connsiteX50" fmla="*/ 4036095 w 8636594"/>
              <a:gd name="connsiteY50" fmla="*/ 5886685 h 6622937"/>
              <a:gd name="connsiteX51" fmla="*/ 4073456 w 8636594"/>
              <a:gd name="connsiteY51" fmla="*/ 5861452 h 6622937"/>
              <a:gd name="connsiteX52" fmla="*/ 4110400 w 8636594"/>
              <a:gd name="connsiteY52" fmla="*/ 5835922 h 6622937"/>
              <a:gd name="connsiteX53" fmla="*/ 4146933 w 8636594"/>
              <a:gd name="connsiteY53" fmla="*/ 5810100 h 6622937"/>
              <a:gd name="connsiteX54" fmla="*/ 4183061 w 8636594"/>
              <a:gd name="connsiteY54" fmla="*/ 5783988 h 6622937"/>
              <a:gd name="connsiteX55" fmla="*/ 4218791 w 8636594"/>
              <a:gd name="connsiteY55" fmla="*/ 5757591 h 6622937"/>
              <a:gd name="connsiteX56" fmla="*/ 4254129 w 8636594"/>
              <a:gd name="connsiteY56" fmla="*/ 5730912 h 6622937"/>
              <a:gd name="connsiteX57" fmla="*/ 4289081 w 8636594"/>
              <a:gd name="connsiteY57" fmla="*/ 5703955 h 6622937"/>
              <a:gd name="connsiteX58" fmla="*/ 4323654 w 8636594"/>
              <a:gd name="connsiteY58" fmla="*/ 5676722 h 6622937"/>
              <a:gd name="connsiteX59" fmla="*/ 4357854 w 8636594"/>
              <a:gd name="connsiteY59" fmla="*/ 5649218 h 6622937"/>
              <a:gd name="connsiteX60" fmla="*/ 4391688 w 8636594"/>
              <a:gd name="connsiteY60" fmla="*/ 5621446 h 6622937"/>
              <a:gd name="connsiteX61" fmla="*/ 4425162 w 8636594"/>
              <a:gd name="connsiteY61" fmla="*/ 5593409 h 6622937"/>
              <a:gd name="connsiteX62" fmla="*/ 4458281 w 8636594"/>
              <a:gd name="connsiteY62" fmla="*/ 5565111 h 6622937"/>
              <a:gd name="connsiteX63" fmla="*/ 4491053 w 8636594"/>
              <a:gd name="connsiteY63" fmla="*/ 5536556 h 6622937"/>
              <a:gd name="connsiteX64" fmla="*/ 4523484 w 8636594"/>
              <a:gd name="connsiteY64" fmla="*/ 5507747 h 6622937"/>
              <a:gd name="connsiteX65" fmla="*/ 4555580 w 8636594"/>
              <a:gd name="connsiteY65" fmla="*/ 5478687 h 6622937"/>
              <a:gd name="connsiteX66" fmla="*/ 4587347 w 8636594"/>
              <a:gd name="connsiteY66" fmla="*/ 5449380 h 6622937"/>
              <a:gd name="connsiteX67" fmla="*/ 4618793 w 8636594"/>
              <a:gd name="connsiteY67" fmla="*/ 5419830 h 6622937"/>
              <a:gd name="connsiteX68" fmla="*/ 4649922 w 8636594"/>
              <a:gd name="connsiteY68" fmla="*/ 5390040 h 6622937"/>
              <a:gd name="connsiteX69" fmla="*/ 4680742 w 8636594"/>
              <a:gd name="connsiteY69" fmla="*/ 5360014 h 6622937"/>
              <a:gd name="connsiteX70" fmla="*/ 4711259 w 8636594"/>
              <a:gd name="connsiteY70" fmla="*/ 5329755 h 6622937"/>
              <a:gd name="connsiteX71" fmla="*/ 4741478 w 8636594"/>
              <a:gd name="connsiteY71" fmla="*/ 5299266 h 6622937"/>
              <a:gd name="connsiteX72" fmla="*/ 4771408 w 8636594"/>
              <a:gd name="connsiteY72" fmla="*/ 5268551 h 6622937"/>
              <a:gd name="connsiteX73" fmla="*/ 4801053 w 8636594"/>
              <a:gd name="connsiteY73" fmla="*/ 5237614 h 6622937"/>
              <a:gd name="connsiteX74" fmla="*/ 4830420 w 8636594"/>
              <a:gd name="connsiteY74" fmla="*/ 5206458 h 6622937"/>
              <a:gd name="connsiteX75" fmla="*/ 4859516 w 8636594"/>
              <a:gd name="connsiteY75" fmla="*/ 5175087 h 6622937"/>
              <a:gd name="connsiteX76" fmla="*/ 4888347 w 8636594"/>
              <a:gd name="connsiteY76" fmla="*/ 5143504 h 6622937"/>
              <a:gd name="connsiteX77" fmla="*/ 4916919 w 8636594"/>
              <a:gd name="connsiteY77" fmla="*/ 5111713 h 6622937"/>
              <a:gd name="connsiteX78" fmla="*/ 4945238 w 8636594"/>
              <a:gd name="connsiteY78" fmla="*/ 5079717 h 6622937"/>
              <a:gd name="connsiteX79" fmla="*/ 4973311 w 8636594"/>
              <a:gd name="connsiteY79" fmla="*/ 5047519 h 6622937"/>
              <a:gd name="connsiteX80" fmla="*/ 5001145 w 8636594"/>
              <a:gd name="connsiteY80" fmla="*/ 5015124 h 6622937"/>
              <a:gd name="connsiteX81" fmla="*/ 5028745 w 8636594"/>
              <a:gd name="connsiteY81" fmla="*/ 4982535 h 6622937"/>
              <a:gd name="connsiteX82" fmla="*/ 5056117 w 8636594"/>
              <a:gd name="connsiteY82" fmla="*/ 4949755 h 6622937"/>
              <a:gd name="connsiteX83" fmla="*/ 5083269 w 8636594"/>
              <a:gd name="connsiteY83" fmla="*/ 4916787 h 6622937"/>
              <a:gd name="connsiteX84" fmla="*/ 5110207 w 8636594"/>
              <a:gd name="connsiteY84" fmla="*/ 4883636 h 6622937"/>
              <a:gd name="connsiteX85" fmla="*/ 5136937 w 8636594"/>
              <a:gd name="connsiteY85" fmla="*/ 4850305 h 6622937"/>
              <a:gd name="connsiteX86" fmla="*/ 5163464 w 8636594"/>
              <a:gd name="connsiteY86" fmla="*/ 4816797 h 6622937"/>
              <a:gd name="connsiteX87" fmla="*/ 5215940 w 8636594"/>
              <a:gd name="connsiteY87" fmla="*/ 4749265 h 6622937"/>
              <a:gd name="connsiteX88" fmla="*/ 5267684 w 8636594"/>
              <a:gd name="connsiteY88" fmla="*/ 4681068 h 6622937"/>
              <a:gd name="connsiteX89" fmla="*/ 5318748 w 8636594"/>
              <a:gd name="connsiteY89" fmla="*/ 4612234 h 6622937"/>
              <a:gd name="connsiteX90" fmla="*/ 5369182 w 8636594"/>
              <a:gd name="connsiteY90" fmla="*/ 4542793 h 6622937"/>
              <a:gd name="connsiteX91" fmla="*/ 5419038 w 8636594"/>
              <a:gd name="connsiteY91" fmla="*/ 4472771 h 6622937"/>
              <a:gd name="connsiteX92" fmla="*/ 5468365 w 8636594"/>
              <a:gd name="connsiteY92" fmla="*/ 4402196 h 6622937"/>
              <a:gd name="connsiteX93" fmla="*/ 5517215 w 8636594"/>
              <a:gd name="connsiteY93" fmla="*/ 4331098 h 6622937"/>
              <a:gd name="connsiteX94" fmla="*/ 5565637 w 8636594"/>
              <a:gd name="connsiteY94" fmla="*/ 4259503 h 6622937"/>
              <a:gd name="connsiteX95" fmla="*/ 5613684 w 8636594"/>
              <a:gd name="connsiteY95" fmla="*/ 4187441 h 6622937"/>
              <a:gd name="connsiteX96" fmla="*/ 5685160 w 8636594"/>
              <a:gd name="connsiteY96" fmla="*/ 4078531 h 6622937"/>
              <a:gd name="connsiteX97" fmla="*/ 5756074 w 8636594"/>
              <a:gd name="connsiteY97" fmla="*/ 3968727 h 6622937"/>
              <a:gd name="connsiteX98" fmla="*/ 5873483 w 8636594"/>
              <a:gd name="connsiteY98" fmla="*/ 3783989 h 6622937"/>
              <a:gd name="connsiteX99" fmla="*/ 6203209 w 8636594"/>
              <a:gd name="connsiteY99" fmla="*/ 3258640 h 6622937"/>
              <a:gd name="connsiteX100" fmla="*/ 6299430 w 8636594"/>
              <a:gd name="connsiteY100" fmla="*/ 3107321 h 6622937"/>
              <a:gd name="connsiteX101" fmla="*/ 6372650 w 8636594"/>
              <a:gd name="connsiteY101" fmla="*/ 2993735 h 6622937"/>
              <a:gd name="connsiteX102" fmla="*/ 6453197 w 8636594"/>
              <a:gd name="connsiteY102" fmla="*/ 2869788 h 6622937"/>
              <a:gd name="connsiteX103" fmla="*/ 6564167 w 8636594"/>
              <a:gd name="connsiteY103" fmla="*/ 2696807 h 6622937"/>
              <a:gd name="connsiteX104" fmla="*/ 6976233 w 8636594"/>
              <a:gd name="connsiteY104" fmla="*/ 2045274 h 6622937"/>
              <a:gd name="connsiteX105" fmla="*/ 7086755 w 8636594"/>
              <a:gd name="connsiteY105" fmla="*/ 1872743 h 6622937"/>
              <a:gd name="connsiteX106" fmla="*/ 7170279 w 8636594"/>
              <a:gd name="connsiteY106" fmla="*/ 1744202 h 6622937"/>
              <a:gd name="connsiteX107" fmla="*/ 7226351 w 8636594"/>
              <a:gd name="connsiteY107" fmla="*/ 1659017 h 6622937"/>
              <a:gd name="connsiteX108" fmla="*/ 7282789 w 8636594"/>
              <a:gd name="connsiteY108" fmla="*/ 1574303 h 6622937"/>
              <a:gd name="connsiteX109" fmla="*/ 7339643 w 8636594"/>
              <a:gd name="connsiteY109" fmla="*/ 1490113 h 6622937"/>
              <a:gd name="connsiteX110" fmla="*/ 7396957 w 8636594"/>
              <a:gd name="connsiteY110" fmla="*/ 1406503 h 6622937"/>
              <a:gd name="connsiteX111" fmla="*/ 7454781 w 8636594"/>
              <a:gd name="connsiteY111" fmla="*/ 1323526 h 6622937"/>
              <a:gd name="connsiteX112" fmla="*/ 7513161 w 8636594"/>
              <a:gd name="connsiteY112" fmla="*/ 1241237 h 6622937"/>
              <a:gd name="connsiteX113" fmla="*/ 7572144 w 8636594"/>
              <a:gd name="connsiteY113" fmla="*/ 1159689 h 6622937"/>
              <a:gd name="connsiteX114" fmla="*/ 7601877 w 8636594"/>
              <a:gd name="connsiteY114" fmla="*/ 1119210 h 6622937"/>
              <a:gd name="connsiteX115" fmla="*/ 7631779 w 8636594"/>
              <a:gd name="connsiteY115" fmla="*/ 1078937 h 6622937"/>
              <a:gd name="connsiteX116" fmla="*/ 7661855 w 8636594"/>
              <a:gd name="connsiteY116" fmla="*/ 1038876 h 6622937"/>
              <a:gd name="connsiteX117" fmla="*/ 7692111 w 8636594"/>
              <a:gd name="connsiteY117" fmla="*/ 999035 h 6622937"/>
              <a:gd name="connsiteX118" fmla="*/ 7722554 w 8636594"/>
              <a:gd name="connsiteY118" fmla="*/ 959419 h 6622937"/>
              <a:gd name="connsiteX119" fmla="*/ 7753190 w 8636594"/>
              <a:gd name="connsiteY119" fmla="*/ 920037 h 6622937"/>
              <a:gd name="connsiteX120" fmla="*/ 7784023 w 8636594"/>
              <a:gd name="connsiteY120" fmla="*/ 880894 h 6622937"/>
              <a:gd name="connsiteX121" fmla="*/ 7815061 w 8636594"/>
              <a:gd name="connsiteY121" fmla="*/ 841997 h 6622937"/>
              <a:gd name="connsiteX122" fmla="*/ 7846308 w 8636594"/>
              <a:gd name="connsiteY122" fmla="*/ 803354 h 6622937"/>
              <a:gd name="connsiteX123" fmla="*/ 7877772 w 8636594"/>
              <a:gd name="connsiteY123" fmla="*/ 764970 h 6622937"/>
              <a:gd name="connsiteX124" fmla="*/ 7909458 w 8636594"/>
              <a:gd name="connsiteY124" fmla="*/ 726853 h 6622937"/>
              <a:gd name="connsiteX125" fmla="*/ 7941371 w 8636594"/>
              <a:gd name="connsiteY125" fmla="*/ 689010 h 6622937"/>
              <a:gd name="connsiteX126" fmla="*/ 7973518 w 8636594"/>
              <a:gd name="connsiteY126" fmla="*/ 651447 h 6622937"/>
              <a:gd name="connsiteX127" fmla="*/ 8005905 w 8636594"/>
              <a:gd name="connsiteY127" fmla="*/ 614171 h 6622937"/>
              <a:gd name="connsiteX128" fmla="*/ 8038538 w 8636594"/>
              <a:gd name="connsiteY128" fmla="*/ 577189 h 6622937"/>
              <a:gd name="connsiteX129" fmla="*/ 8071421 w 8636594"/>
              <a:gd name="connsiteY129" fmla="*/ 540507 h 6622937"/>
              <a:gd name="connsiteX130" fmla="*/ 8104563 w 8636594"/>
              <a:gd name="connsiteY130" fmla="*/ 504132 h 6622937"/>
              <a:gd name="connsiteX131" fmla="*/ 8137967 w 8636594"/>
              <a:gd name="connsiteY131" fmla="*/ 468072 h 6622937"/>
              <a:gd name="connsiteX132" fmla="*/ 8171641 w 8636594"/>
              <a:gd name="connsiteY132" fmla="*/ 432332 h 6622937"/>
              <a:gd name="connsiteX133" fmla="*/ 8205590 w 8636594"/>
              <a:gd name="connsiteY133" fmla="*/ 396920 h 6622937"/>
              <a:gd name="connsiteX134" fmla="*/ 8239820 w 8636594"/>
              <a:gd name="connsiteY134" fmla="*/ 361843 h 6622937"/>
              <a:gd name="connsiteX135" fmla="*/ 8274337 w 8636594"/>
              <a:gd name="connsiteY135" fmla="*/ 327107 h 6622937"/>
              <a:gd name="connsiteX136" fmla="*/ 8309147 w 8636594"/>
              <a:gd name="connsiteY136" fmla="*/ 292718 h 6622937"/>
              <a:gd name="connsiteX137" fmla="*/ 8344256 w 8636594"/>
              <a:gd name="connsiteY137" fmla="*/ 258685 h 6622937"/>
              <a:gd name="connsiteX138" fmla="*/ 8379669 w 8636594"/>
              <a:gd name="connsiteY138" fmla="*/ 225013 h 6622937"/>
              <a:gd name="connsiteX139" fmla="*/ 8415394 w 8636594"/>
              <a:gd name="connsiteY139" fmla="*/ 191709 h 6622937"/>
              <a:gd name="connsiteX140" fmla="*/ 8451434 w 8636594"/>
              <a:gd name="connsiteY140" fmla="*/ 158780 h 6622937"/>
              <a:gd name="connsiteX141" fmla="*/ 8487798 w 8636594"/>
              <a:gd name="connsiteY141" fmla="*/ 126233 h 6622937"/>
              <a:gd name="connsiteX142" fmla="*/ 8524489 w 8636594"/>
              <a:gd name="connsiteY142" fmla="*/ 94075 h 6622937"/>
              <a:gd name="connsiteX143" fmla="*/ 8561515 w 8636594"/>
              <a:gd name="connsiteY143" fmla="*/ 62312 h 6622937"/>
              <a:gd name="connsiteX144" fmla="*/ 8598881 w 8636594"/>
              <a:gd name="connsiteY144" fmla="*/ 30951 h 6622937"/>
              <a:gd name="connsiteX145" fmla="*/ 8636594 w 8636594"/>
              <a:gd name="connsiteY145"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12216 w 8636594"/>
              <a:gd name="connsiteY5" fmla="*/ 5587741 h 6622937"/>
              <a:gd name="connsiteX6" fmla="*/ 2490090 w 8636594"/>
              <a:gd name="connsiteY6" fmla="*/ 5591230 h 6622937"/>
              <a:gd name="connsiteX7" fmla="*/ 2561975 w 8636594"/>
              <a:gd name="connsiteY7" fmla="*/ 5533193 h 6622937"/>
              <a:gd name="connsiteX8" fmla="*/ 2066817 w 8636594"/>
              <a:gd name="connsiteY8" fmla="*/ 6622937 h 6622937"/>
              <a:gd name="connsiteX9" fmla="*/ 2126742 w 8636594"/>
              <a:gd name="connsiteY9" fmla="*/ 6612869 h 6622937"/>
              <a:gd name="connsiteX10" fmla="*/ 2185991 w 8636594"/>
              <a:gd name="connsiteY10" fmla="*/ 6602362 h 6622937"/>
              <a:gd name="connsiteX11" fmla="*/ 2244569 w 8636594"/>
              <a:gd name="connsiteY11" fmla="*/ 6591417 h 6622937"/>
              <a:gd name="connsiteX12" fmla="*/ 2302482 w 8636594"/>
              <a:gd name="connsiteY12" fmla="*/ 6580040 h 6622937"/>
              <a:gd name="connsiteX13" fmla="*/ 2359737 w 8636594"/>
              <a:gd name="connsiteY13" fmla="*/ 6568233 h 6622937"/>
              <a:gd name="connsiteX14" fmla="*/ 2416341 w 8636594"/>
              <a:gd name="connsiteY14" fmla="*/ 6555999 h 6622937"/>
              <a:gd name="connsiteX15" fmla="*/ 2472299 w 8636594"/>
              <a:gd name="connsiteY15" fmla="*/ 6543344 h 6622937"/>
              <a:gd name="connsiteX16" fmla="*/ 2527618 w 8636594"/>
              <a:gd name="connsiteY16" fmla="*/ 6530269 h 6622937"/>
              <a:gd name="connsiteX17" fmla="*/ 2582304 w 8636594"/>
              <a:gd name="connsiteY17" fmla="*/ 6516778 h 6622937"/>
              <a:gd name="connsiteX18" fmla="*/ 2636364 w 8636594"/>
              <a:gd name="connsiteY18" fmla="*/ 6502876 h 6622937"/>
              <a:gd name="connsiteX19" fmla="*/ 2689804 w 8636594"/>
              <a:gd name="connsiteY19" fmla="*/ 6488565 h 6622937"/>
              <a:gd name="connsiteX20" fmla="*/ 2742629 w 8636594"/>
              <a:gd name="connsiteY20" fmla="*/ 6473849 h 6622937"/>
              <a:gd name="connsiteX21" fmla="*/ 2794848 w 8636594"/>
              <a:gd name="connsiteY21" fmla="*/ 6458731 h 6622937"/>
              <a:gd name="connsiteX22" fmla="*/ 2846466 w 8636594"/>
              <a:gd name="connsiteY22" fmla="*/ 6443216 h 6622937"/>
              <a:gd name="connsiteX23" fmla="*/ 2897488 w 8636594"/>
              <a:gd name="connsiteY23" fmla="*/ 6427305 h 6622937"/>
              <a:gd name="connsiteX24" fmla="*/ 2947923 w 8636594"/>
              <a:gd name="connsiteY24" fmla="*/ 6411004 h 6622937"/>
              <a:gd name="connsiteX25" fmla="*/ 2997775 w 8636594"/>
              <a:gd name="connsiteY25" fmla="*/ 6394316 h 6622937"/>
              <a:gd name="connsiteX26" fmla="*/ 3047052 w 8636594"/>
              <a:gd name="connsiteY26" fmla="*/ 6377243 h 6622937"/>
              <a:gd name="connsiteX27" fmla="*/ 3095759 w 8636594"/>
              <a:gd name="connsiteY27" fmla="*/ 6359791 h 6622937"/>
              <a:gd name="connsiteX28" fmla="*/ 3143903 w 8636594"/>
              <a:gd name="connsiteY28" fmla="*/ 6341961 h 6622937"/>
              <a:gd name="connsiteX29" fmla="*/ 3191491 w 8636594"/>
              <a:gd name="connsiteY29" fmla="*/ 6323757 h 6622937"/>
              <a:gd name="connsiteX30" fmla="*/ 3238528 w 8636594"/>
              <a:gd name="connsiteY30" fmla="*/ 6305184 h 6622937"/>
              <a:gd name="connsiteX31" fmla="*/ 3285021 w 8636594"/>
              <a:gd name="connsiteY31" fmla="*/ 6286245 h 6622937"/>
              <a:gd name="connsiteX32" fmla="*/ 3330977 w 8636594"/>
              <a:gd name="connsiteY32" fmla="*/ 6266942 h 6622937"/>
              <a:gd name="connsiteX33" fmla="*/ 3376401 w 8636594"/>
              <a:gd name="connsiteY33" fmla="*/ 6247281 h 6622937"/>
              <a:gd name="connsiteX34" fmla="*/ 3421300 w 8636594"/>
              <a:gd name="connsiteY34" fmla="*/ 6227263 h 6622937"/>
              <a:gd name="connsiteX35" fmla="*/ 3465680 w 8636594"/>
              <a:gd name="connsiteY35" fmla="*/ 6206893 h 6622937"/>
              <a:gd name="connsiteX36" fmla="*/ 3509548 w 8636594"/>
              <a:gd name="connsiteY36" fmla="*/ 6186174 h 6622937"/>
              <a:gd name="connsiteX37" fmla="*/ 3552910 w 8636594"/>
              <a:gd name="connsiteY37" fmla="*/ 6165110 h 6622937"/>
              <a:gd name="connsiteX38" fmla="*/ 3595773 w 8636594"/>
              <a:gd name="connsiteY38" fmla="*/ 6143704 h 6622937"/>
              <a:gd name="connsiteX39" fmla="*/ 3638142 w 8636594"/>
              <a:gd name="connsiteY39" fmla="*/ 6121960 h 6622937"/>
              <a:gd name="connsiteX40" fmla="*/ 3680024 w 8636594"/>
              <a:gd name="connsiteY40" fmla="*/ 6099881 h 6622937"/>
              <a:gd name="connsiteX41" fmla="*/ 3721426 w 8636594"/>
              <a:gd name="connsiteY41" fmla="*/ 6077471 h 6622937"/>
              <a:gd name="connsiteX42" fmla="*/ 3762353 w 8636594"/>
              <a:gd name="connsiteY42" fmla="*/ 6054733 h 6622937"/>
              <a:gd name="connsiteX43" fmla="*/ 3802812 w 8636594"/>
              <a:gd name="connsiteY43" fmla="*/ 6031671 h 6622937"/>
              <a:gd name="connsiteX44" fmla="*/ 3842810 w 8636594"/>
              <a:gd name="connsiteY44" fmla="*/ 6008288 h 6622937"/>
              <a:gd name="connsiteX45" fmla="*/ 3882352 w 8636594"/>
              <a:gd name="connsiteY45" fmla="*/ 5984588 h 6622937"/>
              <a:gd name="connsiteX46" fmla="*/ 3921445 w 8636594"/>
              <a:gd name="connsiteY46" fmla="*/ 5960574 h 6622937"/>
              <a:gd name="connsiteX47" fmla="*/ 3960096 w 8636594"/>
              <a:gd name="connsiteY47" fmla="*/ 5936250 h 6622937"/>
              <a:gd name="connsiteX48" fmla="*/ 3998311 w 8636594"/>
              <a:gd name="connsiteY48" fmla="*/ 5911619 h 6622937"/>
              <a:gd name="connsiteX49" fmla="*/ 4036095 w 8636594"/>
              <a:gd name="connsiteY49" fmla="*/ 5886685 h 6622937"/>
              <a:gd name="connsiteX50" fmla="*/ 4073456 w 8636594"/>
              <a:gd name="connsiteY50" fmla="*/ 5861452 h 6622937"/>
              <a:gd name="connsiteX51" fmla="*/ 4110400 w 8636594"/>
              <a:gd name="connsiteY51" fmla="*/ 5835922 h 6622937"/>
              <a:gd name="connsiteX52" fmla="*/ 4146933 w 8636594"/>
              <a:gd name="connsiteY52" fmla="*/ 5810100 h 6622937"/>
              <a:gd name="connsiteX53" fmla="*/ 4183061 w 8636594"/>
              <a:gd name="connsiteY53" fmla="*/ 5783988 h 6622937"/>
              <a:gd name="connsiteX54" fmla="*/ 4218791 w 8636594"/>
              <a:gd name="connsiteY54" fmla="*/ 5757591 h 6622937"/>
              <a:gd name="connsiteX55" fmla="*/ 4254129 w 8636594"/>
              <a:gd name="connsiteY55" fmla="*/ 5730912 h 6622937"/>
              <a:gd name="connsiteX56" fmla="*/ 4289081 w 8636594"/>
              <a:gd name="connsiteY56" fmla="*/ 5703955 h 6622937"/>
              <a:gd name="connsiteX57" fmla="*/ 4323654 w 8636594"/>
              <a:gd name="connsiteY57" fmla="*/ 5676722 h 6622937"/>
              <a:gd name="connsiteX58" fmla="*/ 4357854 w 8636594"/>
              <a:gd name="connsiteY58" fmla="*/ 5649218 h 6622937"/>
              <a:gd name="connsiteX59" fmla="*/ 4391688 w 8636594"/>
              <a:gd name="connsiteY59" fmla="*/ 5621446 h 6622937"/>
              <a:gd name="connsiteX60" fmla="*/ 4425162 w 8636594"/>
              <a:gd name="connsiteY60" fmla="*/ 5593409 h 6622937"/>
              <a:gd name="connsiteX61" fmla="*/ 4458281 w 8636594"/>
              <a:gd name="connsiteY61" fmla="*/ 5565111 h 6622937"/>
              <a:gd name="connsiteX62" fmla="*/ 4491053 w 8636594"/>
              <a:gd name="connsiteY62" fmla="*/ 5536556 h 6622937"/>
              <a:gd name="connsiteX63" fmla="*/ 4523484 w 8636594"/>
              <a:gd name="connsiteY63" fmla="*/ 5507747 h 6622937"/>
              <a:gd name="connsiteX64" fmla="*/ 4555580 w 8636594"/>
              <a:gd name="connsiteY64" fmla="*/ 5478687 h 6622937"/>
              <a:gd name="connsiteX65" fmla="*/ 4587347 w 8636594"/>
              <a:gd name="connsiteY65" fmla="*/ 5449380 h 6622937"/>
              <a:gd name="connsiteX66" fmla="*/ 4618793 w 8636594"/>
              <a:gd name="connsiteY66" fmla="*/ 5419830 h 6622937"/>
              <a:gd name="connsiteX67" fmla="*/ 4649922 w 8636594"/>
              <a:gd name="connsiteY67" fmla="*/ 5390040 h 6622937"/>
              <a:gd name="connsiteX68" fmla="*/ 4680742 w 8636594"/>
              <a:gd name="connsiteY68" fmla="*/ 5360014 h 6622937"/>
              <a:gd name="connsiteX69" fmla="*/ 4711259 w 8636594"/>
              <a:gd name="connsiteY69" fmla="*/ 5329755 h 6622937"/>
              <a:gd name="connsiteX70" fmla="*/ 4741478 w 8636594"/>
              <a:gd name="connsiteY70" fmla="*/ 5299266 h 6622937"/>
              <a:gd name="connsiteX71" fmla="*/ 4771408 w 8636594"/>
              <a:gd name="connsiteY71" fmla="*/ 5268551 h 6622937"/>
              <a:gd name="connsiteX72" fmla="*/ 4801053 w 8636594"/>
              <a:gd name="connsiteY72" fmla="*/ 5237614 h 6622937"/>
              <a:gd name="connsiteX73" fmla="*/ 4830420 w 8636594"/>
              <a:gd name="connsiteY73" fmla="*/ 5206458 h 6622937"/>
              <a:gd name="connsiteX74" fmla="*/ 4859516 w 8636594"/>
              <a:gd name="connsiteY74" fmla="*/ 5175087 h 6622937"/>
              <a:gd name="connsiteX75" fmla="*/ 4888347 w 8636594"/>
              <a:gd name="connsiteY75" fmla="*/ 5143504 h 6622937"/>
              <a:gd name="connsiteX76" fmla="*/ 4916919 w 8636594"/>
              <a:gd name="connsiteY76" fmla="*/ 5111713 h 6622937"/>
              <a:gd name="connsiteX77" fmla="*/ 4945238 w 8636594"/>
              <a:gd name="connsiteY77" fmla="*/ 5079717 h 6622937"/>
              <a:gd name="connsiteX78" fmla="*/ 4973311 w 8636594"/>
              <a:gd name="connsiteY78" fmla="*/ 5047519 h 6622937"/>
              <a:gd name="connsiteX79" fmla="*/ 5001145 w 8636594"/>
              <a:gd name="connsiteY79" fmla="*/ 5015124 h 6622937"/>
              <a:gd name="connsiteX80" fmla="*/ 5028745 w 8636594"/>
              <a:gd name="connsiteY80" fmla="*/ 4982535 h 6622937"/>
              <a:gd name="connsiteX81" fmla="*/ 5056117 w 8636594"/>
              <a:gd name="connsiteY81" fmla="*/ 4949755 h 6622937"/>
              <a:gd name="connsiteX82" fmla="*/ 5083269 w 8636594"/>
              <a:gd name="connsiteY82" fmla="*/ 4916787 h 6622937"/>
              <a:gd name="connsiteX83" fmla="*/ 5110207 w 8636594"/>
              <a:gd name="connsiteY83" fmla="*/ 4883636 h 6622937"/>
              <a:gd name="connsiteX84" fmla="*/ 5136937 w 8636594"/>
              <a:gd name="connsiteY84" fmla="*/ 4850305 h 6622937"/>
              <a:gd name="connsiteX85" fmla="*/ 5163464 w 8636594"/>
              <a:gd name="connsiteY85" fmla="*/ 4816797 h 6622937"/>
              <a:gd name="connsiteX86" fmla="*/ 5215940 w 8636594"/>
              <a:gd name="connsiteY86" fmla="*/ 4749265 h 6622937"/>
              <a:gd name="connsiteX87" fmla="*/ 5267684 w 8636594"/>
              <a:gd name="connsiteY87" fmla="*/ 4681068 h 6622937"/>
              <a:gd name="connsiteX88" fmla="*/ 5318748 w 8636594"/>
              <a:gd name="connsiteY88" fmla="*/ 4612234 h 6622937"/>
              <a:gd name="connsiteX89" fmla="*/ 5369182 w 8636594"/>
              <a:gd name="connsiteY89" fmla="*/ 4542793 h 6622937"/>
              <a:gd name="connsiteX90" fmla="*/ 5419038 w 8636594"/>
              <a:gd name="connsiteY90" fmla="*/ 4472771 h 6622937"/>
              <a:gd name="connsiteX91" fmla="*/ 5468365 w 8636594"/>
              <a:gd name="connsiteY91" fmla="*/ 4402196 h 6622937"/>
              <a:gd name="connsiteX92" fmla="*/ 5517215 w 8636594"/>
              <a:gd name="connsiteY92" fmla="*/ 4331098 h 6622937"/>
              <a:gd name="connsiteX93" fmla="*/ 5565637 w 8636594"/>
              <a:gd name="connsiteY93" fmla="*/ 4259503 h 6622937"/>
              <a:gd name="connsiteX94" fmla="*/ 5613684 w 8636594"/>
              <a:gd name="connsiteY94" fmla="*/ 4187441 h 6622937"/>
              <a:gd name="connsiteX95" fmla="*/ 5685160 w 8636594"/>
              <a:gd name="connsiteY95" fmla="*/ 4078531 h 6622937"/>
              <a:gd name="connsiteX96" fmla="*/ 5756074 w 8636594"/>
              <a:gd name="connsiteY96" fmla="*/ 3968727 h 6622937"/>
              <a:gd name="connsiteX97" fmla="*/ 5873483 w 8636594"/>
              <a:gd name="connsiteY97" fmla="*/ 3783989 h 6622937"/>
              <a:gd name="connsiteX98" fmla="*/ 6203209 w 8636594"/>
              <a:gd name="connsiteY98" fmla="*/ 3258640 h 6622937"/>
              <a:gd name="connsiteX99" fmla="*/ 6299430 w 8636594"/>
              <a:gd name="connsiteY99" fmla="*/ 3107321 h 6622937"/>
              <a:gd name="connsiteX100" fmla="*/ 6372650 w 8636594"/>
              <a:gd name="connsiteY100" fmla="*/ 2993735 h 6622937"/>
              <a:gd name="connsiteX101" fmla="*/ 6453197 w 8636594"/>
              <a:gd name="connsiteY101" fmla="*/ 2869788 h 6622937"/>
              <a:gd name="connsiteX102" fmla="*/ 6564167 w 8636594"/>
              <a:gd name="connsiteY102" fmla="*/ 2696807 h 6622937"/>
              <a:gd name="connsiteX103" fmla="*/ 6976233 w 8636594"/>
              <a:gd name="connsiteY103" fmla="*/ 2045274 h 6622937"/>
              <a:gd name="connsiteX104" fmla="*/ 7086755 w 8636594"/>
              <a:gd name="connsiteY104" fmla="*/ 1872743 h 6622937"/>
              <a:gd name="connsiteX105" fmla="*/ 7170279 w 8636594"/>
              <a:gd name="connsiteY105" fmla="*/ 1744202 h 6622937"/>
              <a:gd name="connsiteX106" fmla="*/ 7226351 w 8636594"/>
              <a:gd name="connsiteY106" fmla="*/ 1659017 h 6622937"/>
              <a:gd name="connsiteX107" fmla="*/ 7282789 w 8636594"/>
              <a:gd name="connsiteY107" fmla="*/ 1574303 h 6622937"/>
              <a:gd name="connsiteX108" fmla="*/ 7339643 w 8636594"/>
              <a:gd name="connsiteY108" fmla="*/ 1490113 h 6622937"/>
              <a:gd name="connsiteX109" fmla="*/ 7396957 w 8636594"/>
              <a:gd name="connsiteY109" fmla="*/ 1406503 h 6622937"/>
              <a:gd name="connsiteX110" fmla="*/ 7454781 w 8636594"/>
              <a:gd name="connsiteY110" fmla="*/ 1323526 h 6622937"/>
              <a:gd name="connsiteX111" fmla="*/ 7513161 w 8636594"/>
              <a:gd name="connsiteY111" fmla="*/ 1241237 h 6622937"/>
              <a:gd name="connsiteX112" fmla="*/ 7572144 w 8636594"/>
              <a:gd name="connsiteY112" fmla="*/ 1159689 h 6622937"/>
              <a:gd name="connsiteX113" fmla="*/ 7601877 w 8636594"/>
              <a:gd name="connsiteY113" fmla="*/ 1119210 h 6622937"/>
              <a:gd name="connsiteX114" fmla="*/ 7631779 w 8636594"/>
              <a:gd name="connsiteY114" fmla="*/ 1078937 h 6622937"/>
              <a:gd name="connsiteX115" fmla="*/ 7661855 w 8636594"/>
              <a:gd name="connsiteY115" fmla="*/ 1038876 h 6622937"/>
              <a:gd name="connsiteX116" fmla="*/ 7692111 w 8636594"/>
              <a:gd name="connsiteY116" fmla="*/ 999035 h 6622937"/>
              <a:gd name="connsiteX117" fmla="*/ 7722554 w 8636594"/>
              <a:gd name="connsiteY117" fmla="*/ 959419 h 6622937"/>
              <a:gd name="connsiteX118" fmla="*/ 7753190 w 8636594"/>
              <a:gd name="connsiteY118" fmla="*/ 920037 h 6622937"/>
              <a:gd name="connsiteX119" fmla="*/ 7784023 w 8636594"/>
              <a:gd name="connsiteY119" fmla="*/ 880894 h 6622937"/>
              <a:gd name="connsiteX120" fmla="*/ 7815061 w 8636594"/>
              <a:gd name="connsiteY120" fmla="*/ 841997 h 6622937"/>
              <a:gd name="connsiteX121" fmla="*/ 7846308 w 8636594"/>
              <a:gd name="connsiteY121" fmla="*/ 803354 h 6622937"/>
              <a:gd name="connsiteX122" fmla="*/ 7877772 w 8636594"/>
              <a:gd name="connsiteY122" fmla="*/ 764970 h 6622937"/>
              <a:gd name="connsiteX123" fmla="*/ 7909458 w 8636594"/>
              <a:gd name="connsiteY123" fmla="*/ 726853 h 6622937"/>
              <a:gd name="connsiteX124" fmla="*/ 7941371 w 8636594"/>
              <a:gd name="connsiteY124" fmla="*/ 689010 h 6622937"/>
              <a:gd name="connsiteX125" fmla="*/ 7973518 w 8636594"/>
              <a:gd name="connsiteY125" fmla="*/ 651447 h 6622937"/>
              <a:gd name="connsiteX126" fmla="*/ 8005905 w 8636594"/>
              <a:gd name="connsiteY126" fmla="*/ 614171 h 6622937"/>
              <a:gd name="connsiteX127" fmla="*/ 8038538 w 8636594"/>
              <a:gd name="connsiteY127" fmla="*/ 577189 h 6622937"/>
              <a:gd name="connsiteX128" fmla="*/ 8071421 w 8636594"/>
              <a:gd name="connsiteY128" fmla="*/ 540507 h 6622937"/>
              <a:gd name="connsiteX129" fmla="*/ 8104563 w 8636594"/>
              <a:gd name="connsiteY129" fmla="*/ 504132 h 6622937"/>
              <a:gd name="connsiteX130" fmla="*/ 8137967 w 8636594"/>
              <a:gd name="connsiteY130" fmla="*/ 468072 h 6622937"/>
              <a:gd name="connsiteX131" fmla="*/ 8171641 w 8636594"/>
              <a:gd name="connsiteY131" fmla="*/ 432332 h 6622937"/>
              <a:gd name="connsiteX132" fmla="*/ 8205590 w 8636594"/>
              <a:gd name="connsiteY132" fmla="*/ 396920 h 6622937"/>
              <a:gd name="connsiteX133" fmla="*/ 8239820 w 8636594"/>
              <a:gd name="connsiteY133" fmla="*/ 361843 h 6622937"/>
              <a:gd name="connsiteX134" fmla="*/ 8274337 w 8636594"/>
              <a:gd name="connsiteY134" fmla="*/ 327107 h 6622937"/>
              <a:gd name="connsiteX135" fmla="*/ 8309147 w 8636594"/>
              <a:gd name="connsiteY135" fmla="*/ 292718 h 6622937"/>
              <a:gd name="connsiteX136" fmla="*/ 8344256 w 8636594"/>
              <a:gd name="connsiteY136" fmla="*/ 258685 h 6622937"/>
              <a:gd name="connsiteX137" fmla="*/ 8379669 w 8636594"/>
              <a:gd name="connsiteY137" fmla="*/ 225013 h 6622937"/>
              <a:gd name="connsiteX138" fmla="*/ 8415394 w 8636594"/>
              <a:gd name="connsiteY138" fmla="*/ 191709 h 6622937"/>
              <a:gd name="connsiteX139" fmla="*/ 8451434 w 8636594"/>
              <a:gd name="connsiteY139" fmla="*/ 158780 h 6622937"/>
              <a:gd name="connsiteX140" fmla="*/ 8487798 w 8636594"/>
              <a:gd name="connsiteY140" fmla="*/ 126233 h 6622937"/>
              <a:gd name="connsiteX141" fmla="*/ 8524489 w 8636594"/>
              <a:gd name="connsiteY141" fmla="*/ 94075 h 6622937"/>
              <a:gd name="connsiteX142" fmla="*/ 8561515 w 8636594"/>
              <a:gd name="connsiteY142" fmla="*/ 62312 h 6622937"/>
              <a:gd name="connsiteX143" fmla="*/ 8598881 w 8636594"/>
              <a:gd name="connsiteY143" fmla="*/ 30951 h 6622937"/>
              <a:gd name="connsiteX144" fmla="*/ 8636594 w 8636594"/>
              <a:gd name="connsiteY144"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90090 w 8636594"/>
              <a:gd name="connsiteY5" fmla="*/ 5591230 h 6622937"/>
              <a:gd name="connsiteX6" fmla="*/ 2561975 w 8636594"/>
              <a:gd name="connsiteY6" fmla="*/ 5533193 h 6622937"/>
              <a:gd name="connsiteX7" fmla="*/ 2066817 w 8636594"/>
              <a:gd name="connsiteY7" fmla="*/ 6622937 h 6622937"/>
              <a:gd name="connsiteX8" fmla="*/ 2126742 w 8636594"/>
              <a:gd name="connsiteY8" fmla="*/ 6612869 h 6622937"/>
              <a:gd name="connsiteX9" fmla="*/ 2185991 w 8636594"/>
              <a:gd name="connsiteY9" fmla="*/ 6602362 h 6622937"/>
              <a:gd name="connsiteX10" fmla="*/ 2244569 w 8636594"/>
              <a:gd name="connsiteY10" fmla="*/ 6591417 h 6622937"/>
              <a:gd name="connsiteX11" fmla="*/ 2302482 w 8636594"/>
              <a:gd name="connsiteY11" fmla="*/ 6580040 h 6622937"/>
              <a:gd name="connsiteX12" fmla="*/ 2359737 w 8636594"/>
              <a:gd name="connsiteY12" fmla="*/ 6568233 h 6622937"/>
              <a:gd name="connsiteX13" fmla="*/ 2416341 w 8636594"/>
              <a:gd name="connsiteY13" fmla="*/ 6555999 h 6622937"/>
              <a:gd name="connsiteX14" fmla="*/ 2472299 w 8636594"/>
              <a:gd name="connsiteY14" fmla="*/ 6543344 h 6622937"/>
              <a:gd name="connsiteX15" fmla="*/ 2527618 w 8636594"/>
              <a:gd name="connsiteY15" fmla="*/ 6530269 h 6622937"/>
              <a:gd name="connsiteX16" fmla="*/ 2582304 w 8636594"/>
              <a:gd name="connsiteY16" fmla="*/ 6516778 h 6622937"/>
              <a:gd name="connsiteX17" fmla="*/ 2636364 w 8636594"/>
              <a:gd name="connsiteY17" fmla="*/ 6502876 h 6622937"/>
              <a:gd name="connsiteX18" fmla="*/ 2689804 w 8636594"/>
              <a:gd name="connsiteY18" fmla="*/ 6488565 h 6622937"/>
              <a:gd name="connsiteX19" fmla="*/ 2742629 w 8636594"/>
              <a:gd name="connsiteY19" fmla="*/ 6473849 h 6622937"/>
              <a:gd name="connsiteX20" fmla="*/ 2794848 w 8636594"/>
              <a:gd name="connsiteY20" fmla="*/ 6458731 h 6622937"/>
              <a:gd name="connsiteX21" fmla="*/ 2846466 w 8636594"/>
              <a:gd name="connsiteY21" fmla="*/ 6443216 h 6622937"/>
              <a:gd name="connsiteX22" fmla="*/ 2897488 w 8636594"/>
              <a:gd name="connsiteY22" fmla="*/ 6427305 h 6622937"/>
              <a:gd name="connsiteX23" fmla="*/ 2947923 w 8636594"/>
              <a:gd name="connsiteY23" fmla="*/ 6411004 h 6622937"/>
              <a:gd name="connsiteX24" fmla="*/ 2997775 w 8636594"/>
              <a:gd name="connsiteY24" fmla="*/ 6394316 h 6622937"/>
              <a:gd name="connsiteX25" fmla="*/ 3047052 w 8636594"/>
              <a:gd name="connsiteY25" fmla="*/ 6377243 h 6622937"/>
              <a:gd name="connsiteX26" fmla="*/ 3095759 w 8636594"/>
              <a:gd name="connsiteY26" fmla="*/ 6359791 h 6622937"/>
              <a:gd name="connsiteX27" fmla="*/ 3143903 w 8636594"/>
              <a:gd name="connsiteY27" fmla="*/ 6341961 h 6622937"/>
              <a:gd name="connsiteX28" fmla="*/ 3191491 w 8636594"/>
              <a:gd name="connsiteY28" fmla="*/ 6323757 h 6622937"/>
              <a:gd name="connsiteX29" fmla="*/ 3238528 w 8636594"/>
              <a:gd name="connsiteY29" fmla="*/ 6305184 h 6622937"/>
              <a:gd name="connsiteX30" fmla="*/ 3285021 w 8636594"/>
              <a:gd name="connsiteY30" fmla="*/ 6286245 h 6622937"/>
              <a:gd name="connsiteX31" fmla="*/ 3330977 w 8636594"/>
              <a:gd name="connsiteY31" fmla="*/ 6266942 h 6622937"/>
              <a:gd name="connsiteX32" fmla="*/ 3376401 w 8636594"/>
              <a:gd name="connsiteY32" fmla="*/ 6247281 h 6622937"/>
              <a:gd name="connsiteX33" fmla="*/ 3421300 w 8636594"/>
              <a:gd name="connsiteY33" fmla="*/ 6227263 h 6622937"/>
              <a:gd name="connsiteX34" fmla="*/ 3465680 w 8636594"/>
              <a:gd name="connsiteY34" fmla="*/ 6206893 h 6622937"/>
              <a:gd name="connsiteX35" fmla="*/ 3509548 w 8636594"/>
              <a:gd name="connsiteY35" fmla="*/ 6186174 h 6622937"/>
              <a:gd name="connsiteX36" fmla="*/ 3552910 w 8636594"/>
              <a:gd name="connsiteY36" fmla="*/ 6165110 h 6622937"/>
              <a:gd name="connsiteX37" fmla="*/ 3595773 w 8636594"/>
              <a:gd name="connsiteY37" fmla="*/ 6143704 h 6622937"/>
              <a:gd name="connsiteX38" fmla="*/ 3638142 w 8636594"/>
              <a:gd name="connsiteY38" fmla="*/ 6121960 h 6622937"/>
              <a:gd name="connsiteX39" fmla="*/ 3680024 w 8636594"/>
              <a:gd name="connsiteY39" fmla="*/ 6099881 h 6622937"/>
              <a:gd name="connsiteX40" fmla="*/ 3721426 w 8636594"/>
              <a:gd name="connsiteY40" fmla="*/ 6077471 h 6622937"/>
              <a:gd name="connsiteX41" fmla="*/ 3762353 w 8636594"/>
              <a:gd name="connsiteY41" fmla="*/ 6054733 h 6622937"/>
              <a:gd name="connsiteX42" fmla="*/ 3802812 w 8636594"/>
              <a:gd name="connsiteY42" fmla="*/ 6031671 h 6622937"/>
              <a:gd name="connsiteX43" fmla="*/ 3842810 w 8636594"/>
              <a:gd name="connsiteY43" fmla="*/ 6008288 h 6622937"/>
              <a:gd name="connsiteX44" fmla="*/ 3882352 w 8636594"/>
              <a:gd name="connsiteY44" fmla="*/ 5984588 h 6622937"/>
              <a:gd name="connsiteX45" fmla="*/ 3921445 w 8636594"/>
              <a:gd name="connsiteY45" fmla="*/ 5960574 h 6622937"/>
              <a:gd name="connsiteX46" fmla="*/ 3960096 w 8636594"/>
              <a:gd name="connsiteY46" fmla="*/ 5936250 h 6622937"/>
              <a:gd name="connsiteX47" fmla="*/ 3998311 w 8636594"/>
              <a:gd name="connsiteY47" fmla="*/ 5911619 h 6622937"/>
              <a:gd name="connsiteX48" fmla="*/ 4036095 w 8636594"/>
              <a:gd name="connsiteY48" fmla="*/ 5886685 h 6622937"/>
              <a:gd name="connsiteX49" fmla="*/ 4073456 w 8636594"/>
              <a:gd name="connsiteY49" fmla="*/ 5861452 h 6622937"/>
              <a:gd name="connsiteX50" fmla="*/ 4110400 w 8636594"/>
              <a:gd name="connsiteY50" fmla="*/ 5835922 h 6622937"/>
              <a:gd name="connsiteX51" fmla="*/ 4146933 w 8636594"/>
              <a:gd name="connsiteY51" fmla="*/ 5810100 h 6622937"/>
              <a:gd name="connsiteX52" fmla="*/ 4183061 w 8636594"/>
              <a:gd name="connsiteY52" fmla="*/ 5783988 h 6622937"/>
              <a:gd name="connsiteX53" fmla="*/ 4218791 w 8636594"/>
              <a:gd name="connsiteY53" fmla="*/ 5757591 h 6622937"/>
              <a:gd name="connsiteX54" fmla="*/ 4254129 w 8636594"/>
              <a:gd name="connsiteY54" fmla="*/ 5730912 h 6622937"/>
              <a:gd name="connsiteX55" fmla="*/ 4289081 w 8636594"/>
              <a:gd name="connsiteY55" fmla="*/ 5703955 h 6622937"/>
              <a:gd name="connsiteX56" fmla="*/ 4323654 w 8636594"/>
              <a:gd name="connsiteY56" fmla="*/ 5676722 h 6622937"/>
              <a:gd name="connsiteX57" fmla="*/ 4357854 w 8636594"/>
              <a:gd name="connsiteY57" fmla="*/ 5649218 h 6622937"/>
              <a:gd name="connsiteX58" fmla="*/ 4391688 w 8636594"/>
              <a:gd name="connsiteY58" fmla="*/ 5621446 h 6622937"/>
              <a:gd name="connsiteX59" fmla="*/ 4425162 w 8636594"/>
              <a:gd name="connsiteY59" fmla="*/ 5593409 h 6622937"/>
              <a:gd name="connsiteX60" fmla="*/ 4458281 w 8636594"/>
              <a:gd name="connsiteY60" fmla="*/ 5565111 h 6622937"/>
              <a:gd name="connsiteX61" fmla="*/ 4491053 w 8636594"/>
              <a:gd name="connsiteY61" fmla="*/ 5536556 h 6622937"/>
              <a:gd name="connsiteX62" fmla="*/ 4523484 w 8636594"/>
              <a:gd name="connsiteY62" fmla="*/ 5507747 h 6622937"/>
              <a:gd name="connsiteX63" fmla="*/ 4555580 w 8636594"/>
              <a:gd name="connsiteY63" fmla="*/ 5478687 h 6622937"/>
              <a:gd name="connsiteX64" fmla="*/ 4587347 w 8636594"/>
              <a:gd name="connsiteY64" fmla="*/ 5449380 h 6622937"/>
              <a:gd name="connsiteX65" fmla="*/ 4618793 w 8636594"/>
              <a:gd name="connsiteY65" fmla="*/ 5419830 h 6622937"/>
              <a:gd name="connsiteX66" fmla="*/ 4649922 w 8636594"/>
              <a:gd name="connsiteY66" fmla="*/ 5390040 h 6622937"/>
              <a:gd name="connsiteX67" fmla="*/ 4680742 w 8636594"/>
              <a:gd name="connsiteY67" fmla="*/ 5360014 h 6622937"/>
              <a:gd name="connsiteX68" fmla="*/ 4711259 w 8636594"/>
              <a:gd name="connsiteY68" fmla="*/ 5329755 h 6622937"/>
              <a:gd name="connsiteX69" fmla="*/ 4741478 w 8636594"/>
              <a:gd name="connsiteY69" fmla="*/ 5299266 h 6622937"/>
              <a:gd name="connsiteX70" fmla="*/ 4771408 w 8636594"/>
              <a:gd name="connsiteY70" fmla="*/ 5268551 h 6622937"/>
              <a:gd name="connsiteX71" fmla="*/ 4801053 w 8636594"/>
              <a:gd name="connsiteY71" fmla="*/ 5237614 h 6622937"/>
              <a:gd name="connsiteX72" fmla="*/ 4830420 w 8636594"/>
              <a:gd name="connsiteY72" fmla="*/ 5206458 h 6622937"/>
              <a:gd name="connsiteX73" fmla="*/ 4859516 w 8636594"/>
              <a:gd name="connsiteY73" fmla="*/ 5175087 h 6622937"/>
              <a:gd name="connsiteX74" fmla="*/ 4888347 w 8636594"/>
              <a:gd name="connsiteY74" fmla="*/ 5143504 h 6622937"/>
              <a:gd name="connsiteX75" fmla="*/ 4916919 w 8636594"/>
              <a:gd name="connsiteY75" fmla="*/ 5111713 h 6622937"/>
              <a:gd name="connsiteX76" fmla="*/ 4945238 w 8636594"/>
              <a:gd name="connsiteY76" fmla="*/ 5079717 h 6622937"/>
              <a:gd name="connsiteX77" fmla="*/ 4973311 w 8636594"/>
              <a:gd name="connsiteY77" fmla="*/ 5047519 h 6622937"/>
              <a:gd name="connsiteX78" fmla="*/ 5001145 w 8636594"/>
              <a:gd name="connsiteY78" fmla="*/ 5015124 h 6622937"/>
              <a:gd name="connsiteX79" fmla="*/ 5028745 w 8636594"/>
              <a:gd name="connsiteY79" fmla="*/ 4982535 h 6622937"/>
              <a:gd name="connsiteX80" fmla="*/ 5056117 w 8636594"/>
              <a:gd name="connsiteY80" fmla="*/ 4949755 h 6622937"/>
              <a:gd name="connsiteX81" fmla="*/ 5083269 w 8636594"/>
              <a:gd name="connsiteY81" fmla="*/ 4916787 h 6622937"/>
              <a:gd name="connsiteX82" fmla="*/ 5110207 w 8636594"/>
              <a:gd name="connsiteY82" fmla="*/ 4883636 h 6622937"/>
              <a:gd name="connsiteX83" fmla="*/ 5136937 w 8636594"/>
              <a:gd name="connsiteY83" fmla="*/ 4850305 h 6622937"/>
              <a:gd name="connsiteX84" fmla="*/ 5163464 w 8636594"/>
              <a:gd name="connsiteY84" fmla="*/ 4816797 h 6622937"/>
              <a:gd name="connsiteX85" fmla="*/ 5215940 w 8636594"/>
              <a:gd name="connsiteY85" fmla="*/ 4749265 h 6622937"/>
              <a:gd name="connsiteX86" fmla="*/ 5267684 w 8636594"/>
              <a:gd name="connsiteY86" fmla="*/ 4681068 h 6622937"/>
              <a:gd name="connsiteX87" fmla="*/ 5318748 w 8636594"/>
              <a:gd name="connsiteY87" fmla="*/ 4612234 h 6622937"/>
              <a:gd name="connsiteX88" fmla="*/ 5369182 w 8636594"/>
              <a:gd name="connsiteY88" fmla="*/ 4542793 h 6622937"/>
              <a:gd name="connsiteX89" fmla="*/ 5419038 w 8636594"/>
              <a:gd name="connsiteY89" fmla="*/ 4472771 h 6622937"/>
              <a:gd name="connsiteX90" fmla="*/ 5468365 w 8636594"/>
              <a:gd name="connsiteY90" fmla="*/ 4402196 h 6622937"/>
              <a:gd name="connsiteX91" fmla="*/ 5517215 w 8636594"/>
              <a:gd name="connsiteY91" fmla="*/ 4331098 h 6622937"/>
              <a:gd name="connsiteX92" fmla="*/ 5565637 w 8636594"/>
              <a:gd name="connsiteY92" fmla="*/ 4259503 h 6622937"/>
              <a:gd name="connsiteX93" fmla="*/ 5613684 w 8636594"/>
              <a:gd name="connsiteY93" fmla="*/ 4187441 h 6622937"/>
              <a:gd name="connsiteX94" fmla="*/ 5685160 w 8636594"/>
              <a:gd name="connsiteY94" fmla="*/ 4078531 h 6622937"/>
              <a:gd name="connsiteX95" fmla="*/ 5756074 w 8636594"/>
              <a:gd name="connsiteY95" fmla="*/ 3968727 h 6622937"/>
              <a:gd name="connsiteX96" fmla="*/ 5873483 w 8636594"/>
              <a:gd name="connsiteY96" fmla="*/ 3783989 h 6622937"/>
              <a:gd name="connsiteX97" fmla="*/ 6203209 w 8636594"/>
              <a:gd name="connsiteY97" fmla="*/ 3258640 h 6622937"/>
              <a:gd name="connsiteX98" fmla="*/ 6299430 w 8636594"/>
              <a:gd name="connsiteY98" fmla="*/ 3107321 h 6622937"/>
              <a:gd name="connsiteX99" fmla="*/ 6372650 w 8636594"/>
              <a:gd name="connsiteY99" fmla="*/ 2993735 h 6622937"/>
              <a:gd name="connsiteX100" fmla="*/ 6453197 w 8636594"/>
              <a:gd name="connsiteY100" fmla="*/ 2869788 h 6622937"/>
              <a:gd name="connsiteX101" fmla="*/ 6564167 w 8636594"/>
              <a:gd name="connsiteY101" fmla="*/ 2696807 h 6622937"/>
              <a:gd name="connsiteX102" fmla="*/ 6976233 w 8636594"/>
              <a:gd name="connsiteY102" fmla="*/ 2045274 h 6622937"/>
              <a:gd name="connsiteX103" fmla="*/ 7086755 w 8636594"/>
              <a:gd name="connsiteY103" fmla="*/ 1872743 h 6622937"/>
              <a:gd name="connsiteX104" fmla="*/ 7170279 w 8636594"/>
              <a:gd name="connsiteY104" fmla="*/ 1744202 h 6622937"/>
              <a:gd name="connsiteX105" fmla="*/ 7226351 w 8636594"/>
              <a:gd name="connsiteY105" fmla="*/ 1659017 h 6622937"/>
              <a:gd name="connsiteX106" fmla="*/ 7282789 w 8636594"/>
              <a:gd name="connsiteY106" fmla="*/ 1574303 h 6622937"/>
              <a:gd name="connsiteX107" fmla="*/ 7339643 w 8636594"/>
              <a:gd name="connsiteY107" fmla="*/ 1490113 h 6622937"/>
              <a:gd name="connsiteX108" fmla="*/ 7396957 w 8636594"/>
              <a:gd name="connsiteY108" fmla="*/ 1406503 h 6622937"/>
              <a:gd name="connsiteX109" fmla="*/ 7454781 w 8636594"/>
              <a:gd name="connsiteY109" fmla="*/ 1323526 h 6622937"/>
              <a:gd name="connsiteX110" fmla="*/ 7513161 w 8636594"/>
              <a:gd name="connsiteY110" fmla="*/ 1241237 h 6622937"/>
              <a:gd name="connsiteX111" fmla="*/ 7572144 w 8636594"/>
              <a:gd name="connsiteY111" fmla="*/ 1159689 h 6622937"/>
              <a:gd name="connsiteX112" fmla="*/ 7601877 w 8636594"/>
              <a:gd name="connsiteY112" fmla="*/ 1119210 h 6622937"/>
              <a:gd name="connsiteX113" fmla="*/ 7631779 w 8636594"/>
              <a:gd name="connsiteY113" fmla="*/ 1078937 h 6622937"/>
              <a:gd name="connsiteX114" fmla="*/ 7661855 w 8636594"/>
              <a:gd name="connsiteY114" fmla="*/ 1038876 h 6622937"/>
              <a:gd name="connsiteX115" fmla="*/ 7692111 w 8636594"/>
              <a:gd name="connsiteY115" fmla="*/ 999035 h 6622937"/>
              <a:gd name="connsiteX116" fmla="*/ 7722554 w 8636594"/>
              <a:gd name="connsiteY116" fmla="*/ 959419 h 6622937"/>
              <a:gd name="connsiteX117" fmla="*/ 7753190 w 8636594"/>
              <a:gd name="connsiteY117" fmla="*/ 920037 h 6622937"/>
              <a:gd name="connsiteX118" fmla="*/ 7784023 w 8636594"/>
              <a:gd name="connsiteY118" fmla="*/ 880894 h 6622937"/>
              <a:gd name="connsiteX119" fmla="*/ 7815061 w 8636594"/>
              <a:gd name="connsiteY119" fmla="*/ 841997 h 6622937"/>
              <a:gd name="connsiteX120" fmla="*/ 7846308 w 8636594"/>
              <a:gd name="connsiteY120" fmla="*/ 803354 h 6622937"/>
              <a:gd name="connsiteX121" fmla="*/ 7877772 w 8636594"/>
              <a:gd name="connsiteY121" fmla="*/ 764970 h 6622937"/>
              <a:gd name="connsiteX122" fmla="*/ 7909458 w 8636594"/>
              <a:gd name="connsiteY122" fmla="*/ 726853 h 6622937"/>
              <a:gd name="connsiteX123" fmla="*/ 7941371 w 8636594"/>
              <a:gd name="connsiteY123" fmla="*/ 689010 h 6622937"/>
              <a:gd name="connsiteX124" fmla="*/ 7973518 w 8636594"/>
              <a:gd name="connsiteY124" fmla="*/ 651447 h 6622937"/>
              <a:gd name="connsiteX125" fmla="*/ 8005905 w 8636594"/>
              <a:gd name="connsiteY125" fmla="*/ 614171 h 6622937"/>
              <a:gd name="connsiteX126" fmla="*/ 8038538 w 8636594"/>
              <a:gd name="connsiteY126" fmla="*/ 577189 h 6622937"/>
              <a:gd name="connsiteX127" fmla="*/ 8071421 w 8636594"/>
              <a:gd name="connsiteY127" fmla="*/ 540507 h 6622937"/>
              <a:gd name="connsiteX128" fmla="*/ 8104563 w 8636594"/>
              <a:gd name="connsiteY128" fmla="*/ 504132 h 6622937"/>
              <a:gd name="connsiteX129" fmla="*/ 8137967 w 8636594"/>
              <a:gd name="connsiteY129" fmla="*/ 468072 h 6622937"/>
              <a:gd name="connsiteX130" fmla="*/ 8171641 w 8636594"/>
              <a:gd name="connsiteY130" fmla="*/ 432332 h 6622937"/>
              <a:gd name="connsiteX131" fmla="*/ 8205590 w 8636594"/>
              <a:gd name="connsiteY131" fmla="*/ 396920 h 6622937"/>
              <a:gd name="connsiteX132" fmla="*/ 8239820 w 8636594"/>
              <a:gd name="connsiteY132" fmla="*/ 361843 h 6622937"/>
              <a:gd name="connsiteX133" fmla="*/ 8274337 w 8636594"/>
              <a:gd name="connsiteY133" fmla="*/ 327107 h 6622937"/>
              <a:gd name="connsiteX134" fmla="*/ 8309147 w 8636594"/>
              <a:gd name="connsiteY134" fmla="*/ 292718 h 6622937"/>
              <a:gd name="connsiteX135" fmla="*/ 8344256 w 8636594"/>
              <a:gd name="connsiteY135" fmla="*/ 258685 h 6622937"/>
              <a:gd name="connsiteX136" fmla="*/ 8379669 w 8636594"/>
              <a:gd name="connsiteY136" fmla="*/ 225013 h 6622937"/>
              <a:gd name="connsiteX137" fmla="*/ 8415394 w 8636594"/>
              <a:gd name="connsiteY137" fmla="*/ 191709 h 6622937"/>
              <a:gd name="connsiteX138" fmla="*/ 8451434 w 8636594"/>
              <a:gd name="connsiteY138" fmla="*/ 158780 h 6622937"/>
              <a:gd name="connsiteX139" fmla="*/ 8487798 w 8636594"/>
              <a:gd name="connsiteY139" fmla="*/ 126233 h 6622937"/>
              <a:gd name="connsiteX140" fmla="*/ 8524489 w 8636594"/>
              <a:gd name="connsiteY140" fmla="*/ 94075 h 6622937"/>
              <a:gd name="connsiteX141" fmla="*/ 8561515 w 8636594"/>
              <a:gd name="connsiteY141" fmla="*/ 62312 h 6622937"/>
              <a:gd name="connsiteX142" fmla="*/ 8598881 w 8636594"/>
              <a:gd name="connsiteY142" fmla="*/ 30951 h 6622937"/>
              <a:gd name="connsiteX143" fmla="*/ 8636594 w 8636594"/>
              <a:gd name="connsiteY143"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561975 w 8636594"/>
              <a:gd name="connsiteY5" fmla="*/ 5533193 h 6622937"/>
              <a:gd name="connsiteX6" fmla="*/ 2066817 w 8636594"/>
              <a:gd name="connsiteY6" fmla="*/ 6622937 h 6622937"/>
              <a:gd name="connsiteX7" fmla="*/ 2126742 w 8636594"/>
              <a:gd name="connsiteY7" fmla="*/ 6612869 h 6622937"/>
              <a:gd name="connsiteX8" fmla="*/ 2185991 w 8636594"/>
              <a:gd name="connsiteY8" fmla="*/ 6602362 h 6622937"/>
              <a:gd name="connsiteX9" fmla="*/ 2244569 w 8636594"/>
              <a:gd name="connsiteY9" fmla="*/ 6591417 h 6622937"/>
              <a:gd name="connsiteX10" fmla="*/ 2302482 w 8636594"/>
              <a:gd name="connsiteY10" fmla="*/ 6580040 h 6622937"/>
              <a:gd name="connsiteX11" fmla="*/ 2359737 w 8636594"/>
              <a:gd name="connsiteY11" fmla="*/ 6568233 h 6622937"/>
              <a:gd name="connsiteX12" fmla="*/ 2416341 w 8636594"/>
              <a:gd name="connsiteY12" fmla="*/ 6555999 h 6622937"/>
              <a:gd name="connsiteX13" fmla="*/ 2472299 w 8636594"/>
              <a:gd name="connsiteY13" fmla="*/ 6543344 h 6622937"/>
              <a:gd name="connsiteX14" fmla="*/ 2527618 w 8636594"/>
              <a:gd name="connsiteY14" fmla="*/ 6530269 h 6622937"/>
              <a:gd name="connsiteX15" fmla="*/ 2582304 w 8636594"/>
              <a:gd name="connsiteY15" fmla="*/ 6516778 h 6622937"/>
              <a:gd name="connsiteX16" fmla="*/ 2636364 w 8636594"/>
              <a:gd name="connsiteY16" fmla="*/ 6502876 h 6622937"/>
              <a:gd name="connsiteX17" fmla="*/ 2689804 w 8636594"/>
              <a:gd name="connsiteY17" fmla="*/ 6488565 h 6622937"/>
              <a:gd name="connsiteX18" fmla="*/ 2742629 w 8636594"/>
              <a:gd name="connsiteY18" fmla="*/ 6473849 h 6622937"/>
              <a:gd name="connsiteX19" fmla="*/ 2794848 w 8636594"/>
              <a:gd name="connsiteY19" fmla="*/ 6458731 h 6622937"/>
              <a:gd name="connsiteX20" fmla="*/ 2846466 w 8636594"/>
              <a:gd name="connsiteY20" fmla="*/ 6443216 h 6622937"/>
              <a:gd name="connsiteX21" fmla="*/ 2897488 w 8636594"/>
              <a:gd name="connsiteY21" fmla="*/ 6427305 h 6622937"/>
              <a:gd name="connsiteX22" fmla="*/ 2947923 w 8636594"/>
              <a:gd name="connsiteY22" fmla="*/ 6411004 h 6622937"/>
              <a:gd name="connsiteX23" fmla="*/ 2997775 w 8636594"/>
              <a:gd name="connsiteY23" fmla="*/ 6394316 h 6622937"/>
              <a:gd name="connsiteX24" fmla="*/ 3047052 w 8636594"/>
              <a:gd name="connsiteY24" fmla="*/ 6377243 h 6622937"/>
              <a:gd name="connsiteX25" fmla="*/ 3095759 w 8636594"/>
              <a:gd name="connsiteY25" fmla="*/ 6359791 h 6622937"/>
              <a:gd name="connsiteX26" fmla="*/ 3143903 w 8636594"/>
              <a:gd name="connsiteY26" fmla="*/ 6341961 h 6622937"/>
              <a:gd name="connsiteX27" fmla="*/ 3191491 w 8636594"/>
              <a:gd name="connsiteY27" fmla="*/ 6323757 h 6622937"/>
              <a:gd name="connsiteX28" fmla="*/ 3238528 w 8636594"/>
              <a:gd name="connsiteY28" fmla="*/ 6305184 h 6622937"/>
              <a:gd name="connsiteX29" fmla="*/ 3285021 w 8636594"/>
              <a:gd name="connsiteY29" fmla="*/ 6286245 h 6622937"/>
              <a:gd name="connsiteX30" fmla="*/ 3330977 w 8636594"/>
              <a:gd name="connsiteY30" fmla="*/ 6266942 h 6622937"/>
              <a:gd name="connsiteX31" fmla="*/ 3376401 w 8636594"/>
              <a:gd name="connsiteY31" fmla="*/ 6247281 h 6622937"/>
              <a:gd name="connsiteX32" fmla="*/ 3421300 w 8636594"/>
              <a:gd name="connsiteY32" fmla="*/ 6227263 h 6622937"/>
              <a:gd name="connsiteX33" fmla="*/ 3465680 w 8636594"/>
              <a:gd name="connsiteY33" fmla="*/ 6206893 h 6622937"/>
              <a:gd name="connsiteX34" fmla="*/ 3509548 w 8636594"/>
              <a:gd name="connsiteY34" fmla="*/ 6186174 h 6622937"/>
              <a:gd name="connsiteX35" fmla="*/ 3552910 w 8636594"/>
              <a:gd name="connsiteY35" fmla="*/ 6165110 h 6622937"/>
              <a:gd name="connsiteX36" fmla="*/ 3595773 w 8636594"/>
              <a:gd name="connsiteY36" fmla="*/ 6143704 h 6622937"/>
              <a:gd name="connsiteX37" fmla="*/ 3638142 w 8636594"/>
              <a:gd name="connsiteY37" fmla="*/ 6121960 h 6622937"/>
              <a:gd name="connsiteX38" fmla="*/ 3680024 w 8636594"/>
              <a:gd name="connsiteY38" fmla="*/ 6099881 h 6622937"/>
              <a:gd name="connsiteX39" fmla="*/ 3721426 w 8636594"/>
              <a:gd name="connsiteY39" fmla="*/ 6077471 h 6622937"/>
              <a:gd name="connsiteX40" fmla="*/ 3762353 w 8636594"/>
              <a:gd name="connsiteY40" fmla="*/ 6054733 h 6622937"/>
              <a:gd name="connsiteX41" fmla="*/ 3802812 w 8636594"/>
              <a:gd name="connsiteY41" fmla="*/ 6031671 h 6622937"/>
              <a:gd name="connsiteX42" fmla="*/ 3842810 w 8636594"/>
              <a:gd name="connsiteY42" fmla="*/ 6008288 h 6622937"/>
              <a:gd name="connsiteX43" fmla="*/ 3882352 w 8636594"/>
              <a:gd name="connsiteY43" fmla="*/ 5984588 h 6622937"/>
              <a:gd name="connsiteX44" fmla="*/ 3921445 w 8636594"/>
              <a:gd name="connsiteY44" fmla="*/ 5960574 h 6622937"/>
              <a:gd name="connsiteX45" fmla="*/ 3960096 w 8636594"/>
              <a:gd name="connsiteY45" fmla="*/ 5936250 h 6622937"/>
              <a:gd name="connsiteX46" fmla="*/ 3998311 w 8636594"/>
              <a:gd name="connsiteY46" fmla="*/ 5911619 h 6622937"/>
              <a:gd name="connsiteX47" fmla="*/ 4036095 w 8636594"/>
              <a:gd name="connsiteY47" fmla="*/ 5886685 h 6622937"/>
              <a:gd name="connsiteX48" fmla="*/ 4073456 w 8636594"/>
              <a:gd name="connsiteY48" fmla="*/ 5861452 h 6622937"/>
              <a:gd name="connsiteX49" fmla="*/ 4110400 w 8636594"/>
              <a:gd name="connsiteY49" fmla="*/ 5835922 h 6622937"/>
              <a:gd name="connsiteX50" fmla="*/ 4146933 w 8636594"/>
              <a:gd name="connsiteY50" fmla="*/ 5810100 h 6622937"/>
              <a:gd name="connsiteX51" fmla="*/ 4183061 w 8636594"/>
              <a:gd name="connsiteY51" fmla="*/ 5783988 h 6622937"/>
              <a:gd name="connsiteX52" fmla="*/ 4218791 w 8636594"/>
              <a:gd name="connsiteY52" fmla="*/ 5757591 h 6622937"/>
              <a:gd name="connsiteX53" fmla="*/ 4254129 w 8636594"/>
              <a:gd name="connsiteY53" fmla="*/ 5730912 h 6622937"/>
              <a:gd name="connsiteX54" fmla="*/ 4289081 w 8636594"/>
              <a:gd name="connsiteY54" fmla="*/ 5703955 h 6622937"/>
              <a:gd name="connsiteX55" fmla="*/ 4323654 w 8636594"/>
              <a:gd name="connsiteY55" fmla="*/ 5676722 h 6622937"/>
              <a:gd name="connsiteX56" fmla="*/ 4357854 w 8636594"/>
              <a:gd name="connsiteY56" fmla="*/ 5649218 h 6622937"/>
              <a:gd name="connsiteX57" fmla="*/ 4391688 w 8636594"/>
              <a:gd name="connsiteY57" fmla="*/ 5621446 h 6622937"/>
              <a:gd name="connsiteX58" fmla="*/ 4425162 w 8636594"/>
              <a:gd name="connsiteY58" fmla="*/ 5593409 h 6622937"/>
              <a:gd name="connsiteX59" fmla="*/ 4458281 w 8636594"/>
              <a:gd name="connsiteY59" fmla="*/ 5565111 h 6622937"/>
              <a:gd name="connsiteX60" fmla="*/ 4491053 w 8636594"/>
              <a:gd name="connsiteY60" fmla="*/ 5536556 h 6622937"/>
              <a:gd name="connsiteX61" fmla="*/ 4523484 w 8636594"/>
              <a:gd name="connsiteY61" fmla="*/ 5507747 h 6622937"/>
              <a:gd name="connsiteX62" fmla="*/ 4555580 w 8636594"/>
              <a:gd name="connsiteY62" fmla="*/ 5478687 h 6622937"/>
              <a:gd name="connsiteX63" fmla="*/ 4587347 w 8636594"/>
              <a:gd name="connsiteY63" fmla="*/ 5449380 h 6622937"/>
              <a:gd name="connsiteX64" fmla="*/ 4618793 w 8636594"/>
              <a:gd name="connsiteY64" fmla="*/ 5419830 h 6622937"/>
              <a:gd name="connsiteX65" fmla="*/ 4649922 w 8636594"/>
              <a:gd name="connsiteY65" fmla="*/ 5390040 h 6622937"/>
              <a:gd name="connsiteX66" fmla="*/ 4680742 w 8636594"/>
              <a:gd name="connsiteY66" fmla="*/ 5360014 h 6622937"/>
              <a:gd name="connsiteX67" fmla="*/ 4711259 w 8636594"/>
              <a:gd name="connsiteY67" fmla="*/ 5329755 h 6622937"/>
              <a:gd name="connsiteX68" fmla="*/ 4741478 w 8636594"/>
              <a:gd name="connsiteY68" fmla="*/ 5299266 h 6622937"/>
              <a:gd name="connsiteX69" fmla="*/ 4771408 w 8636594"/>
              <a:gd name="connsiteY69" fmla="*/ 5268551 h 6622937"/>
              <a:gd name="connsiteX70" fmla="*/ 4801053 w 8636594"/>
              <a:gd name="connsiteY70" fmla="*/ 5237614 h 6622937"/>
              <a:gd name="connsiteX71" fmla="*/ 4830420 w 8636594"/>
              <a:gd name="connsiteY71" fmla="*/ 5206458 h 6622937"/>
              <a:gd name="connsiteX72" fmla="*/ 4859516 w 8636594"/>
              <a:gd name="connsiteY72" fmla="*/ 5175087 h 6622937"/>
              <a:gd name="connsiteX73" fmla="*/ 4888347 w 8636594"/>
              <a:gd name="connsiteY73" fmla="*/ 5143504 h 6622937"/>
              <a:gd name="connsiteX74" fmla="*/ 4916919 w 8636594"/>
              <a:gd name="connsiteY74" fmla="*/ 5111713 h 6622937"/>
              <a:gd name="connsiteX75" fmla="*/ 4945238 w 8636594"/>
              <a:gd name="connsiteY75" fmla="*/ 5079717 h 6622937"/>
              <a:gd name="connsiteX76" fmla="*/ 4973311 w 8636594"/>
              <a:gd name="connsiteY76" fmla="*/ 5047519 h 6622937"/>
              <a:gd name="connsiteX77" fmla="*/ 5001145 w 8636594"/>
              <a:gd name="connsiteY77" fmla="*/ 5015124 h 6622937"/>
              <a:gd name="connsiteX78" fmla="*/ 5028745 w 8636594"/>
              <a:gd name="connsiteY78" fmla="*/ 4982535 h 6622937"/>
              <a:gd name="connsiteX79" fmla="*/ 5056117 w 8636594"/>
              <a:gd name="connsiteY79" fmla="*/ 4949755 h 6622937"/>
              <a:gd name="connsiteX80" fmla="*/ 5083269 w 8636594"/>
              <a:gd name="connsiteY80" fmla="*/ 4916787 h 6622937"/>
              <a:gd name="connsiteX81" fmla="*/ 5110207 w 8636594"/>
              <a:gd name="connsiteY81" fmla="*/ 4883636 h 6622937"/>
              <a:gd name="connsiteX82" fmla="*/ 5136937 w 8636594"/>
              <a:gd name="connsiteY82" fmla="*/ 4850305 h 6622937"/>
              <a:gd name="connsiteX83" fmla="*/ 5163464 w 8636594"/>
              <a:gd name="connsiteY83" fmla="*/ 4816797 h 6622937"/>
              <a:gd name="connsiteX84" fmla="*/ 5215940 w 8636594"/>
              <a:gd name="connsiteY84" fmla="*/ 4749265 h 6622937"/>
              <a:gd name="connsiteX85" fmla="*/ 5267684 w 8636594"/>
              <a:gd name="connsiteY85" fmla="*/ 4681068 h 6622937"/>
              <a:gd name="connsiteX86" fmla="*/ 5318748 w 8636594"/>
              <a:gd name="connsiteY86" fmla="*/ 4612234 h 6622937"/>
              <a:gd name="connsiteX87" fmla="*/ 5369182 w 8636594"/>
              <a:gd name="connsiteY87" fmla="*/ 4542793 h 6622937"/>
              <a:gd name="connsiteX88" fmla="*/ 5419038 w 8636594"/>
              <a:gd name="connsiteY88" fmla="*/ 4472771 h 6622937"/>
              <a:gd name="connsiteX89" fmla="*/ 5468365 w 8636594"/>
              <a:gd name="connsiteY89" fmla="*/ 4402196 h 6622937"/>
              <a:gd name="connsiteX90" fmla="*/ 5517215 w 8636594"/>
              <a:gd name="connsiteY90" fmla="*/ 4331098 h 6622937"/>
              <a:gd name="connsiteX91" fmla="*/ 5565637 w 8636594"/>
              <a:gd name="connsiteY91" fmla="*/ 4259503 h 6622937"/>
              <a:gd name="connsiteX92" fmla="*/ 5613684 w 8636594"/>
              <a:gd name="connsiteY92" fmla="*/ 4187441 h 6622937"/>
              <a:gd name="connsiteX93" fmla="*/ 5685160 w 8636594"/>
              <a:gd name="connsiteY93" fmla="*/ 4078531 h 6622937"/>
              <a:gd name="connsiteX94" fmla="*/ 5756074 w 8636594"/>
              <a:gd name="connsiteY94" fmla="*/ 3968727 h 6622937"/>
              <a:gd name="connsiteX95" fmla="*/ 5873483 w 8636594"/>
              <a:gd name="connsiteY95" fmla="*/ 3783989 h 6622937"/>
              <a:gd name="connsiteX96" fmla="*/ 6203209 w 8636594"/>
              <a:gd name="connsiteY96" fmla="*/ 3258640 h 6622937"/>
              <a:gd name="connsiteX97" fmla="*/ 6299430 w 8636594"/>
              <a:gd name="connsiteY97" fmla="*/ 3107321 h 6622937"/>
              <a:gd name="connsiteX98" fmla="*/ 6372650 w 8636594"/>
              <a:gd name="connsiteY98" fmla="*/ 2993735 h 6622937"/>
              <a:gd name="connsiteX99" fmla="*/ 6453197 w 8636594"/>
              <a:gd name="connsiteY99" fmla="*/ 2869788 h 6622937"/>
              <a:gd name="connsiteX100" fmla="*/ 6564167 w 8636594"/>
              <a:gd name="connsiteY100" fmla="*/ 2696807 h 6622937"/>
              <a:gd name="connsiteX101" fmla="*/ 6976233 w 8636594"/>
              <a:gd name="connsiteY101" fmla="*/ 2045274 h 6622937"/>
              <a:gd name="connsiteX102" fmla="*/ 7086755 w 8636594"/>
              <a:gd name="connsiteY102" fmla="*/ 1872743 h 6622937"/>
              <a:gd name="connsiteX103" fmla="*/ 7170279 w 8636594"/>
              <a:gd name="connsiteY103" fmla="*/ 1744202 h 6622937"/>
              <a:gd name="connsiteX104" fmla="*/ 7226351 w 8636594"/>
              <a:gd name="connsiteY104" fmla="*/ 1659017 h 6622937"/>
              <a:gd name="connsiteX105" fmla="*/ 7282789 w 8636594"/>
              <a:gd name="connsiteY105" fmla="*/ 1574303 h 6622937"/>
              <a:gd name="connsiteX106" fmla="*/ 7339643 w 8636594"/>
              <a:gd name="connsiteY106" fmla="*/ 1490113 h 6622937"/>
              <a:gd name="connsiteX107" fmla="*/ 7396957 w 8636594"/>
              <a:gd name="connsiteY107" fmla="*/ 1406503 h 6622937"/>
              <a:gd name="connsiteX108" fmla="*/ 7454781 w 8636594"/>
              <a:gd name="connsiteY108" fmla="*/ 1323526 h 6622937"/>
              <a:gd name="connsiteX109" fmla="*/ 7513161 w 8636594"/>
              <a:gd name="connsiteY109" fmla="*/ 1241237 h 6622937"/>
              <a:gd name="connsiteX110" fmla="*/ 7572144 w 8636594"/>
              <a:gd name="connsiteY110" fmla="*/ 1159689 h 6622937"/>
              <a:gd name="connsiteX111" fmla="*/ 7601877 w 8636594"/>
              <a:gd name="connsiteY111" fmla="*/ 1119210 h 6622937"/>
              <a:gd name="connsiteX112" fmla="*/ 7631779 w 8636594"/>
              <a:gd name="connsiteY112" fmla="*/ 1078937 h 6622937"/>
              <a:gd name="connsiteX113" fmla="*/ 7661855 w 8636594"/>
              <a:gd name="connsiteY113" fmla="*/ 1038876 h 6622937"/>
              <a:gd name="connsiteX114" fmla="*/ 7692111 w 8636594"/>
              <a:gd name="connsiteY114" fmla="*/ 999035 h 6622937"/>
              <a:gd name="connsiteX115" fmla="*/ 7722554 w 8636594"/>
              <a:gd name="connsiteY115" fmla="*/ 959419 h 6622937"/>
              <a:gd name="connsiteX116" fmla="*/ 7753190 w 8636594"/>
              <a:gd name="connsiteY116" fmla="*/ 920037 h 6622937"/>
              <a:gd name="connsiteX117" fmla="*/ 7784023 w 8636594"/>
              <a:gd name="connsiteY117" fmla="*/ 880894 h 6622937"/>
              <a:gd name="connsiteX118" fmla="*/ 7815061 w 8636594"/>
              <a:gd name="connsiteY118" fmla="*/ 841997 h 6622937"/>
              <a:gd name="connsiteX119" fmla="*/ 7846308 w 8636594"/>
              <a:gd name="connsiteY119" fmla="*/ 803354 h 6622937"/>
              <a:gd name="connsiteX120" fmla="*/ 7877772 w 8636594"/>
              <a:gd name="connsiteY120" fmla="*/ 764970 h 6622937"/>
              <a:gd name="connsiteX121" fmla="*/ 7909458 w 8636594"/>
              <a:gd name="connsiteY121" fmla="*/ 726853 h 6622937"/>
              <a:gd name="connsiteX122" fmla="*/ 7941371 w 8636594"/>
              <a:gd name="connsiteY122" fmla="*/ 689010 h 6622937"/>
              <a:gd name="connsiteX123" fmla="*/ 7973518 w 8636594"/>
              <a:gd name="connsiteY123" fmla="*/ 651447 h 6622937"/>
              <a:gd name="connsiteX124" fmla="*/ 8005905 w 8636594"/>
              <a:gd name="connsiteY124" fmla="*/ 614171 h 6622937"/>
              <a:gd name="connsiteX125" fmla="*/ 8038538 w 8636594"/>
              <a:gd name="connsiteY125" fmla="*/ 577189 h 6622937"/>
              <a:gd name="connsiteX126" fmla="*/ 8071421 w 8636594"/>
              <a:gd name="connsiteY126" fmla="*/ 540507 h 6622937"/>
              <a:gd name="connsiteX127" fmla="*/ 8104563 w 8636594"/>
              <a:gd name="connsiteY127" fmla="*/ 504132 h 6622937"/>
              <a:gd name="connsiteX128" fmla="*/ 8137967 w 8636594"/>
              <a:gd name="connsiteY128" fmla="*/ 468072 h 6622937"/>
              <a:gd name="connsiteX129" fmla="*/ 8171641 w 8636594"/>
              <a:gd name="connsiteY129" fmla="*/ 432332 h 6622937"/>
              <a:gd name="connsiteX130" fmla="*/ 8205590 w 8636594"/>
              <a:gd name="connsiteY130" fmla="*/ 396920 h 6622937"/>
              <a:gd name="connsiteX131" fmla="*/ 8239820 w 8636594"/>
              <a:gd name="connsiteY131" fmla="*/ 361843 h 6622937"/>
              <a:gd name="connsiteX132" fmla="*/ 8274337 w 8636594"/>
              <a:gd name="connsiteY132" fmla="*/ 327107 h 6622937"/>
              <a:gd name="connsiteX133" fmla="*/ 8309147 w 8636594"/>
              <a:gd name="connsiteY133" fmla="*/ 292718 h 6622937"/>
              <a:gd name="connsiteX134" fmla="*/ 8344256 w 8636594"/>
              <a:gd name="connsiteY134" fmla="*/ 258685 h 6622937"/>
              <a:gd name="connsiteX135" fmla="*/ 8379669 w 8636594"/>
              <a:gd name="connsiteY135" fmla="*/ 225013 h 6622937"/>
              <a:gd name="connsiteX136" fmla="*/ 8415394 w 8636594"/>
              <a:gd name="connsiteY136" fmla="*/ 191709 h 6622937"/>
              <a:gd name="connsiteX137" fmla="*/ 8451434 w 8636594"/>
              <a:gd name="connsiteY137" fmla="*/ 158780 h 6622937"/>
              <a:gd name="connsiteX138" fmla="*/ 8487798 w 8636594"/>
              <a:gd name="connsiteY138" fmla="*/ 126233 h 6622937"/>
              <a:gd name="connsiteX139" fmla="*/ 8524489 w 8636594"/>
              <a:gd name="connsiteY139" fmla="*/ 94075 h 6622937"/>
              <a:gd name="connsiteX140" fmla="*/ 8561515 w 8636594"/>
              <a:gd name="connsiteY140" fmla="*/ 62312 h 6622937"/>
              <a:gd name="connsiteX141" fmla="*/ 8598881 w 8636594"/>
              <a:gd name="connsiteY141" fmla="*/ 30951 h 6622937"/>
              <a:gd name="connsiteX142" fmla="*/ 8636594 w 8636594"/>
              <a:gd name="connsiteY142"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066817 w 8636594"/>
              <a:gd name="connsiteY5" fmla="*/ 6622937 h 6622937"/>
              <a:gd name="connsiteX6" fmla="*/ 2126742 w 8636594"/>
              <a:gd name="connsiteY6" fmla="*/ 6612869 h 6622937"/>
              <a:gd name="connsiteX7" fmla="*/ 2185991 w 8636594"/>
              <a:gd name="connsiteY7" fmla="*/ 6602362 h 6622937"/>
              <a:gd name="connsiteX8" fmla="*/ 2244569 w 8636594"/>
              <a:gd name="connsiteY8" fmla="*/ 6591417 h 6622937"/>
              <a:gd name="connsiteX9" fmla="*/ 2302482 w 8636594"/>
              <a:gd name="connsiteY9" fmla="*/ 6580040 h 6622937"/>
              <a:gd name="connsiteX10" fmla="*/ 2359737 w 8636594"/>
              <a:gd name="connsiteY10" fmla="*/ 6568233 h 6622937"/>
              <a:gd name="connsiteX11" fmla="*/ 2416341 w 8636594"/>
              <a:gd name="connsiteY11" fmla="*/ 6555999 h 6622937"/>
              <a:gd name="connsiteX12" fmla="*/ 2472299 w 8636594"/>
              <a:gd name="connsiteY12" fmla="*/ 6543344 h 6622937"/>
              <a:gd name="connsiteX13" fmla="*/ 2527618 w 8636594"/>
              <a:gd name="connsiteY13" fmla="*/ 6530269 h 6622937"/>
              <a:gd name="connsiteX14" fmla="*/ 2582304 w 8636594"/>
              <a:gd name="connsiteY14" fmla="*/ 6516778 h 6622937"/>
              <a:gd name="connsiteX15" fmla="*/ 2636364 w 8636594"/>
              <a:gd name="connsiteY15" fmla="*/ 6502876 h 6622937"/>
              <a:gd name="connsiteX16" fmla="*/ 2689804 w 8636594"/>
              <a:gd name="connsiteY16" fmla="*/ 6488565 h 6622937"/>
              <a:gd name="connsiteX17" fmla="*/ 2742629 w 8636594"/>
              <a:gd name="connsiteY17" fmla="*/ 6473849 h 6622937"/>
              <a:gd name="connsiteX18" fmla="*/ 2794848 w 8636594"/>
              <a:gd name="connsiteY18" fmla="*/ 6458731 h 6622937"/>
              <a:gd name="connsiteX19" fmla="*/ 2846466 w 8636594"/>
              <a:gd name="connsiteY19" fmla="*/ 6443216 h 6622937"/>
              <a:gd name="connsiteX20" fmla="*/ 2897488 w 8636594"/>
              <a:gd name="connsiteY20" fmla="*/ 6427305 h 6622937"/>
              <a:gd name="connsiteX21" fmla="*/ 2947923 w 8636594"/>
              <a:gd name="connsiteY21" fmla="*/ 6411004 h 6622937"/>
              <a:gd name="connsiteX22" fmla="*/ 2997775 w 8636594"/>
              <a:gd name="connsiteY22" fmla="*/ 6394316 h 6622937"/>
              <a:gd name="connsiteX23" fmla="*/ 3047052 w 8636594"/>
              <a:gd name="connsiteY23" fmla="*/ 6377243 h 6622937"/>
              <a:gd name="connsiteX24" fmla="*/ 3095759 w 8636594"/>
              <a:gd name="connsiteY24" fmla="*/ 6359791 h 6622937"/>
              <a:gd name="connsiteX25" fmla="*/ 3143903 w 8636594"/>
              <a:gd name="connsiteY25" fmla="*/ 6341961 h 6622937"/>
              <a:gd name="connsiteX26" fmla="*/ 3191491 w 8636594"/>
              <a:gd name="connsiteY26" fmla="*/ 6323757 h 6622937"/>
              <a:gd name="connsiteX27" fmla="*/ 3238528 w 8636594"/>
              <a:gd name="connsiteY27" fmla="*/ 6305184 h 6622937"/>
              <a:gd name="connsiteX28" fmla="*/ 3285021 w 8636594"/>
              <a:gd name="connsiteY28" fmla="*/ 6286245 h 6622937"/>
              <a:gd name="connsiteX29" fmla="*/ 3330977 w 8636594"/>
              <a:gd name="connsiteY29" fmla="*/ 6266942 h 6622937"/>
              <a:gd name="connsiteX30" fmla="*/ 3376401 w 8636594"/>
              <a:gd name="connsiteY30" fmla="*/ 6247281 h 6622937"/>
              <a:gd name="connsiteX31" fmla="*/ 3421300 w 8636594"/>
              <a:gd name="connsiteY31" fmla="*/ 6227263 h 6622937"/>
              <a:gd name="connsiteX32" fmla="*/ 3465680 w 8636594"/>
              <a:gd name="connsiteY32" fmla="*/ 6206893 h 6622937"/>
              <a:gd name="connsiteX33" fmla="*/ 3509548 w 8636594"/>
              <a:gd name="connsiteY33" fmla="*/ 6186174 h 6622937"/>
              <a:gd name="connsiteX34" fmla="*/ 3552910 w 8636594"/>
              <a:gd name="connsiteY34" fmla="*/ 6165110 h 6622937"/>
              <a:gd name="connsiteX35" fmla="*/ 3595773 w 8636594"/>
              <a:gd name="connsiteY35" fmla="*/ 6143704 h 6622937"/>
              <a:gd name="connsiteX36" fmla="*/ 3638142 w 8636594"/>
              <a:gd name="connsiteY36" fmla="*/ 6121960 h 6622937"/>
              <a:gd name="connsiteX37" fmla="*/ 3680024 w 8636594"/>
              <a:gd name="connsiteY37" fmla="*/ 6099881 h 6622937"/>
              <a:gd name="connsiteX38" fmla="*/ 3721426 w 8636594"/>
              <a:gd name="connsiteY38" fmla="*/ 6077471 h 6622937"/>
              <a:gd name="connsiteX39" fmla="*/ 3762353 w 8636594"/>
              <a:gd name="connsiteY39" fmla="*/ 6054733 h 6622937"/>
              <a:gd name="connsiteX40" fmla="*/ 3802812 w 8636594"/>
              <a:gd name="connsiteY40" fmla="*/ 6031671 h 6622937"/>
              <a:gd name="connsiteX41" fmla="*/ 3842810 w 8636594"/>
              <a:gd name="connsiteY41" fmla="*/ 6008288 h 6622937"/>
              <a:gd name="connsiteX42" fmla="*/ 3882352 w 8636594"/>
              <a:gd name="connsiteY42" fmla="*/ 5984588 h 6622937"/>
              <a:gd name="connsiteX43" fmla="*/ 3921445 w 8636594"/>
              <a:gd name="connsiteY43" fmla="*/ 5960574 h 6622937"/>
              <a:gd name="connsiteX44" fmla="*/ 3960096 w 8636594"/>
              <a:gd name="connsiteY44" fmla="*/ 5936250 h 6622937"/>
              <a:gd name="connsiteX45" fmla="*/ 3998311 w 8636594"/>
              <a:gd name="connsiteY45" fmla="*/ 5911619 h 6622937"/>
              <a:gd name="connsiteX46" fmla="*/ 4036095 w 8636594"/>
              <a:gd name="connsiteY46" fmla="*/ 5886685 h 6622937"/>
              <a:gd name="connsiteX47" fmla="*/ 4073456 w 8636594"/>
              <a:gd name="connsiteY47" fmla="*/ 5861452 h 6622937"/>
              <a:gd name="connsiteX48" fmla="*/ 4110400 w 8636594"/>
              <a:gd name="connsiteY48" fmla="*/ 5835922 h 6622937"/>
              <a:gd name="connsiteX49" fmla="*/ 4146933 w 8636594"/>
              <a:gd name="connsiteY49" fmla="*/ 5810100 h 6622937"/>
              <a:gd name="connsiteX50" fmla="*/ 4183061 w 8636594"/>
              <a:gd name="connsiteY50" fmla="*/ 5783988 h 6622937"/>
              <a:gd name="connsiteX51" fmla="*/ 4218791 w 8636594"/>
              <a:gd name="connsiteY51" fmla="*/ 5757591 h 6622937"/>
              <a:gd name="connsiteX52" fmla="*/ 4254129 w 8636594"/>
              <a:gd name="connsiteY52" fmla="*/ 5730912 h 6622937"/>
              <a:gd name="connsiteX53" fmla="*/ 4289081 w 8636594"/>
              <a:gd name="connsiteY53" fmla="*/ 5703955 h 6622937"/>
              <a:gd name="connsiteX54" fmla="*/ 4323654 w 8636594"/>
              <a:gd name="connsiteY54" fmla="*/ 5676722 h 6622937"/>
              <a:gd name="connsiteX55" fmla="*/ 4357854 w 8636594"/>
              <a:gd name="connsiteY55" fmla="*/ 5649218 h 6622937"/>
              <a:gd name="connsiteX56" fmla="*/ 4391688 w 8636594"/>
              <a:gd name="connsiteY56" fmla="*/ 5621446 h 6622937"/>
              <a:gd name="connsiteX57" fmla="*/ 4425162 w 8636594"/>
              <a:gd name="connsiteY57" fmla="*/ 5593409 h 6622937"/>
              <a:gd name="connsiteX58" fmla="*/ 4458281 w 8636594"/>
              <a:gd name="connsiteY58" fmla="*/ 5565111 h 6622937"/>
              <a:gd name="connsiteX59" fmla="*/ 4491053 w 8636594"/>
              <a:gd name="connsiteY59" fmla="*/ 5536556 h 6622937"/>
              <a:gd name="connsiteX60" fmla="*/ 4523484 w 8636594"/>
              <a:gd name="connsiteY60" fmla="*/ 5507747 h 6622937"/>
              <a:gd name="connsiteX61" fmla="*/ 4555580 w 8636594"/>
              <a:gd name="connsiteY61" fmla="*/ 5478687 h 6622937"/>
              <a:gd name="connsiteX62" fmla="*/ 4587347 w 8636594"/>
              <a:gd name="connsiteY62" fmla="*/ 5449380 h 6622937"/>
              <a:gd name="connsiteX63" fmla="*/ 4618793 w 8636594"/>
              <a:gd name="connsiteY63" fmla="*/ 5419830 h 6622937"/>
              <a:gd name="connsiteX64" fmla="*/ 4649922 w 8636594"/>
              <a:gd name="connsiteY64" fmla="*/ 5390040 h 6622937"/>
              <a:gd name="connsiteX65" fmla="*/ 4680742 w 8636594"/>
              <a:gd name="connsiteY65" fmla="*/ 5360014 h 6622937"/>
              <a:gd name="connsiteX66" fmla="*/ 4711259 w 8636594"/>
              <a:gd name="connsiteY66" fmla="*/ 5329755 h 6622937"/>
              <a:gd name="connsiteX67" fmla="*/ 4741478 w 8636594"/>
              <a:gd name="connsiteY67" fmla="*/ 5299266 h 6622937"/>
              <a:gd name="connsiteX68" fmla="*/ 4771408 w 8636594"/>
              <a:gd name="connsiteY68" fmla="*/ 5268551 h 6622937"/>
              <a:gd name="connsiteX69" fmla="*/ 4801053 w 8636594"/>
              <a:gd name="connsiteY69" fmla="*/ 5237614 h 6622937"/>
              <a:gd name="connsiteX70" fmla="*/ 4830420 w 8636594"/>
              <a:gd name="connsiteY70" fmla="*/ 5206458 h 6622937"/>
              <a:gd name="connsiteX71" fmla="*/ 4859516 w 8636594"/>
              <a:gd name="connsiteY71" fmla="*/ 5175087 h 6622937"/>
              <a:gd name="connsiteX72" fmla="*/ 4888347 w 8636594"/>
              <a:gd name="connsiteY72" fmla="*/ 5143504 h 6622937"/>
              <a:gd name="connsiteX73" fmla="*/ 4916919 w 8636594"/>
              <a:gd name="connsiteY73" fmla="*/ 5111713 h 6622937"/>
              <a:gd name="connsiteX74" fmla="*/ 4945238 w 8636594"/>
              <a:gd name="connsiteY74" fmla="*/ 5079717 h 6622937"/>
              <a:gd name="connsiteX75" fmla="*/ 4973311 w 8636594"/>
              <a:gd name="connsiteY75" fmla="*/ 5047519 h 6622937"/>
              <a:gd name="connsiteX76" fmla="*/ 5001145 w 8636594"/>
              <a:gd name="connsiteY76" fmla="*/ 5015124 h 6622937"/>
              <a:gd name="connsiteX77" fmla="*/ 5028745 w 8636594"/>
              <a:gd name="connsiteY77" fmla="*/ 4982535 h 6622937"/>
              <a:gd name="connsiteX78" fmla="*/ 5056117 w 8636594"/>
              <a:gd name="connsiteY78" fmla="*/ 4949755 h 6622937"/>
              <a:gd name="connsiteX79" fmla="*/ 5083269 w 8636594"/>
              <a:gd name="connsiteY79" fmla="*/ 4916787 h 6622937"/>
              <a:gd name="connsiteX80" fmla="*/ 5110207 w 8636594"/>
              <a:gd name="connsiteY80" fmla="*/ 4883636 h 6622937"/>
              <a:gd name="connsiteX81" fmla="*/ 5136937 w 8636594"/>
              <a:gd name="connsiteY81" fmla="*/ 4850305 h 6622937"/>
              <a:gd name="connsiteX82" fmla="*/ 5163464 w 8636594"/>
              <a:gd name="connsiteY82" fmla="*/ 4816797 h 6622937"/>
              <a:gd name="connsiteX83" fmla="*/ 5215940 w 8636594"/>
              <a:gd name="connsiteY83" fmla="*/ 4749265 h 6622937"/>
              <a:gd name="connsiteX84" fmla="*/ 5267684 w 8636594"/>
              <a:gd name="connsiteY84" fmla="*/ 4681068 h 6622937"/>
              <a:gd name="connsiteX85" fmla="*/ 5318748 w 8636594"/>
              <a:gd name="connsiteY85" fmla="*/ 4612234 h 6622937"/>
              <a:gd name="connsiteX86" fmla="*/ 5369182 w 8636594"/>
              <a:gd name="connsiteY86" fmla="*/ 4542793 h 6622937"/>
              <a:gd name="connsiteX87" fmla="*/ 5419038 w 8636594"/>
              <a:gd name="connsiteY87" fmla="*/ 4472771 h 6622937"/>
              <a:gd name="connsiteX88" fmla="*/ 5468365 w 8636594"/>
              <a:gd name="connsiteY88" fmla="*/ 4402196 h 6622937"/>
              <a:gd name="connsiteX89" fmla="*/ 5517215 w 8636594"/>
              <a:gd name="connsiteY89" fmla="*/ 4331098 h 6622937"/>
              <a:gd name="connsiteX90" fmla="*/ 5565637 w 8636594"/>
              <a:gd name="connsiteY90" fmla="*/ 4259503 h 6622937"/>
              <a:gd name="connsiteX91" fmla="*/ 5613684 w 8636594"/>
              <a:gd name="connsiteY91" fmla="*/ 4187441 h 6622937"/>
              <a:gd name="connsiteX92" fmla="*/ 5685160 w 8636594"/>
              <a:gd name="connsiteY92" fmla="*/ 4078531 h 6622937"/>
              <a:gd name="connsiteX93" fmla="*/ 5756074 w 8636594"/>
              <a:gd name="connsiteY93" fmla="*/ 3968727 h 6622937"/>
              <a:gd name="connsiteX94" fmla="*/ 5873483 w 8636594"/>
              <a:gd name="connsiteY94" fmla="*/ 3783989 h 6622937"/>
              <a:gd name="connsiteX95" fmla="*/ 6203209 w 8636594"/>
              <a:gd name="connsiteY95" fmla="*/ 3258640 h 6622937"/>
              <a:gd name="connsiteX96" fmla="*/ 6299430 w 8636594"/>
              <a:gd name="connsiteY96" fmla="*/ 3107321 h 6622937"/>
              <a:gd name="connsiteX97" fmla="*/ 6372650 w 8636594"/>
              <a:gd name="connsiteY97" fmla="*/ 2993735 h 6622937"/>
              <a:gd name="connsiteX98" fmla="*/ 6453197 w 8636594"/>
              <a:gd name="connsiteY98" fmla="*/ 2869788 h 6622937"/>
              <a:gd name="connsiteX99" fmla="*/ 6564167 w 8636594"/>
              <a:gd name="connsiteY99" fmla="*/ 2696807 h 6622937"/>
              <a:gd name="connsiteX100" fmla="*/ 6976233 w 8636594"/>
              <a:gd name="connsiteY100" fmla="*/ 2045274 h 6622937"/>
              <a:gd name="connsiteX101" fmla="*/ 7086755 w 8636594"/>
              <a:gd name="connsiteY101" fmla="*/ 1872743 h 6622937"/>
              <a:gd name="connsiteX102" fmla="*/ 7170279 w 8636594"/>
              <a:gd name="connsiteY102" fmla="*/ 1744202 h 6622937"/>
              <a:gd name="connsiteX103" fmla="*/ 7226351 w 8636594"/>
              <a:gd name="connsiteY103" fmla="*/ 1659017 h 6622937"/>
              <a:gd name="connsiteX104" fmla="*/ 7282789 w 8636594"/>
              <a:gd name="connsiteY104" fmla="*/ 1574303 h 6622937"/>
              <a:gd name="connsiteX105" fmla="*/ 7339643 w 8636594"/>
              <a:gd name="connsiteY105" fmla="*/ 1490113 h 6622937"/>
              <a:gd name="connsiteX106" fmla="*/ 7396957 w 8636594"/>
              <a:gd name="connsiteY106" fmla="*/ 1406503 h 6622937"/>
              <a:gd name="connsiteX107" fmla="*/ 7454781 w 8636594"/>
              <a:gd name="connsiteY107" fmla="*/ 1323526 h 6622937"/>
              <a:gd name="connsiteX108" fmla="*/ 7513161 w 8636594"/>
              <a:gd name="connsiteY108" fmla="*/ 1241237 h 6622937"/>
              <a:gd name="connsiteX109" fmla="*/ 7572144 w 8636594"/>
              <a:gd name="connsiteY109" fmla="*/ 1159689 h 6622937"/>
              <a:gd name="connsiteX110" fmla="*/ 7601877 w 8636594"/>
              <a:gd name="connsiteY110" fmla="*/ 1119210 h 6622937"/>
              <a:gd name="connsiteX111" fmla="*/ 7631779 w 8636594"/>
              <a:gd name="connsiteY111" fmla="*/ 1078937 h 6622937"/>
              <a:gd name="connsiteX112" fmla="*/ 7661855 w 8636594"/>
              <a:gd name="connsiteY112" fmla="*/ 1038876 h 6622937"/>
              <a:gd name="connsiteX113" fmla="*/ 7692111 w 8636594"/>
              <a:gd name="connsiteY113" fmla="*/ 999035 h 6622937"/>
              <a:gd name="connsiteX114" fmla="*/ 7722554 w 8636594"/>
              <a:gd name="connsiteY114" fmla="*/ 959419 h 6622937"/>
              <a:gd name="connsiteX115" fmla="*/ 7753190 w 8636594"/>
              <a:gd name="connsiteY115" fmla="*/ 920037 h 6622937"/>
              <a:gd name="connsiteX116" fmla="*/ 7784023 w 8636594"/>
              <a:gd name="connsiteY116" fmla="*/ 880894 h 6622937"/>
              <a:gd name="connsiteX117" fmla="*/ 7815061 w 8636594"/>
              <a:gd name="connsiteY117" fmla="*/ 841997 h 6622937"/>
              <a:gd name="connsiteX118" fmla="*/ 7846308 w 8636594"/>
              <a:gd name="connsiteY118" fmla="*/ 803354 h 6622937"/>
              <a:gd name="connsiteX119" fmla="*/ 7877772 w 8636594"/>
              <a:gd name="connsiteY119" fmla="*/ 764970 h 6622937"/>
              <a:gd name="connsiteX120" fmla="*/ 7909458 w 8636594"/>
              <a:gd name="connsiteY120" fmla="*/ 726853 h 6622937"/>
              <a:gd name="connsiteX121" fmla="*/ 7941371 w 8636594"/>
              <a:gd name="connsiteY121" fmla="*/ 689010 h 6622937"/>
              <a:gd name="connsiteX122" fmla="*/ 7973518 w 8636594"/>
              <a:gd name="connsiteY122" fmla="*/ 651447 h 6622937"/>
              <a:gd name="connsiteX123" fmla="*/ 8005905 w 8636594"/>
              <a:gd name="connsiteY123" fmla="*/ 614171 h 6622937"/>
              <a:gd name="connsiteX124" fmla="*/ 8038538 w 8636594"/>
              <a:gd name="connsiteY124" fmla="*/ 577189 h 6622937"/>
              <a:gd name="connsiteX125" fmla="*/ 8071421 w 8636594"/>
              <a:gd name="connsiteY125" fmla="*/ 540507 h 6622937"/>
              <a:gd name="connsiteX126" fmla="*/ 8104563 w 8636594"/>
              <a:gd name="connsiteY126" fmla="*/ 504132 h 6622937"/>
              <a:gd name="connsiteX127" fmla="*/ 8137967 w 8636594"/>
              <a:gd name="connsiteY127" fmla="*/ 468072 h 6622937"/>
              <a:gd name="connsiteX128" fmla="*/ 8171641 w 8636594"/>
              <a:gd name="connsiteY128" fmla="*/ 432332 h 6622937"/>
              <a:gd name="connsiteX129" fmla="*/ 8205590 w 8636594"/>
              <a:gd name="connsiteY129" fmla="*/ 396920 h 6622937"/>
              <a:gd name="connsiteX130" fmla="*/ 8239820 w 8636594"/>
              <a:gd name="connsiteY130" fmla="*/ 361843 h 6622937"/>
              <a:gd name="connsiteX131" fmla="*/ 8274337 w 8636594"/>
              <a:gd name="connsiteY131" fmla="*/ 327107 h 6622937"/>
              <a:gd name="connsiteX132" fmla="*/ 8309147 w 8636594"/>
              <a:gd name="connsiteY132" fmla="*/ 292718 h 6622937"/>
              <a:gd name="connsiteX133" fmla="*/ 8344256 w 8636594"/>
              <a:gd name="connsiteY133" fmla="*/ 258685 h 6622937"/>
              <a:gd name="connsiteX134" fmla="*/ 8379669 w 8636594"/>
              <a:gd name="connsiteY134" fmla="*/ 225013 h 6622937"/>
              <a:gd name="connsiteX135" fmla="*/ 8415394 w 8636594"/>
              <a:gd name="connsiteY135" fmla="*/ 191709 h 6622937"/>
              <a:gd name="connsiteX136" fmla="*/ 8451434 w 8636594"/>
              <a:gd name="connsiteY136" fmla="*/ 158780 h 6622937"/>
              <a:gd name="connsiteX137" fmla="*/ 8487798 w 8636594"/>
              <a:gd name="connsiteY137" fmla="*/ 126233 h 6622937"/>
              <a:gd name="connsiteX138" fmla="*/ 8524489 w 8636594"/>
              <a:gd name="connsiteY138" fmla="*/ 94075 h 6622937"/>
              <a:gd name="connsiteX139" fmla="*/ 8561515 w 8636594"/>
              <a:gd name="connsiteY139" fmla="*/ 62312 h 6622937"/>
              <a:gd name="connsiteX140" fmla="*/ 8598881 w 8636594"/>
              <a:gd name="connsiteY140" fmla="*/ 30951 h 6622937"/>
              <a:gd name="connsiteX141" fmla="*/ 8636594 w 8636594"/>
              <a:gd name="connsiteY141" fmla="*/ 0 h 6622937"/>
              <a:gd name="connsiteX0" fmla="*/ 8636594 w 8636594"/>
              <a:gd name="connsiteY0" fmla="*/ 0 h 6612869"/>
              <a:gd name="connsiteX1" fmla="*/ 5293 w 8636594"/>
              <a:gd name="connsiteY1" fmla="*/ 0 h 6612869"/>
              <a:gd name="connsiteX2" fmla="*/ 0 w 8636594"/>
              <a:gd name="connsiteY2" fmla="*/ 5587843 h 6612869"/>
              <a:gd name="connsiteX3" fmla="*/ 1594033 w 8636594"/>
              <a:gd name="connsiteY3" fmla="*/ 5600057 h 6612869"/>
              <a:gd name="connsiteX4" fmla="*/ 1686068 w 8636594"/>
              <a:gd name="connsiteY4" fmla="*/ 5599745 h 6612869"/>
              <a:gd name="connsiteX5" fmla="*/ 2126742 w 8636594"/>
              <a:gd name="connsiteY5" fmla="*/ 6612869 h 6612869"/>
              <a:gd name="connsiteX6" fmla="*/ 2185991 w 8636594"/>
              <a:gd name="connsiteY6" fmla="*/ 6602362 h 6612869"/>
              <a:gd name="connsiteX7" fmla="*/ 2244569 w 8636594"/>
              <a:gd name="connsiteY7" fmla="*/ 6591417 h 6612869"/>
              <a:gd name="connsiteX8" fmla="*/ 2302482 w 8636594"/>
              <a:gd name="connsiteY8" fmla="*/ 6580040 h 6612869"/>
              <a:gd name="connsiteX9" fmla="*/ 2359737 w 8636594"/>
              <a:gd name="connsiteY9" fmla="*/ 6568233 h 6612869"/>
              <a:gd name="connsiteX10" fmla="*/ 2416341 w 8636594"/>
              <a:gd name="connsiteY10" fmla="*/ 6555999 h 6612869"/>
              <a:gd name="connsiteX11" fmla="*/ 2472299 w 8636594"/>
              <a:gd name="connsiteY11" fmla="*/ 6543344 h 6612869"/>
              <a:gd name="connsiteX12" fmla="*/ 2527618 w 8636594"/>
              <a:gd name="connsiteY12" fmla="*/ 6530269 h 6612869"/>
              <a:gd name="connsiteX13" fmla="*/ 2582304 w 8636594"/>
              <a:gd name="connsiteY13" fmla="*/ 6516778 h 6612869"/>
              <a:gd name="connsiteX14" fmla="*/ 2636364 w 8636594"/>
              <a:gd name="connsiteY14" fmla="*/ 6502876 h 6612869"/>
              <a:gd name="connsiteX15" fmla="*/ 2689804 w 8636594"/>
              <a:gd name="connsiteY15" fmla="*/ 6488565 h 6612869"/>
              <a:gd name="connsiteX16" fmla="*/ 2742629 w 8636594"/>
              <a:gd name="connsiteY16" fmla="*/ 6473849 h 6612869"/>
              <a:gd name="connsiteX17" fmla="*/ 2794848 w 8636594"/>
              <a:gd name="connsiteY17" fmla="*/ 6458731 h 6612869"/>
              <a:gd name="connsiteX18" fmla="*/ 2846466 w 8636594"/>
              <a:gd name="connsiteY18" fmla="*/ 6443216 h 6612869"/>
              <a:gd name="connsiteX19" fmla="*/ 2897488 w 8636594"/>
              <a:gd name="connsiteY19" fmla="*/ 6427305 h 6612869"/>
              <a:gd name="connsiteX20" fmla="*/ 2947923 w 8636594"/>
              <a:gd name="connsiteY20" fmla="*/ 6411004 h 6612869"/>
              <a:gd name="connsiteX21" fmla="*/ 2997775 w 8636594"/>
              <a:gd name="connsiteY21" fmla="*/ 6394316 h 6612869"/>
              <a:gd name="connsiteX22" fmla="*/ 3047052 w 8636594"/>
              <a:gd name="connsiteY22" fmla="*/ 6377243 h 6612869"/>
              <a:gd name="connsiteX23" fmla="*/ 3095759 w 8636594"/>
              <a:gd name="connsiteY23" fmla="*/ 6359791 h 6612869"/>
              <a:gd name="connsiteX24" fmla="*/ 3143903 w 8636594"/>
              <a:gd name="connsiteY24" fmla="*/ 6341961 h 6612869"/>
              <a:gd name="connsiteX25" fmla="*/ 3191491 w 8636594"/>
              <a:gd name="connsiteY25" fmla="*/ 6323757 h 6612869"/>
              <a:gd name="connsiteX26" fmla="*/ 3238528 w 8636594"/>
              <a:gd name="connsiteY26" fmla="*/ 6305184 h 6612869"/>
              <a:gd name="connsiteX27" fmla="*/ 3285021 w 8636594"/>
              <a:gd name="connsiteY27" fmla="*/ 6286245 h 6612869"/>
              <a:gd name="connsiteX28" fmla="*/ 3330977 w 8636594"/>
              <a:gd name="connsiteY28" fmla="*/ 6266942 h 6612869"/>
              <a:gd name="connsiteX29" fmla="*/ 3376401 w 8636594"/>
              <a:gd name="connsiteY29" fmla="*/ 6247281 h 6612869"/>
              <a:gd name="connsiteX30" fmla="*/ 3421300 w 8636594"/>
              <a:gd name="connsiteY30" fmla="*/ 6227263 h 6612869"/>
              <a:gd name="connsiteX31" fmla="*/ 3465680 w 8636594"/>
              <a:gd name="connsiteY31" fmla="*/ 6206893 h 6612869"/>
              <a:gd name="connsiteX32" fmla="*/ 3509548 w 8636594"/>
              <a:gd name="connsiteY32" fmla="*/ 6186174 h 6612869"/>
              <a:gd name="connsiteX33" fmla="*/ 3552910 w 8636594"/>
              <a:gd name="connsiteY33" fmla="*/ 6165110 h 6612869"/>
              <a:gd name="connsiteX34" fmla="*/ 3595773 w 8636594"/>
              <a:gd name="connsiteY34" fmla="*/ 6143704 h 6612869"/>
              <a:gd name="connsiteX35" fmla="*/ 3638142 w 8636594"/>
              <a:gd name="connsiteY35" fmla="*/ 6121960 h 6612869"/>
              <a:gd name="connsiteX36" fmla="*/ 3680024 w 8636594"/>
              <a:gd name="connsiteY36" fmla="*/ 6099881 h 6612869"/>
              <a:gd name="connsiteX37" fmla="*/ 3721426 w 8636594"/>
              <a:gd name="connsiteY37" fmla="*/ 6077471 h 6612869"/>
              <a:gd name="connsiteX38" fmla="*/ 3762353 w 8636594"/>
              <a:gd name="connsiteY38" fmla="*/ 6054733 h 6612869"/>
              <a:gd name="connsiteX39" fmla="*/ 3802812 w 8636594"/>
              <a:gd name="connsiteY39" fmla="*/ 6031671 h 6612869"/>
              <a:gd name="connsiteX40" fmla="*/ 3842810 w 8636594"/>
              <a:gd name="connsiteY40" fmla="*/ 6008288 h 6612869"/>
              <a:gd name="connsiteX41" fmla="*/ 3882352 w 8636594"/>
              <a:gd name="connsiteY41" fmla="*/ 5984588 h 6612869"/>
              <a:gd name="connsiteX42" fmla="*/ 3921445 w 8636594"/>
              <a:gd name="connsiteY42" fmla="*/ 5960574 h 6612869"/>
              <a:gd name="connsiteX43" fmla="*/ 3960096 w 8636594"/>
              <a:gd name="connsiteY43" fmla="*/ 5936250 h 6612869"/>
              <a:gd name="connsiteX44" fmla="*/ 3998311 w 8636594"/>
              <a:gd name="connsiteY44" fmla="*/ 5911619 h 6612869"/>
              <a:gd name="connsiteX45" fmla="*/ 4036095 w 8636594"/>
              <a:gd name="connsiteY45" fmla="*/ 5886685 h 6612869"/>
              <a:gd name="connsiteX46" fmla="*/ 4073456 w 8636594"/>
              <a:gd name="connsiteY46" fmla="*/ 5861452 h 6612869"/>
              <a:gd name="connsiteX47" fmla="*/ 4110400 w 8636594"/>
              <a:gd name="connsiteY47" fmla="*/ 5835922 h 6612869"/>
              <a:gd name="connsiteX48" fmla="*/ 4146933 w 8636594"/>
              <a:gd name="connsiteY48" fmla="*/ 5810100 h 6612869"/>
              <a:gd name="connsiteX49" fmla="*/ 4183061 w 8636594"/>
              <a:gd name="connsiteY49" fmla="*/ 5783988 h 6612869"/>
              <a:gd name="connsiteX50" fmla="*/ 4218791 w 8636594"/>
              <a:gd name="connsiteY50" fmla="*/ 5757591 h 6612869"/>
              <a:gd name="connsiteX51" fmla="*/ 4254129 w 8636594"/>
              <a:gd name="connsiteY51" fmla="*/ 5730912 h 6612869"/>
              <a:gd name="connsiteX52" fmla="*/ 4289081 w 8636594"/>
              <a:gd name="connsiteY52" fmla="*/ 5703955 h 6612869"/>
              <a:gd name="connsiteX53" fmla="*/ 4323654 w 8636594"/>
              <a:gd name="connsiteY53" fmla="*/ 5676722 h 6612869"/>
              <a:gd name="connsiteX54" fmla="*/ 4357854 w 8636594"/>
              <a:gd name="connsiteY54" fmla="*/ 5649218 h 6612869"/>
              <a:gd name="connsiteX55" fmla="*/ 4391688 w 8636594"/>
              <a:gd name="connsiteY55" fmla="*/ 5621446 h 6612869"/>
              <a:gd name="connsiteX56" fmla="*/ 4425162 w 8636594"/>
              <a:gd name="connsiteY56" fmla="*/ 5593409 h 6612869"/>
              <a:gd name="connsiteX57" fmla="*/ 4458281 w 8636594"/>
              <a:gd name="connsiteY57" fmla="*/ 5565111 h 6612869"/>
              <a:gd name="connsiteX58" fmla="*/ 4491053 w 8636594"/>
              <a:gd name="connsiteY58" fmla="*/ 5536556 h 6612869"/>
              <a:gd name="connsiteX59" fmla="*/ 4523484 w 8636594"/>
              <a:gd name="connsiteY59" fmla="*/ 5507747 h 6612869"/>
              <a:gd name="connsiteX60" fmla="*/ 4555580 w 8636594"/>
              <a:gd name="connsiteY60" fmla="*/ 5478687 h 6612869"/>
              <a:gd name="connsiteX61" fmla="*/ 4587347 w 8636594"/>
              <a:gd name="connsiteY61" fmla="*/ 5449380 h 6612869"/>
              <a:gd name="connsiteX62" fmla="*/ 4618793 w 8636594"/>
              <a:gd name="connsiteY62" fmla="*/ 5419830 h 6612869"/>
              <a:gd name="connsiteX63" fmla="*/ 4649922 w 8636594"/>
              <a:gd name="connsiteY63" fmla="*/ 5390040 h 6612869"/>
              <a:gd name="connsiteX64" fmla="*/ 4680742 w 8636594"/>
              <a:gd name="connsiteY64" fmla="*/ 5360014 h 6612869"/>
              <a:gd name="connsiteX65" fmla="*/ 4711259 w 8636594"/>
              <a:gd name="connsiteY65" fmla="*/ 5329755 h 6612869"/>
              <a:gd name="connsiteX66" fmla="*/ 4741478 w 8636594"/>
              <a:gd name="connsiteY66" fmla="*/ 5299266 h 6612869"/>
              <a:gd name="connsiteX67" fmla="*/ 4771408 w 8636594"/>
              <a:gd name="connsiteY67" fmla="*/ 5268551 h 6612869"/>
              <a:gd name="connsiteX68" fmla="*/ 4801053 w 8636594"/>
              <a:gd name="connsiteY68" fmla="*/ 5237614 h 6612869"/>
              <a:gd name="connsiteX69" fmla="*/ 4830420 w 8636594"/>
              <a:gd name="connsiteY69" fmla="*/ 5206458 h 6612869"/>
              <a:gd name="connsiteX70" fmla="*/ 4859516 w 8636594"/>
              <a:gd name="connsiteY70" fmla="*/ 5175087 h 6612869"/>
              <a:gd name="connsiteX71" fmla="*/ 4888347 w 8636594"/>
              <a:gd name="connsiteY71" fmla="*/ 5143504 h 6612869"/>
              <a:gd name="connsiteX72" fmla="*/ 4916919 w 8636594"/>
              <a:gd name="connsiteY72" fmla="*/ 5111713 h 6612869"/>
              <a:gd name="connsiteX73" fmla="*/ 4945238 w 8636594"/>
              <a:gd name="connsiteY73" fmla="*/ 5079717 h 6612869"/>
              <a:gd name="connsiteX74" fmla="*/ 4973311 w 8636594"/>
              <a:gd name="connsiteY74" fmla="*/ 5047519 h 6612869"/>
              <a:gd name="connsiteX75" fmla="*/ 5001145 w 8636594"/>
              <a:gd name="connsiteY75" fmla="*/ 5015124 h 6612869"/>
              <a:gd name="connsiteX76" fmla="*/ 5028745 w 8636594"/>
              <a:gd name="connsiteY76" fmla="*/ 4982535 h 6612869"/>
              <a:gd name="connsiteX77" fmla="*/ 5056117 w 8636594"/>
              <a:gd name="connsiteY77" fmla="*/ 4949755 h 6612869"/>
              <a:gd name="connsiteX78" fmla="*/ 5083269 w 8636594"/>
              <a:gd name="connsiteY78" fmla="*/ 4916787 h 6612869"/>
              <a:gd name="connsiteX79" fmla="*/ 5110207 w 8636594"/>
              <a:gd name="connsiteY79" fmla="*/ 4883636 h 6612869"/>
              <a:gd name="connsiteX80" fmla="*/ 5136937 w 8636594"/>
              <a:gd name="connsiteY80" fmla="*/ 4850305 h 6612869"/>
              <a:gd name="connsiteX81" fmla="*/ 5163464 w 8636594"/>
              <a:gd name="connsiteY81" fmla="*/ 4816797 h 6612869"/>
              <a:gd name="connsiteX82" fmla="*/ 5215940 w 8636594"/>
              <a:gd name="connsiteY82" fmla="*/ 4749265 h 6612869"/>
              <a:gd name="connsiteX83" fmla="*/ 5267684 w 8636594"/>
              <a:gd name="connsiteY83" fmla="*/ 4681068 h 6612869"/>
              <a:gd name="connsiteX84" fmla="*/ 5318748 w 8636594"/>
              <a:gd name="connsiteY84" fmla="*/ 4612234 h 6612869"/>
              <a:gd name="connsiteX85" fmla="*/ 5369182 w 8636594"/>
              <a:gd name="connsiteY85" fmla="*/ 4542793 h 6612869"/>
              <a:gd name="connsiteX86" fmla="*/ 5419038 w 8636594"/>
              <a:gd name="connsiteY86" fmla="*/ 4472771 h 6612869"/>
              <a:gd name="connsiteX87" fmla="*/ 5468365 w 8636594"/>
              <a:gd name="connsiteY87" fmla="*/ 4402196 h 6612869"/>
              <a:gd name="connsiteX88" fmla="*/ 5517215 w 8636594"/>
              <a:gd name="connsiteY88" fmla="*/ 4331098 h 6612869"/>
              <a:gd name="connsiteX89" fmla="*/ 5565637 w 8636594"/>
              <a:gd name="connsiteY89" fmla="*/ 4259503 h 6612869"/>
              <a:gd name="connsiteX90" fmla="*/ 5613684 w 8636594"/>
              <a:gd name="connsiteY90" fmla="*/ 4187441 h 6612869"/>
              <a:gd name="connsiteX91" fmla="*/ 5685160 w 8636594"/>
              <a:gd name="connsiteY91" fmla="*/ 4078531 h 6612869"/>
              <a:gd name="connsiteX92" fmla="*/ 5756074 w 8636594"/>
              <a:gd name="connsiteY92" fmla="*/ 3968727 h 6612869"/>
              <a:gd name="connsiteX93" fmla="*/ 5873483 w 8636594"/>
              <a:gd name="connsiteY93" fmla="*/ 3783989 h 6612869"/>
              <a:gd name="connsiteX94" fmla="*/ 6203209 w 8636594"/>
              <a:gd name="connsiteY94" fmla="*/ 3258640 h 6612869"/>
              <a:gd name="connsiteX95" fmla="*/ 6299430 w 8636594"/>
              <a:gd name="connsiteY95" fmla="*/ 3107321 h 6612869"/>
              <a:gd name="connsiteX96" fmla="*/ 6372650 w 8636594"/>
              <a:gd name="connsiteY96" fmla="*/ 2993735 h 6612869"/>
              <a:gd name="connsiteX97" fmla="*/ 6453197 w 8636594"/>
              <a:gd name="connsiteY97" fmla="*/ 2869788 h 6612869"/>
              <a:gd name="connsiteX98" fmla="*/ 6564167 w 8636594"/>
              <a:gd name="connsiteY98" fmla="*/ 2696807 h 6612869"/>
              <a:gd name="connsiteX99" fmla="*/ 6976233 w 8636594"/>
              <a:gd name="connsiteY99" fmla="*/ 2045274 h 6612869"/>
              <a:gd name="connsiteX100" fmla="*/ 7086755 w 8636594"/>
              <a:gd name="connsiteY100" fmla="*/ 1872743 h 6612869"/>
              <a:gd name="connsiteX101" fmla="*/ 7170279 w 8636594"/>
              <a:gd name="connsiteY101" fmla="*/ 1744202 h 6612869"/>
              <a:gd name="connsiteX102" fmla="*/ 7226351 w 8636594"/>
              <a:gd name="connsiteY102" fmla="*/ 1659017 h 6612869"/>
              <a:gd name="connsiteX103" fmla="*/ 7282789 w 8636594"/>
              <a:gd name="connsiteY103" fmla="*/ 1574303 h 6612869"/>
              <a:gd name="connsiteX104" fmla="*/ 7339643 w 8636594"/>
              <a:gd name="connsiteY104" fmla="*/ 1490113 h 6612869"/>
              <a:gd name="connsiteX105" fmla="*/ 7396957 w 8636594"/>
              <a:gd name="connsiteY105" fmla="*/ 1406503 h 6612869"/>
              <a:gd name="connsiteX106" fmla="*/ 7454781 w 8636594"/>
              <a:gd name="connsiteY106" fmla="*/ 1323526 h 6612869"/>
              <a:gd name="connsiteX107" fmla="*/ 7513161 w 8636594"/>
              <a:gd name="connsiteY107" fmla="*/ 1241237 h 6612869"/>
              <a:gd name="connsiteX108" fmla="*/ 7572144 w 8636594"/>
              <a:gd name="connsiteY108" fmla="*/ 1159689 h 6612869"/>
              <a:gd name="connsiteX109" fmla="*/ 7601877 w 8636594"/>
              <a:gd name="connsiteY109" fmla="*/ 1119210 h 6612869"/>
              <a:gd name="connsiteX110" fmla="*/ 7631779 w 8636594"/>
              <a:gd name="connsiteY110" fmla="*/ 1078937 h 6612869"/>
              <a:gd name="connsiteX111" fmla="*/ 7661855 w 8636594"/>
              <a:gd name="connsiteY111" fmla="*/ 1038876 h 6612869"/>
              <a:gd name="connsiteX112" fmla="*/ 7692111 w 8636594"/>
              <a:gd name="connsiteY112" fmla="*/ 999035 h 6612869"/>
              <a:gd name="connsiteX113" fmla="*/ 7722554 w 8636594"/>
              <a:gd name="connsiteY113" fmla="*/ 959419 h 6612869"/>
              <a:gd name="connsiteX114" fmla="*/ 7753190 w 8636594"/>
              <a:gd name="connsiteY114" fmla="*/ 920037 h 6612869"/>
              <a:gd name="connsiteX115" fmla="*/ 7784023 w 8636594"/>
              <a:gd name="connsiteY115" fmla="*/ 880894 h 6612869"/>
              <a:gd name="connsiteX116" fmla="*/ 7815061 w 8636594"/>
              <a:gd name="connsiteY116" fmla="*/ 841997 h 6612869"/>
              <a:gd name="connsiteX117" fmla="*/ 7846308 w 8636594"/>
              <a:gd name="connsiteY117" fmla="*/ 803354 h 6612869"/>
              <a:gd name="connsiteX118" fmla="*/ 7877772 w 8636594"/>
              <a:gd name="connsiteY118" fmla="*/ 764970 h 6612869"/>
              <a:gd name="connsiteX119" fmla="*/ 7909458 w 8636594"/>
              <a:gd name="connsiteY119" fmla="*/ 726853 h 6612869"/>
              <a:gd name="connsiteX120" fmla="*/ 7941371 w 8636594"/>
              <a:gd name="connsiteY120" fmla="*/ 689010 h 6612869"/>
              <a:gd name="connsiteX121" fmla="*/ 7973518 w 8636594"/>
              <a:gd name="connsiteY121" fmla="*/ 651447 h 6612869"/>
              <a:gd name="connsiteX122" fmla="*/ 8005905 w 8636594"/>
              <a:gd name="connsiteY122" fmla="*/ 614171 h 6612869"/>
              <a:gd name="connsiteX123" fmla="*/ 8038538 w 8636594"/>
              <a:gd name="connsiteY123" fmla="*/ 577189 h 6612869"/>
              <a:gd name="connsiteX124" fmla="*/ 8071421 w 8636594"/>
              <a:gd name="connsiteY124" fmla="*/ 540507 h 6612869"/>
              <a:gd name="connsiteX125" fmla="*/ 8104563 w 8636594"/>
              <a:gd name="connsiteY125" fmla="*/ 504132 h 6612869"/>
              <a:gd name="connsiteX126" fmla="*/ 8137967 w 8636594"/>
              <a:gd name="connsiteY126" fmla="*/ 468072 h 6612869"/>
              <a:gd name="connsiteX127" fmla="*/ 8171641 w 8636594"/>
              <a:gd name="connsiteY127" fmla="*/ 432332 h 6612869"/>
              <a:gd name="connsiteX128" fmla="*/ 8205590 w 8636594"/>
              <a:gd name="connsiteY128" fmla="*/ 396920 h 6612869"/>
              <a:gd name="connsiteX129" fmla="*/ 8239820 w 8636594"/>
              <a:gd name="connsiteY129" fmla="*/ 361843 h 6612869"/>
              <a:gd name="connsiteX130" fmla="*/ 8274337 w 8636594"/>
              <a:gd name="connsiteY130" fmla="*/ 327107 h 6612869"/>
              <a:gd name="connsiteX131" fmla="*/ 8309147 w 8636594"/>
              <a:gd name="connsiteY131" fmla="*/ 292718 h 6612869"/>
              <a:gd name="connsiteX132" fmla="*/ 8344256 w 8636594"/>
              <a:gd name="connsiteY132" fmla="*/ 258685 h 6612869"/>
              <a:gd name="connsiteX133" fmla="*/ 8379669 w 8636594"/>
              <a:gd name="connsiteY133" fmla="*/ 225013 h 6612869"/>
              <a:gd name="connsiteX134" fmla="*/ 8415394 w 8636594"/>
              <a:gd name="connsiteY134" fmla="*/ 191709 h 6612869"/>
              <a:gd name="connsiteX135" fmla="*/ 8451434 w 8636594"/>
              <a:gd name="connsiteY135" fmla="*/ 158780 h 6612869"/>
              <a:gd name="connsiteX136" fmla="*/ 8487798 w 8636594"/>
              <a:gd name="connsiteY136" fmla="*/ 126233 h 6612869"/>
              <a:gd name="connsiteX137" fmla="*/ 8524489 w 8636594"/>
              <a:gd name="connsiteY137" fmla="*/ 94075 h 6612869"/>
              <a:gd name="connsiteX138" fmla="*/ 8561515 w 8636594"/>
              <a:gd name="connsiteY138" fmla="*/ 62312 h 6612869"/>
              <a:gd name="connsiteX139" fmla="*/ 8598881 w 8636594"/>
              <a:gd name="connsiteY139" fmla="*/ 30951 h 6612869"/>
              <a:gd name="connsiteX140" fmla="*/ 8636594 w 8636594"/>
              <a:gd name="connsiteY140" fmla="*/ 0 h 6612869"/>
              <a:gd name="connsiteX0" fmla="*/ 8636594 w 8636594"/>
              <a:gd name="connsiteY0" fmla="*/ 0 h 6602362"/>
              <a:gd name="connsiteX1" fmla="*/ 5293 w 8636594"/>
              <a:gd name="connsiteY1" fmla="*/ 0 h 6602362"/>
              <a:gd name="connsiteX2" fmla="*/ 0 w 8636594"/>
              <a:gd name="connsiteY2" fmla="*/ 5587843 h 6602362"/>
              <a:gd name="connsiteX3" fmla="*/ 1594033 w 8636594"/>
              <a:gd name="connsiteY3" fmla="*/ 5600057 h 6602362"/>
              <a:gd name="connsiteX4" fmla="*/ 1686068 w 8636594"/>
              <a:gd name="connsiteY4" fmla="*/ 5599745 h 6602362"/>
              <a:gd name="connsiteX5" fmla="*/ 2185991 w 8636594"/>
              <a:gd name="connsiteY5" fmla="*/ 6602362 h 6602362"/>
              <a:gd name="connsiteX6" fmla="*/ 2244569 w 8636594"/>
              <a:gd name="connsiteY6" fmla="*/ 6591417 h 6602362"/>
              <a:gd name="connsiteX7" fmla="*/ 2302482 w 8636594"/>
              <a:gd name="connsiteY7" fmla="*/ 6580040 h 6602362"/>
              <a:gd name="connsiteX8" fmla="*/ 2359737 w 8636594"/>
              <a:gd name="connsiteY8" fmla="*/ 6568233 h 6602362"/>
              <a:gd name="connsiteX9" fmla="*/ 2416341 w 8636594"/>
              <a:gd name="connsiteY9" fmla="*/ 6555999 h 6602362"/>
              <a:gd name="connsiteX10" fmla="*/ 2472299 w 8636594"/>
              <a:gd name="connsiteY10" fmla="*/ 6543344 h 6602362"/>
              <a:gd name="connsiteX11" fmla="*/ 2527618 w 8636594"/>
              <a:gd name="connsiteY11" fmla="*/ 6530269 h 6602362"/>
              <a:gd name="connsiteX12" fmla="*/ 2582304 w 8636594"/>
              <a:gd name="connsiteY12" fmla="*/ 6516778 h 6602362"/>
              <a:gd name="connsiteX13" fmla="*/ 2636364 w 8636594"/>
              <a:gd name="connsiteY13" fmla="*/ 6502876 h 6602362"/>
              <a:gd name="connsiteX14" fmla="*/ 2689804 w 8636594"/>
              <a:gd name="connsiteY14" fmla="*/ 6488565 h 6602362"/>
              <a:gd name="connsiteX15" fmla="*/ 2742629 w 8636594"/>
              <a:gd name="connsiteY15" fmla="*/ 6473849 h 6602362"/>
              <a:gd name="connsiteX16" fmla="*/ 2794848 w 8636594"/>
              <a:gd name="connsiteY16" fmla="*/ 6458731 h 6602362"/>
              <a:gd name="connsiteX17" fmla="*/ 2846466 w 8636594"/>
              <a:gd name="connsiteY17" fmla="*/ 6443216 h 6602362"/>
              <a:gd name="connsiteX18" fmla="*/ 2897488 w 8636594"/>
              <a:gd name="connsiteY18" fmla="*/ 6427305 h 6602362"/>
              <a:gd name="connsiteX19" fmla="*/ 2947923 w 8636594"/>
              <a:gd name="connsiteY19" fmla="*/ 6411004 h 6602362"/>
              <a:gd name="connsiteX20" fmla="*/ 2997775 w 8636594"/>
              <a:gd name="connsiteY20" fmla="*/ 6394316 h 6602362"/>
              <a:gd name="connsiteX21" fmla="*/ 3047052 w 8636594"/>
              <a:gd name="connsiteY21" fmla="*/ 6377243 h 6602362"/>
              <a:gd name="connsiteX22" fmla="*/ 3095759 w 8636594"/>
              <a:gd name="connsiteY22" fmla="*/ 6359791 h 6602362"/>
              <a:gd name="connsiteX23" fmla="*/ 3143903 w 8636594"/>
              <a:gd name="connsiteY23" fmla="*/ 6341961 h 6602362"/>
              <a:gd name="connsiteX24" fmla="*/ 3191491 w 8636594"/>
              <a:gd name="connsiteY24" fmla="*/ 6323757 h 6602362"/>
              <a:gd name="connsiteX25" fmla="*/ 3238528 w 8636594"/>
              <a:gd name="connsiteY25" fmla="*/ 6305184 h 6602362"/>
              <a:gd name="connsiteX26" fmla="*/ 3285021 w 8636594"/>
              <a:gd name="connsiteY26" fmla="*/ 6286245 h 6602362"/>
              <a:gd name="connsiteX27" fmla="*/ 3330977 w 8636594"/>
              <a:gd name="connsiteY27" fmla="*/ 6266942 h 6602362"/>
              <a:gd name="connsiteX28" fmla="*/ 3376401 w 8636594"/>
              <a:gd name="connsiteY28" fmla="*/ 6247281 h 6602362"/>
              <a:gd name="connsiteX29" fmla="*/ 3421300 w 8636594"/>
              <a:gd name="connsiteY29" fmla="*/ 6227263 h 6602362"/>
              <a:gd name="connsiteX30" fmla="*/ 3465680 w 8636594"/>
              <a:gd name="connsiteY30" fmla="*/ 6206893 h 6602362"/>
              <a:gd name="connsiteX31" fmla="*/ 3509548 w 8636594"/>
              <a:gd name="connsiteY31" fmla="*/ 6186174 h 6602362"/>
              <a:gd name="connsiteX32" fmla="*/ 3552910 w 8636594"/>
              <a:gd name="connsiteY32" fmla="*/ 6165110 h 6602362"/>
              <a:gd name="connsiteX33" fmla="*/ 3595773 w 8636594"/>
              <a:gd name="connsiteY33" fmla="*/ 6143704 h 6602362"/>
              <a:gd name="connsiteX34" fmla="*/ 3638142 w 8636594"/>
              <a:gd name="connsiteY34" fmla="*/ 6121960 h 6602362"/>
              <a:gd name="connsiteX35" fmla="*/ 3680024 w 8636594"/>
              <a:gd name="connsiteY35" fmla="*/ 6099881 h 6602362"/>
              <a:gd name="connsiteX36" fmla="*/ 3721426 w 8636594"/>
              <a:gd name="connsiteY36" fmla="*/ 6077471 h 6602362"/>
              <a:gd name="connsiteX37" fmla="*/ 3762353 w 8636594"/>
              <a:gd name="connsiteY37" fmla="*/ 6054733 h 6602362"/>
              <a:gd name="connsiteX38" fmla="*/ 3802812 w 8636594"/>
              <a:gd name="connsiteY38" fmla="*/ 6031671 h 6602362"/>
              <a:gd name="connsiteX39" fmla="*/ 3842810 w 8636594"/>
              <a:gd name="connsiteY39" fmla="*/ 6008288 h 6602362"/>
              <a:gd name="connsiteX40" fmla="*/ 3882352 w 8636594"/>
              <a:gd name="connsiteY40" fmla="*/ 5984588 h 6602362"/>
              <a:gd name="connsiteX41" fmla="*/ 3921445 w 8636594"/>
              <a:gd name="connsiteY41" fmla="*/ 5960574 h 6602362"/>
              <a:gd name="connsiteX42" fmla="*/ 3960096 w 8636594"/>
              <a:gd name="connsiteY42" fmla="*/ 5936250 h 6602362"/>
              <a:gd name="connsiteX43" fmla="*/ 3998311 w 8636594"/>
              <a:gd name="connsiteY43" fmla="*/ 5911619 h 6602362"/>
              <a:gd name="connsiteX44" fmla="*/ 4036095 w 8636594"/>
              <a:gd name="connsiteY44" fmla="*/ 5886685 h 6602362"/>
              <a:gd name="connsiteX45" fmla="*/ 4073456 w 8636594"/>
              <a:gd name="connsiteY45" fmla="*/ 5861452 h 6602362"/>
              <a:gd name="connsiteX46" fmla="*/ 4110400 w 8636594"/>
              <a:gd name="connsiteY46" fmla="*/ 5835922 h 6602362"/>
              <a:gd name="connsiteX47" fmla="*/ 4146933 w 8636594"/>
              <a:gd name="connsiteY47" fmla="*/ 5810100 h 6602362"/>
              <a:gd name="connsiteX48" fmla="*/ 4183061 w 8636594"/>
              <a:gd name="connsiteY48" fmla="*/ 5783988 h 6602362"/>
              <a:gd name="connsiteX49" fmla="*/ 4218791 w 8636594"/>
              <a:gd name="connsiteY49" fmla="*/ 5757591 h 6602362"/>
              <a:gd name="connsiteX50" fmla="*/ 4254129 w 8636594"/>
              <a:gd name="connsiteY50" fmla="*/ 5730912 h 6602362"/>
              <a:gd name="connsiteX51" fmla="*/ 4289081 w 8636594"/>
              <a:gd name="connsiteY51" fmla="*/ 5703955 h 6602362"/>
              <a:gd name="connsiteX52" fmla="*/ 4323654 w 8636594"/>
              <a:gd name="connsiteY52" fmla="*/ 5676722 h 6602362"/>
              <a:gd name="connsiteX53" fmla="*/ 4357854 w 8636594"/>
              <a:gd name="connsiteY53" fmla="*/ 5649218 h 6602362"/>
              <a:gd name="connsiteX54" fmla="*/ 4391688 w 8636594"/>
              <a:gd name="connsiteY54" fmla="*/ 5621446 h 6602362"/>
              <a:gd name="connsiteX55" fmla="*/ 4425162 w 8636594"/>
              <a:gd name="connsiteY55" fmla="*/ 5593409 h 6602362"/>
              <a:gd name="connsiteX56" fmla="*/ 4458281 w 8636594"/>
              <a:gd name="connsiteY56" fmla="*/ 5565111 h 6602362"/>
              <a:gd name="connsiteX57" fmla="*/ 4491053 w 8636594"/>
              <a:gd name="connsiteY57" fmla="*/ 5536556 h 6602362"/>
              <a:gd name="connsiteX58" fmla="*/ 4523484 w 8636594"/>
              <a:gd name="connsiteY58" fmla="*/ 5507747 h 6602362"/>
              <a:gd name="connsiteX59" fmla="*/ 4555580 w 8636594"/>
              <a:gd name="connsiteY59" fmla="*/ 5478687 h 6602362"/>
              <a:gd name="connsiteX60" fmla="*/ 4587347 w 8636594"/>
              <a:gd name="connsiteY60" fmla="*/ 5449380 h 6602362"/>
              <a:gd name="connsiteX61" fmla="*/ 4618793 w 8636594"/>
              <a:gd name="connsiteY61" fmla="*/ 5419830 h 6602362"/>
              <a:gd name="connsiteX62" fmla="*/ 4649922 w 8636594"/>
              <a:gd name="connsiteY62" fmla="*/ 5390040 h 6602362"/>
              <a:gd name="connsiteX63" fmla="*/ 4680742 w 8636594"/>
              <a:gd name="connsiteY63" fmla="*/ 5360014 h 6602362"/>
              <a:gd name="connsiteX64" fmla="*/ 4711259 w 8636594"/>
              <a:gd name="connsiteY64" fmla="*/ 5329755 h 6602362"/>
              <a:gd name="connsiteX65" fmla="*/ 4741478 w 8636594"/>
              <a:gd name="connsiteY65" fmla="*/ 5299266 h 6602362"/>
              <a:gd name="connsiteX66" fmla="*/ 4771408 w 8636594"/>
              <a:gd name="connsiteY66" fmla="*/ 5268551 h 6602362"/>
              <a:gd name="connsiteX67" fmla="*/ 4801053 w 8636594"/>
              <a:gd name="connsiteY67" fmla="*/ 5237614 h 6602362"/>
              <a:gd name="connsiteX68" fmla="*/ 4830420 w 8636594"/>
              <a:gd name="connsiteY68" fmla="*/ 5206458 h 6602362"/>
              <a:gd name="connsiteX69" fmla="*/ 4859516 w 8636594"/>
              <a:gd name="connsiteY69" fmla="*/ 5175087 h 6602362"/>
              <a:gd name="connsiteX70" fmla="*/ 4888347 w 8636594"/>
              <a:gd name="connsiteY70" fmla="*/ 5143504 h 6602362"/>
              <a:gd name="connsiteX71" fmla="*/ 4916919 w 8636594"/>
              <a:gd name="connsiteY71" fmla="*/ 5111713 h 6602362"/>
              <a:gd name="connsiteX72" fmla="*/ 4945238 w 8636594"/>
              <a:gd name="connsiteY72" fmla="*/ 5079717 h 6602362"/>
              <a:gd name="connsiteX73" fmla="*/ 4973311 w 8636594"/>
              <a:gd name="connsiteY73" fmla="*/ 5047519 h 6602362"/>
              <a:gd name="connsiteX74" fmla="*/ 5001145 w 8636594"/>
              <a:gd name="connsiteY74" fmla="*/ 5015124 h 6602362"/>
              <a:gd name="connsiteX75" fmla="*/ 5028745 w 8636594"/>
              <a:gd name="connsiteY75" fmla="*/ 4982535 h 6602362"/>
              <a:gd name="connsiteX76" fmla="*/ 5056117 w 8636594"/>
              <a:gd name="connsiteY76" fmla="*/ 4949755 h 6602362"/>
              <a:gd name="connsiteX77" fmla="*/ 5083269 w 8636594"/>
              <a:gd name="connsiteY77" fmla="*/ 4916787 h 6602362"/>
              <a:gd name="connsiteX78" fmla="*/ 5110207 w 8636594"/>
              <a:gd name="connsiteY78" fmla="*/ 4883636 h 6602362"/>
              <a:gd name="connsiteX79" fmla="*/ 5136937 w 8636594"/>
              <a:gd name="connsiteY79" fmla="*/ 4850305 h 6602362"/>
              <a:gd name="connsiteX80" fmla="*/ 5163464 w 8636594"/>
              <a:gd name="connsiteY80" fmla="*/ 4816797 h 6602362"/>
              <a:gd name="connsiteX81" fmla="*/ 5215940 w 8636594"/>
              <a:gd name="connsiteY81" fmla="*/ 4749265 h 6602362"/>
              <a:gd name="connsiteX82" fmla="*/ 5267684 w 8636594"/>
              <a:gd name="connsiteY82" fmla="*/ 4681068 h 6602362"/>
              <a:gd name="connsiteX83" fmla="*/ 5318748 w 8636594"/>
              <a:gd name="connsiteY83" fmla="*/ 4612234 h 6602362"/>
              <a:gd name="connsiteX84" fmla="*/ 5369182 w 8636594"/>
              <a:gd name="connsiteY84" fmla="*/ 4542793 h 6602362"/>
              <a:gd name="connsiteX85" fmla="*/ 5419038 w 8636594"/>
              <a:gd name="connsiteY85" fmla="*/ 4472771 h 6602362"/>
              <a:gd name="connsiteX86" fmla="*/ 5468365 w 8636594"/>
              <a:gd name="connsiteY86" fmla="*/ 4402196 h 6602362"/>
              <a:gd name="connsiteX87" fmla="*/ 5517215 w 8636594"/>
              <a:gd name="connsiteY87" fmla="*/ 4331098 h 6602362"/>
              <a:gd name="connsiteX88" fmla="*/ 5565637 w 8636594"/>
              <a:gd name="connsiteY88" fmla="*/ 4259503 h 6602362"/>
              <a:gd name="connsiteX89" fmla="*/ 5613684 w 8636594"/>
              <a:gd name="connsiteY89" fmla="*/ 4187441 h 6602362"/>
              <a:gd name="connsiteX90" fmla="*/ 5685160 w 8636594"/>
              <a:gd name="connsiteY90" fmla="*/ 4078531 h 6602362"/>
              <a:gd name="connsiteX91" fmla="*/ 5756074 w 8636594"/>
              <a:gd name="connsiteY91" fmla="*/ 3968727 h 6602362"/>
              <a:gd name="connsiteX92" fmla="*/ 5873483 w 8636594"/>
              <a:gd name="connsiteY92" fmla="*/ 3783989 h 6602362"/>
              <a:gd name="connsiteX93" fmla="*/ 6203209 w 8636594"/>
              <a:gd name="connsiteY93" fmla="*/ 3258640 h 6602362"/>
              <a:gd name="connsiteX94" fmla="*/ 6299430 w 8636594"/>
              <a:gd name="connsiteY94" fmla="*/ 3107321 h 6602362"/>
              <a:gd name="connsiteX95" fmla="*/ 6372650 w 8636594"/>
              <a:gd name="connsiteY95" fmla="*/ 2993735 h 6602362"/>
              <a:gd name="connsiteX96" fmla="*/ 6453197 w 8636594"/>
              <a:gd name="connsiteY96" fmla="*/ 2869788 h 6602362"/>
              <a:gd name="connsiteX97" fmla="*/ 6564167 w 8636594"/>
              <a:gd name="connsiteY97" fmla="*/ 2696807 h 6602362"/>
              <a:gd name="connsiteX98" fmla="*/ 6976233 w 8636594"/>
              <a:gd name="connsiteY98" fmla="*/ 2045274 h 6602362"/>
              <a:gd name="connsiteX99" fmla="*/ 7086755 w 8636594"/>
              <a:gd name="connsiteY99" fmla="*/ 1872743 h 6602362"/>
              <a:gd name="connsiteX100" fmla="*/ 7170279 w 8636594"/>
              <a:gd name="connsiteY100" fmla="*/ 1744202 h 6602362"/>
              <a:gd name="connsiteX101" fmla="*/ 7226351 w 8636594"/>
              <a:gd name="connsiteY101" fmla="*/ 1659017 h 6602362"/>
              <a:gd name="connsiteX102" fmla="*/ 7282789 w 8636594"/>
              <a:gd name="connsiteY102" fmla="*/ 1574303 h 6602362"/>
              <a:gd name="connsiteX103" fmla="*/ 7339643 w 8636594"/>
              <a:gd name="connsiteY103" fmla="*/ 1490113 h 6602362"/>
              <a:gd name="connsiteX104" fmla="*/ 7396957 w 8636594"/>
              <a:gd name="connsiteY104" fmla="*/ 1406503 h 6602362"/>
              <a:gd name="connsiteX105" fmla="*/ 7454781 w 8636594"/>
              <a:gd name="connsiteY105" fmla="*/ 1323526 h 6602362"/>
              <a:gd name="connsiteX106" fmla="*/ 7513161 w 8636594"/>
              <a:gd name="connsiteY106" fmla="*/ 1241237 h 6602362"/>
              <a:gd name="connsiteX107" fmla="*/ 7572144 w 8636594"/>
              <a:gd name="connsiteY107" fmla="*/ 1159689 h 6602362"/>
              <a:gd name="connsiteX108" fmla="*/ 7601877 w 8636594"/>
              <a:gd name="connsiteY108" fmla="*/ 1119210 h 6602362"/>
              <a:gd name="connsiteX109" fmla="*/ 7631779 w 8636594"/>
              <a:gd name="connsiteY109" fmla="*/ 1078937 h 6602362"/>
              <a:gd name="connsiteX110" fmla="*/ 7661855 w 8636594"/>
              <a:gd name="connsiteY110" fmla="*/ 1038876 h 6602362"/>
              <a:gd name="connsiteX111" fmla="*/ 7692111 w 8636594"/>
              <a:gd name="connsiteY111" fmla="*/ 999035 h 6602362"/>
              <a:gd name="connsiteX112" fmla="*/ 7722554 w 8636594"/>
              <a:gd name="connsiteY112" fmla="*/ 959419 h 6602362"/>
              <a:gd name="connsiteX113" fmla="*/ 7753190 w 8636594"/>
              <a:gd name="connsiteY113" fmla="*/ 920037 h 6602362"/>
              <a:gd name="connsiteX114" fmla="*/ 7784023 w 8636594"/>
              <a:gd name="connsiteY114" fmla="*/ 880894 h 6602362"/>
              <a:gd name="connsiteX115" fmla="*/ 7815061 w 8636594"/>
              <a:gd name="connsiteY115" fmla="*/ 841997 h 6602362"/>
              <a:gd name="connsiteX116" fmla="*/ 7846308 w 8636594"/>
              <a:gd name="connsiteY116" fmla="*/ 803354 h 6602362"/>
              <a:gd name="connsiteX117" fmla="*/ 7877772 w 8636594"/>
              <a:gd name="connsiteY117" fmla="*/ 764970 h 6602362"/>
              <a:gd name="connsiteX118" fmla="*/ 7909458 w 8636594"/>
              <a:gd name="connsiteY118" fmla="*/ 726853 h 6602362"/>
              <a:gd name="connsiteX119" fmla="*/ 7941371 w 8636594"/>
              <a:gd name="connsiteY119" fmla="*/ 689010 h 6602362"/>
              <a:gd name="connsiteX120" fmla="*/ 7973518 w 8636594"/>
              <a:gd name="connsiteY120" fmla="*/ 651447 h 6602362"/>
              <a:gd name="connsiteX121" fmla="*/ 8005905 w 8636594"/>
              <a:gd name="connsiteY121" fmla="*/ 614171 h 6602362"/>
              <a:gd name="connsiteX122" fmla="*/ 8038538 w 8636594"/>
              <a:gd name="connsiteY122" fmla="*/ 577189 h 6602362"/>
              <a:gd name="connsiteX123" fmla="*/ 8071421 w 8636594"/>
              <a:gd name="connsiteY123" fmla="*/ 540507 h 6602362"/>
              <a:gd name="connsiteX124" fmla="*/ 8104563 w 8636594"/>
              <a:gd name="connsiteY124" fmla="*/ 504132 h 6602362"/>
              <a:gd name="connsiteX125" fmla="*/ 8137967 w 8636594"/>
              <a:gd name="connsiteY125" fmla="*/ 468072 h 6602362"/>
              <a:gd name="connsiteX126" fmla="*/ 8171641 w 8636594"/>
              <a:gd name="connsiteY126" fmla="*/ 432332 h 6602362"/>
              <a:gd name="connsiteX127" fmla="*/ 8205590 w 8636594"/>
              <a:gd name="connsiteY127" fmla="*/ 396920 h 6602362"/>
              <a:gd name="connsiteX128" fmla="*/ 8239820 w 8636594"/>
              <a:gd name="connsiteY128" fmla="*/ 361843 h 6602362"/>
              <a:gd name="connsiteX129" fmla="*/ 8274337 w 8636594"/>
              <a:gd name="connsiteY129" fmla="*/ 327107 h 6602362"/>
              <a:gd name="connsiteX130" fmla="*/ 8309147 w 8636594"/>
              <a:gd name="connsiteY130" fmla="*/ 292718 h 6602362"/>
              <a:gd name="connsiteX131" fmla="*/ 8344256 w 8636594"/>
              <a:gd name="connsiteY131" fmla="*/ 258685 h 6602362"/>
              <a:gd name="connsiteX132" fmla="*/ 8379669 w 8636594"/>
              <a:gd name="connsiteY132" fmla="*/ 225013 h 6602362"/>
              <a:gd name="connsiteX133" fmla="*/ 8415394 w 8636594"/>
              <a:gd name="connsiteY133" fmla="*/ 191709 h 6602362"/>
              <a:gd name="connsiteX134" fmla="*/ 8451434 w 8636594"/>
              <a:gd name="connsiteY134" fmla="*/ 158780 h 6602362"/>
              <a:gd name="connsiteX135" fmla="*/ 8487798 w 8636594"/>
              <a:gd name="connsiteY135" fmla="*/ 126233 h 6602362"/>
              <a:gd name="connsiteX136" fmla="*/ 8524489 w 8636594"/>
              <a:gd name="connsiteY136" fmla="*/ 94075 h 6602362"/>
              <a:gd name="connsiteX137" fmla="*/ 8561515 w 8636594"/>
              <a:gd name="connsiteY137" fmla="*/ 62312 h 6602362"/>
              <a:gd name="connsiteX138" fmla="*/ 8598881 w 8636594"/>
              <a:gd name="connsiteY138" fmla="*/ 30951 h 6602362"/>
              <a:gd name="connsiteX139" fmla="*/ 8636594 w 8636594"/>
              <a:gd name="connsiteY139" fmla="*/ 0 h 6602362"/>
              <a:gd name="connsiteX0" fmla="*/ 8636594 w 8636594"/>
              <a:gd name="connsiteY0" fmla="*/ 0 h 6591417"/>
              <a:gd name="connsiteX1" fmla="*/ 5293 w 8636594"/>
              <a:gd name="connsiteY1" fmla="*/ 0 h 6591417"/>
              <a:gd name="connsiteX2" fmla="*/ 0 w 8636594"/>
              <a:gd name="connsiteY2" fmla="*/ 5587843 h 6591417"/>
              <a:gd name="connsiteX3" fmla="*/ 1594033 w 8636594"/>
              <a:gd name="connsiteY3" fmla="*/ 5600057 h 6591417"/>
              <a:gd name="connsiteX4" fmla="*/ 1686068 w 8636594"/>
              <a:gd name="connsiteY4" fmla="*/ 5599745 h 6591417"/>
              <a:gd name="connsiteX5" fmla="*/ 2244569 w 8636594"/>
              <a:gd name="connsiteY5" fmla="*/ 6591417 h 6591417"/>
              <a:gd name="connsiteX6" fmla="*/ 2302482 w 8636594"/>
              <a:gd name="connsiteY6" fmla="*/ 6580040 h 6591417"/>
              <a:gd name="connsiteX7" fmla="*/ 2359737 w 8636594"/>
              <a:gd name="connsiteY7" fmla="*/ 6568233 h 6591417"/>
              <a:gd name="connsiteX8" fmla="*/ 2416341 w 8636594"/>
              <a:gd name="connsiteY8" fmla="*/ 6555999 h 6591417"/>
              <a:gd name="connsiteX9" fmla="*/ 2472299 w 8636594"/>
              <a:gd name="connsiteY9" fmla="*/ 6543344 h 6591417"/>
              <a:gd name="connsiteX10" fmla="*/ 2527618 w 8636594"/>
              <a:gd name="connsiteY10" fmla="*/ 6530269 h 6591417"/>
              <a:gd name="connsiteX11" fmla="*/ 2582304 w 8636594"/>
              <a:gd name="connsiteY11" fmla="*/ 6516778 h 6591417"/>
              <a:gd name="connsiteX12" fmla="*/ 2636364 w 8636594"/>
              <a:gd name="connsiteY12" fmla="*/ 6502876 h 6591417"/>
              <a:gd name="connsiteX13" fmla="*/ 2689804 w 8636594"/>
              <a:gd name="connsiteY13" fmla="*/ 6488565 h 6591417"/>
              <a:gd name="connsiteX14" fmla="*/ 2742629 w 8636594"/>
              <a:gd name="connsiteY14" fmla="*/ 6473849 h 6591417"/>
              <a:gd name="connsiteX15" fmla="*/ 2794848 w 8636594"/>
              <a:gd name="connsiteY15" fmla="*/ 6458731 h 6591417"/>
              <a:gd name="connsiteX16" fmla="*/ 2846466 w 8636594"/>
              <a:gd name="connsiteY16" fmla="*/ 6443216 h 6591417"/>
              <a:gd name="connsiteX17" fmla="*/ 2897488 w 8636594"/>
              <a:gd name="connsiteY17" fmla="*/ 6427305 h 6591417"/>
              <a:gd name="connsiteX18" fmla="*/ 2947923 w 8636594"/>
              <a:gd name="connsiteY18" fmla="*/ 6411004 h 6591417"/>
              <a:gd name="connsiteX19" fmla="*/ 2997775 w 8636594"/>
              <a:gd name="connsiteY19" fmla="*/ 6394316 h 6591417"/>
              <a:gd name="connsiteX20" fmla="*/ 3047052 w 8636594"/>
              <a:gd name="connsiteY20" fmla="*/ 6377243 h 6591417"/>
              <a:gd name="connsiteX21" fmla="*/ 3095759 w 8636594"/>
              <a:gd name="connsiteY21" fmla="*/ 6359791 h 6591417"/>
              <a:gd name="connsiteX22" fmla="*/ 3143903 w 8636594"/>
              <a:gd name="connsiteY22" fmla="*/ 6341961 h 6591417"/>
              <a:gd name="connsiteX23" fmla="*/ 3191491 w 8636594"/>
              <a:gd name="connsiteY23" fmla="*/ 6323757 h 6591417"/>
              <a:gd name="connsiteX24" fmla="*/ 3238528 w 8636594"/>
              <a:gd name="connsiteY24" fmla="*/ 6305184 h 6591417"/>
              <a:gd name="connsiteX25" fmla="*/ 3285021 w 8636594"/>
              <a:gd name="connsiteY25" fmla="*/ 6286245 h 6591417"/>
              <a:gd name="connsiteX26" fmla="*/ 3330977 w 8636594"/>
              <a:gd name="connsiteY26" fmla="*/ 6266942 h 6591417"/>
              <a:gd name="connsiteX27" fmla="*/ 3376401 w 8636594"/>
              <a:gd name="connsiteY27" fmla="*/ 6247281 h 6591417"/>
              <a:gd name="connsiteX28" fmla="*/ 3421300 w 8636594"/>
              <a:gd name="connsiteY28" fmla="*/ 6227263 h 6591417"/>
              <a:gd name="connsiteX29" fmla="*/ 3465680 w 8636594"/>
              <a:gd name="connsiteY29" fmla="*/ 6206893 h 6591417"/>
              <a:gd name="connsiteX30" fmla="*/ 3509548 w 8636594"/>
              <a:gd name="connsiteY30" fmla="*/ 6186174 h 6591417"/>
              <a:gd name="connsiteX31" fmla="*/ 3552910 w 8636594"/>
              <a:gd name="connsiteY31" fmla="*/ 6165110 h 6591417"/>
              <a:gd name="connsiteX32" fmla="*/ 3595773 w 8636594"/>
              <a:gd name="connsiteY32" fmla="*/ 6143704 h 6591417"/>
              <a:gd name="connsiteX33" fmla="*/ 3638142 w 8636594"/>
              <a:gd name="connsiteY33" fmla="*/ 6121960 h 6591417"/>
              <a:gd name="connsiteX34" fmla="*/ 3680024 w 8636594"/>
              <a:gd name="connsiteY34" fmla="*/ 6099881 h 6591417"/>
              <a:gd name="connsiteX35" fmla="*/ 3721426 w 8636594"/>
              <a:gd name="connsiteY35" fmla="*/ 6077471 h 6591417"/>
              <a:gd name="connsiteX36" fmla="*/ 3762353 w 8636594"/>
              <a:gd name="connsiteY36" fmla="*/ 6054733 h 6591417"/>
              <a:gd name="connsiteX37" fmla="*/ 3802812 w 8636594"/>
              <a:gd name="connsiteY37" fmla="*/ 6031671 h 6591417"/>
              <a:gd name="connsiteX38" fmla="*/ 3842810 w 8636594"/>
              <a:gd name="connsiteY38" fmla="*/ 6008288 h 6591417"/>
              <a:gd name="connsiteX39" fmla="*/ 3882352 w 8636594"/>
              <a:gd name="connsiteY39" fmla="*/ 5984588 h 6591417"/>
              <a:gd name="connsiteX40" fmla="*/ 3921445 w 8636594"/>
              <a:gd name="connsiteY40" fmla="*/ 5960574 h 6591417"/>
              <a:gd name="connsiteX41" fmla="*/ 3960096 w 8636594"/>
              <a:gd name="connsiteY41" fmla="*/ 5936250 h 6591417"/>
              <a:gd name="connsiteX42" fmla="*/ 3998311 w 8636594"/>
              <a:gd name="connsiteY42" fmla="*/ 5911619 h 6591417"/>
              <a:gd name="connsiteX43" fmla="*/ 4036095 w 8636594"/>
              <a:gd name="connsiteY43" fmla="*/ 5886685 h 6591417"/>
              <a:gd name="connsiteX44" fmla="*/ 4073456 w 8636594"/>
              <a:gd name="connsiteY44" fmla="*/ 5861452 h 6591417"/>
              <a:gd name="connsiteX45" fmla="*/ 4110400 w 8636594"/>
              <a:gd name="connsiteY45" fmla="*/ 5835922 h 6591417"/>
              <a:gd name="connsiteX46" fmla="*/ 4146933 w 8636594"/>
              <a:gd name="connsiteY46" fmla="*/ 5810100 h 6591417"/>
              <a:gd name="connsiteX47" fmla="*/ 4183061 w 8636594"/>
              <a:gd name="connsiteY47" fmla="*/ 5783988 h 6591417"/>
              <a:gd name="connsiteX48" fmla="*/ 4218791 w 8636594"/>
              <a:gd name="connsiteY48" fmla="*/ 5757591 h 6591417"/>
              <a:gd name="connsiteX49" fmla="*/ 4254129 w 8636594"/>
              <a:gd name="connsiteY49" fmla="*/ 5730912 h 6591417"/>
              <a:gd name="connsiteX50" fmla="*/ 4289081 w 8636594"/>
              <a:gd name="connsiteY50" fmla="*/ 5703955 h 6591417"/>
              <a:gd name="connsiteX51" fmla="*/ 4323654 w 8636594"/>
              <a:gd name="connsiteY51" fmla="*/ 5676722 h 6591417"/>
              <a:gd name="connsiteX52" fmla="*/ 4357854 w 8636594"/>
              <a:gd name="connsiteY52" fmla="*/ 5649218 h 6591417"/>
              <a:gd name="connsiteX53" fmla="*/ 4391688 w 8636594"/>
              <a:gd name="connsiteY53" fmla="*/ 5621446 h 6591417"/>
              <a:gd name="connsiteX54" fmla="*/ 4425162 w 8636594"/>
              <a:gd name="connsiteY54" fmla="*/ 5593409 h 6591417"/>
              <a:gd name="connsiteX55" fmla="*/ 4458281 w 8636594"/>
              <a:gd name="connsiteY55" fmla="*/ 5565111 h 6591417"/>
              <a:gd name="connsiteX56" fmla="*/ 4491053 w 8636594"/>
              <a:gd name="connsiteY56" fmla="*/ 5536556 h 6591417"/>
              <a:gd name="connsiteX57" fmla="*/ 4523484 w 8636594"/>
              <a:gd name="connsiteY57" fmla="*/ 5507747 h 6591417"/>
              <a:gd name="connsiteX58" fmla="*/ 4555580 w 8636594"/>
              <a:gd name="connsiteY58" fmla="*/ 5478687 h 6591417"/>
              <a:gd name="connsiteX59" fmla="*/ 4587347 w 8636594"/>
              <a:gd name="connsiteY59" fmla="*/ 5449380 h 6591417"/>
              <a:gd name="connsiteX60" fmla="*/ 4618793 w 8636594"/>
              <a:gd name="connsiteY60" fmla="*/ 5419830 h 6591417"/>
              <a:gd name="connsiteX61" fmla="*/ 4649922 w 8636594"/>
              <a:gd name="connsiteY61" fmla="*/ 5390040 h 6591417"/>
              <a:gd name="connsiteX62" fmla="*/ 4680742 w 8636594"/>
              <a:gd name="connsiteY62" fmla="*/ 5360014 h 6591417"/>
              <a:gd name="connsiteX63" fmla="*/ 4711259 w 8636594"/>
              <a:gd name="connsiteY63" fmla="*/ 5329755 h 6591417"/>
              <a:gd name="connsiteX64" fmla="*/ 4741478 w 8636594"/>
              <a:gd name="connsiteY64" fmla="*/ 5299266 h 6591417"/>
              <a:gd name="connsiteX65" fmla="*/ 4771408 w 8636594"/>
              <a:gd name="connsiteY65" fmla="*/ 5268551 h 6591417"/>
              <a:gd name="connsiteX66" fmla="*/ 4801053 w 8636594"/>
              <a:gd name="connsiteY66" fmla="*/ 5237614 h 6591417"/>
              <a:gd name="connsiteX67" fmla="*/ 4830420 w 8636594"/>
              <a:gd name="connsiteY67" fmla="*/ 5206458 h 6591417"/>
              <a:gd name="connsiteX68" fmla="*/ 4859516 w 8636594"/>
              <a:gd name="connsiteY68" fmla="*/ 5175087 h 6591417"/>
              <a:gd name="connsiteX69" fmla="*/ 4888347 w 8636594"/>
              <a:gd name="connsiteY69" fmla="*/ 5143504 h 6591417"/>
              <a:gd name="connsiteX70" fmla="*/ 4916919 w 8636594"/>
              <a:gd name="connsiteY70" fmla="*/ 5111713 h 6591417"/>
              <a:gd name="connsiteX71" fmla="*/ 4945238 w 8636594"/>
              <a:gd name="connsiteY71" fmla="*/ 5079717 h 6591417"/>
              <a:gd name="connsiteX72" fmla="*/ 4973311 w 8636594"/>
              <a:gd name="connsiteY72" fmla="*/ 5047519 h 6591417"/>
              <a:gd name="connsiteX73" fmla="*/ 5001145 w 8636594"/>
              <a:gd name="connsiteY73" fmla="*/ 5015124 h 6591417"/>
              <a:gd name="connsiteX74" fmla="*/ 5028745 w 8636594"/>
              <a:gd name="connsiteY74" fmla="*/ 4982535 h 6591417"/>
              <a:gd name="connsiteX75" fmla="*/ 5056117 w 8636594"/>
              <a:gd name="connsiteY75" fmla="*/ 4949755 h 6591417"/>
              <a:gd name="connsiteX76" fmla="*/ 5083269 w 8636594"/>
              <a:gd name="connsiteY76" fmla="*/ 4916787 h 6591417"/>
              <a:gd name="connsiteX77" fmla="*/ 5110207 w 8636594"/>
              <a:gd name="connsiteY77" fmla="*/ 4883636 h 6591417"/>
              <a:gd name="connsiteX78" fmla="*/ 5136937 w 8636594"/>
              <a:gd name="connsiteY78" fmla="*/ 4850305 h 6591417"/>
              <a:gd name="connsiteX79" fmla="*/ 5163464 w 8636594"/>
              <a:gd name="connsiteY79" fmla="*/ 4816797 h 6591417"/>
              <a:gd name="connsiteX80" fmla="*/ 5215940 w 8636594"/>
              <a:gd name="connsiteY80" fmla="*/ 4749265 h 6591417"/>
              <a:gd name="connsiteX81" fmla="*/ 5267684 w 8636594"/>
              <a:gd name="connsiteY81" fmla="*/ 4681068 h 6591417"/>
              <a:gd name="connsiteX82" fmla="*/ 5318748 w 8636594"/>
              <a:gd name="connsiteY82" fmla="*/ 4612234 h 6591417"/>
              <a:gd name="connsiteX83" fmla="*/ 5369182 w 8636594"/>
              <a:gd name="connsiteY83" fmla="*/ 4542793 h 6591417"/>
              <a:gd name="connsiteX84" fmla="*/ 5419038 w 8636594"/>
              <a:gd name="connsiteY84" fmla="*/ 4472771 h 6591417"/>
              <a:gd name="connsiteX85" fmla="*/ 5468365 w 8636594"/>
              <a:gd name="connsiteY85" fmla="*/ 4402196 h 6591417"/>
              <a:gd name="connsiteX86" fmla="*/ 5517215 w 8636594"/>
              <a:gd name="connsiteY86" fmla="*/ 4331098 h 6591417"/>
              <a:gd name="connsiteX87" fmla="*/ 5565637 w 8636594"/>
              <a:gd name="connsiteY87" fmla="*/ 4259503 h 6591417"/>
              <a:gd name="connsiteX88" fmla="*/ 5613684 w 8636594"/>
              <a:gd name="connsiteY88" fmla="*/ 4187441 h 6591417"/>
              <a:gd name="connsiteX89" fmla="*/ 5685160 w 8636594"/>
              <a:gd name="connsiteY89" fmla="*/ 4078531 h 6591417"/>
              <a:gd name="connsiteX90" fmla="*/ 5756074 w 8636594"/>
              <a:gd name="connsiteY90" fmla="*/ 3968727 h 6591417"/>
              <a:gd name="connsiteX91" fmla="*/ 5873483 w 8636594"/>
              <a:gd name="connsiteY91" fmla="*/ 3783989 h 6591417"/>
              <a:gd name="connsiteX92" fmla="*/ 6203209 w 8636594"/>
              <a:gd name="connsiteY92" fmla="*/ 3258640 h 6591417"/>
              <a:gd name="connsiteX93" fmla="*/ 6299430 w 8636594"/>
              <a:gd name="connsiteY93" fmla="*/ 3107321 h 6591417"/>
              <a:gd name="connsiteX94" fmla="*/ 6372650 w 8636594"/>
              <a:gd name="connsiteY94" fmla="*/ 2993735 h 6591417"/>
              <a:gd name="connsiteX95" fmla="*/ 6453197 w 8636594"/>
              <a:gd name="connsiteY95" fmla="*/ 2869788 h 6591417"/>
              <a:gd name="connsiteX96" fmla="*/ 6564167 w 8636594"/>
              <a:gd name="connsiteY96" fmla="*/ 2696807 h 6591417"/>
              <a:gd name="connsiteX97" fmla="*/ 6976233 w 8636594"/>
              <a:gd name="connsiteY97" fmla="*/ 2045274 h 6591417"/>
              <a:gd name="connsiteX98" fmla="*/ 7086755 w 8636594"/>
              <a:gd name="connsiteY98" fmla="*/ 1872743 h 6591417"/>
              <a:gd name="connsiteX99" fmla="*/ 7170279 w 8636594"/>
              <a:gd name="connsiteY99" fmla="*/ 1744202 h 6591417"/>
              <a:gd name="connsiteX100" fmla="*/ 7226351 w 8636594"/>
              <a:gd name="connsiteY100" fmla="*/ 1659017 h 6591417"/>
              <a:gd name="connsiteX101" fmla="*/ 7282789 w 8636594"/>
              <a:gd name="connsiteY101" fmla="*/ 1574303 h 6591417"/>
              <a:gd name="connsiteX102" fmla="*/ 7339643 w 8636594"/>
              <a:gd name="connsiteY102" fmla="*/ 1490113 h 6591417"/>
              <a:gd name="connsiteX103" fmla="*/ 7396957 w 8636594"/>
              <a:gd name="connsiteY103" fmla="*/ 1406503 h 6591417"/>
              <a:gd name="connsiteX104" fmla="*/ 7454781 w 8636594"/>
              <a:gd name="connsiteY104" fmla="*/ 1323526 h 6591417"/>
              <a:gd name="connsiteX105" fmla="*/ 7513161 w 8636594"/>
              <a:gd name="connsiteY105" fmla="*/ 1241237 h 6591417"/>
              <a:gd name="connsiteX106" fmla="*/ 7572144 w 8636594"/>
              <a:gd name="connsiteY106" fmla="*/ 1159689 h 6591417"/>
              <a:gd name="connsiteX107" fmla="*/ 7601877 w 8636594"/>
              <a:gd name="connsiteY107" fmla="*/ 1119210 h 6591417"/>
              <a:gd name="connsiteX108" fmla="*/ 7631779 w 8636594"/>
              <a:gd name="connsiteY108" fmla="*/ 1078937 h 6591417"/>
              <a:gd name="connsiteX109" fmla="*/ 7661855 w 8636594"/>
              <a:gd name="connsiteY109" fmla="*/ 1038876 h 6591417"/>
              <a:gd name="connsiteX110" fmla="*/ 7692111 w 8636594"/>
              <a:gd name="connsiteY110" fmla="*/ 999035 h 6591417"/>
              <a:gd name="connsiteX111" fmla="*/ 7722554 w 8636594"/>
              <a:gd name="connsiteY111" fmla="*/ 959419 h 6591417"/>
              <a:gd name="connsiteX112" fmla="*/ 7753190 w 8636594"/>
              <a:gd name="connsiteY112" fmla="*/ 920037 h 6591417"/>
              <a:gd name="connsiteX113" fmla="*/ 7784023 w 8636594"/>
              <a:gd name="connsiteY113" fmla="*/ 880894 h 6591417"/>
              <a:gd name="connsiteX114" fmla="*/ 7815061 w 8636594"/>
              <a:gd name="connsiteY114" fmla="*/ 841997 h 6591417"/>
              <a:gd name="connsiteX115" fmla="*/ 7846308 w 8636594"/>
              <a:gd name="connsiteY115" fmla="*/ 803354 h 6591417"/>
              <a:gd name="connsiteX116" fmla="*/ 7877772 w 8636594"/>
              <a:gd name="connsiteY116" fmla="*/ 764970 h 6591417"/>
              <a:gd name="connsiteX117" fmla="*/ 7909458 w 8636594"/>
              <a:gd name="connsiteY117" fmla="*/ 726853 h 6591417"/>
              <a:gd name="connsiteX118" fmla="*/ 7941371 w 8636594"/>
              <a:gd name="connsiteY118" fmla="*/ 689010 h 6591417"/>
              <a:gd name="connsiteX119" fmla="*/ 7973518 w 8636594"/>
              <a:gd name="connsiteY119" fmla="*/ 651447 h 6591417"/>
              <a:gd name="connsiteX120" fmla="*/ 8005905 w 8636594"/>
              <a:gd name="connsiteY120" fmla="*/ 614171 h 6591417"/>
              <a:gd name="connsiteX121" fmla="*/ 8038538 w 8636594"/>
              <a:gd name="connsiteY121" fmla="*/ 577189 h 6591417"/>
              <a:gd name="connsiteX122" fmla="*/ 8071421 w 8636594"/>
              <a:gd name="connsiteY122" fmla="*/ 540507 h 6591417"/>
              <a:gd name="connsiteX123" fmla="*/ 8104563 w 8636594"/>
              <a:gd name="connsiteY123" fmla="*/ 504132 h 6591417"/>
              <a:gd name="connsiteX124" fmla="*/ 8137967 w 8636594"/>
              <a:gd name="connsiteY124" fmla="*/ 468072 h 6591417"/>
              <a:gd name="connsiteX125" fmla="*/ 8171641 w 8636594"/>
              <a:gd name="connsiteY125" fmla="*/ 432332 h 6591417"/>
              <a:gd name="connsiteX126" fmla="*/ 8205590 w 8636594"/>
              <a:gd name="connsiteY126" fmla="*/ 396920 h 6591417"/>
              <a:gd name="connsiteX127" fmla="*/ 8239820 w 8636594"/>
              <a:gd name="connsiteY127" fmla="*/ 361843 h 6591417"/>
              <a:gd name="connsiteX128" fmla="*/ 8274337 w 8636594"/>
              <a:gd name="connsiteY128" fmla="*/ 327107 h 6591417"/>
              <a:gd name="connsiteX129" fmla="*/ 8309147 w 8636594"/>
              <a:gd name="connsiteY129" fmla="*/ 292718 h 6591417"/>
              <a:gd name="connsiteX130" fmla="*/ 8344256 w 8636594"/>
              <a:gd name="connsiteY130" fmla="*/ 258685 h 6591417"/>
              <a:gd name="connsiteX131" fmla="*/ 8379669 w 8636594"/>
              <a:gd name="connsiteY131" fmla="*/ 225013 h 6591417"/>
              <a:gd name="connsiteX132" fmla="*/ 8415394 w 8636594"/>
              <a:gd name="connsiteY132" fmla="*/ 191709 h 6591417"/>
              <a:gd name="connsiteX133" fmla="*/ 8451434 w 8636594"/>
              <a:gd name="connsiteY133" fmla="*/ 158780 h 6591417"/>
              <a:gd name="connsiteX134" fmla="*/ 8487798 w 8636594"/>
              <a:gd name="connsiteY134" fmla="*/ 126233 h 6591417"/>
              <a:gd name="connsiteX135" fmla="*/ 8524489 w 8636594"/>
              <a:gd name="connsiteY135" fmla="*/ 94075 h 6591417"/>
              <a:gd name="connsiteX136" fmla="*/ 8561515 w 8636594"/>
              <a:gd name="connsiteY136" fmla="*/ 62312 h 6591417"/>
              <a:gd name="connsiteX137" fmla="*/ 8598881 w 8636594"/>
              <a:gd name="connsiteY137" fmla="*/ 30951 h 6591417"/>
              <a:gd name="connsiteX138" fmla="*/ 8636594 w 8636594"/>
              <a:gd name="connsiteY138" fmla="*/ 0 h 6591417"/>
              <a:gd name="connsiteX0" fmla="*/ 8636594 w 8636594"/>
              <a:gd name="connsiteY0" fmla="*/ 0 h 6580040"/>
              <a:gd name="connsiteX1" fmla="*/ 5293 w 8636594"/>
              <a:gd name="connsiteY1" fmla="*/ 0 h 6580040"/>
              <a:gd name="connsiteX2" fmla="*/ 0 w 8636594"/>
              <a:gd name="connsiteY2" fmla="*/ 5587843 h 6580040"/>
              <a:gd name="connsiteX3" fmla="*/ 1594033 w 8636594"/>
              <a:gd name="connsiteY3" fmla="*/ 5600057 h 6580040"/>
              <a:gd name="connsiteX4" fmla="*/ 1686068 w 8636594"/>
              <a:gd name="connsiteY4" fmla="*/ 5599745 h 6580040"/>
              <a:gd name="connsiteX5" fmla="*/ 2302482 w 8636594"/>
              <a:gd name="connsiteY5" fmla="*/ 6580040 h 6580040"/>
              <a:gd name="connsiteX6" fmla="*/ 2359737 w 8636594"/>
              <a:gd name="connsiteY6" fmla="*/ 6568233 h 6580040"/>
              <a:gd name="connsiteX7" fmla="*/ 2416341 w 8636594"/>
              <a:gd name="connsiteY7" fmla="*/ 6555999 h 6580040"/>
              <a:gd name="connsiteX8" fmla="*/ 2472299 w 8636594"/>
              <a:gd name="connsiteY8" fmla="*/ 6543344 h 6580040"/>
              <a:gd name="connsiteX9" fmla="*/ 2527618 w 8636594"/>
              <a:gd name="connsiteY9" fmla="*/ 6530269 h 6580040"/>
              <a:gd name="connsiteX10" fmla="*/ 2582304 w 8636594"/>
              <a:gd name="connsiteY10" fmla="*/ 6516778 h 6580040"/>
              <a:gd name="connsiteX11" fmla="*/ 2636364 w 8636594"/>
              <a:gd name="connsiteY11" fmla="*/ 6502876 h 6580040"/>
              <a:gd name="connsiteX12" fmla="*/ 2689804 w 8636594"/>
              <a:gd name="connsiteY12" fmla="*/ 6488565 h 6580040"/>
              <a:gd name="connsiteX13" fmla="*/ 2742629 w 8636594"/>
              <a:gd name="connsiteY13" fmla="*/ 6473849 h 6580040"/>
              <a:gd name="connsiteX14" fmla="*/ 2794848 w 8636594"/>
              <a:gd name="connsiteY14" fmla="*/ 6458731 h 6580040"/>
              <a:gd name="connsiteX15" fmla="*/ 2846466 w 8636594"/>
              <a:gd name="connsiteY15" fmla="*/ 6443216 h 6580040"/>
              <a:gd name="connsiteX16" fmla="*/ 2897488 w 8636594"/>
              <a:gd name="connsiteY16" fmla="*/ 6427305 h 6580040"/>
              <a:gd name="connsiteX17" fmla="*/ 2947923 w 8636594"/>
              <a:gd name="connsiteY17" fmla="*/ 6411004 h 6580040"/>
              <a:gd name="connsiteX18" fmla="*/ 2997775 w 8636594"/>
              <a:gd name="connsiteY18" fmla="*/ 6394316 h 6580040"/>
              <a:gd name="connsiteX19" fmla="*/ 3047052 w 8636594"/>
              <a:gd name="connsiteY19" fmla="*/ 6377243 h 6580040"/>
              <a:gd name="connsiteX20" fmla="*/ 3095759 w 8636594"/>
              <a:gd name="connsiteY20" fmla="*/ 6359791 h 6580040"/>
              <a:gd name="connsiteX21" fmla="*/ 3143903 w 8636594"/>
              <a:gd name="connsiteY21" fmla="*/ 6341961 h 6580040"/>
              <a:gd name="connsiteX22" fmla="*/ 3191491 w 8636594"/>
              <a:gd name="connsiteY22" fmla="*/ 6323757 h 6580040"/>
              <a:gd name="connsiteX23" fmla="*/ 3238528 w 8636594"/>
              <a:gd name="connsiteY23" fmla="*/ 6305184 h 6580040"/>
              <a:gd name="connsiteX24" fmla="*/ 3285021 w 8636594"/>
              <a:gd name="connsiteY24" fmla="*/ 6286245 h 6580040"/>
              <a:gd name="connsiteX25" fmla="*/ 3330977 w 8636594"/>
              <a:gd name="connsiteY25" fmla="*/ 6266942 h 6580040"/>
              <a:gd name="connsiteX26" fmla="*/ 3376401 w 8636594"/>
              <a:gd name="connsiteY26" fmla="*/ 6247281 h 6580040"/>
              <a:gd name="connsiteX27" fmla="*/ 3421300 w 8636594"/>
              <a:gd name="connsiteY27" fmla="*/ 6227263 h 6580040"/>
              <a:gd name="connsiteX28" fmla="*/ 3465680 w 8636594"/>
              <a:gd name="connsiteY28" fmla="*/ 6206893 h 6580040"/>
              <a:gd name="connsiteX29" fmla="*/ 3509548 w 8636594"/>
              <a:gd name="connsiteY29" fmla="*/ 6186174 h 6580040"/>
              <a:gd name="connsiteX30" fmla="*/ 3552910 w 8636594"/>
              <a:gd name="connsiteY30" fmla="*/ 6165110 h 6580040"/>
              <a:gd name="connsiteX31" fmla="*/ 3595773 w 8636594"/>
              <a:gd name="connsiteY31" fmla="*/ 6143704 h 6580040"/>
              <a:gd name="connsiteX32" fmla="*/ 3638142 w 8636594"/>
              <a:gd name="connsiteY32" fmla="*/ 6121960 h 6580040"/>
              <a:gd name="connsiteX33" fmla="*/ 3680024 w 8636594"/>
              <a:gd name="connsiteY33" fmla="*/ 6099881 h 6580040"/>
              <a:gd name="connsiteX34" fmla="*/ 3721426 w 8636594"/>
              <a:gd name="connsiteY34" fmla="*/ 6077471 h 6580040"/>
              <a:gd name="connsiteX35" fmla="*/ 3762353 w 8636594"/>
              <a:gd name="connsiteY35" fmla="*/ 6054733 h 6580040"/>
              <a:gd name="connsiteX36" fmla="*/ 3802812 w 8636594"/>
              <a:gd name="connsiteY36" fmla="*/ 6031671 h 6580040"/>
              <a:gd name="connsiteX37" fmla="*/ 3842810 w 8636594"/>
              <a:gd name="connsiteY37" fmla="*/ 6008288 h 6580040"/>
              <a:gd name="connsiteX38" fmla="*/ 3882352 w 8636594"/>
              <a:gd name="connsiteY38" fmla="*/ 5984588 h 6580040"/>
              <a:gd name="connsiteX39" fmla="*/ 3921445 w 8636594"/>
              <a:gd name="connsiteY39" fmla="*/ 5960574 h 6580040"/>
              <a:gd name="connsiteX40" fmla="*/ 3960096 w 8636594"/>
              <a:gd name="connsiteY40" fmla="*/ 5936250 h 6580040"/>
              <a:gd name="connsiteX41" fmla="*/ 3998311 w 8636594"/>
              <a:gd name="connsiteY41" fmla="*/ 5911619 h 6580040"/>
              <a:gd name="connsiteX42" fmla="*/ 4036095 w 8636594"/>
              <a:gd name="connsiteY42" fmla="*/ 5886685 h 6580040"/>
              <a:gd name="connsiteX43" fmla="*/ 4073456 w 8636594"/>
              <a:gd name="connsiteY43" fmla="*/ 5861452 h 6580040"/>
              <a:gd name="connsiteX44" fmla="*/ 4110400 w 8636594"/>
              <a:gd name="connsiteY44" fmla="*/ 5835922 h 6580040"/>
              <a:gd name="connsiteX45" fmla="*/ 4146933 w 8636594"/>
              <a:gd name="connsiteY45" fmla="*/ 5810100 h 6580040"/>
              <a:gd name="connsiteX46" fmla="*/ 4183061 w 8636594"/>
              <a:gd name="connsiteY46" fmla="*/ 5783988 h 6580040"/>
              <a:gd name="connsiteX47" fmla="*/ 4218791 w 8636594"/>
              <a:gd name="connsiteY47" fmla="*/ 5757591 h 6580040"/>
              <a:gd name="connsiteX48" fmla="*/ 4254129 w 8636594"/>
              <a:gd name="connsiteY48" fmla="*/ 5730912 h 6580040"/>
              <a:gd name="connsiteX49" fmla="*/ 4289081 w 8636594"/>
              <a:gd name="connsiteY49" fmla="*/ 5703955 h 6580040"/>
              <a:gd name="connsiteX50" fmla="*/ 4323654 w 8636594"/>
              <a:gd name="connsiteY50" fmla="*/ 5676722 h 6580040"/>
              <a:gd name="connsiteX51" fmla="*/ 4357854 w 8636594"/>
              <a:gd name="connsiteY51" fmla="*/ 5649218 h 6580040"/>
              <a:gd name="connsiteX52" fmla="*/ 4391688 w 8636594"/>
              <a:gd name="connsiteY52" fmla="*/ 5621446 h 6580040"/>
              <a:gd name="connsiteX53" fmla="*/ 4425162 w 8636594"/>
              <a:gd name="connsiteY53" fmla="*/ 5593409 h 6580040"/>
              <a:gd name="connsiteX54" fmla="*/ 4458281 w 8636594"/>
              <a:gd name="connsiteY54" fmla="*/ 5565111 h 6580040"/>
              <a:gd name="connsiteX55" fmla="*/ 4491053 w 8636594"/>
              <a:gd name="connsiteY55" fmla="*/ 5536556 h 6580040"/>
              <a:gd name="connsiteX56" fmla="*/ 4523484 w 8636594"/>
              <a:gd name="connsiteY56" fmla="*/ 5507747 h 6580040"/>
              <a:gd name="connsiteX57" fmla="*/ 4555580 w 8636594"/>
              <a:gd name="connsiteY57" fmla="*/ 5478687 h 6580040"/>
              <a:gd name="connsiteX58" fmla="*/ 4587347 w 8636594"/>
              <a:gd name="connsiteY58" fmla="*/ 5449380 h 6580040"/>
              <a:gd name="connsiteX59" fmla="*/ 4618793 w 8636594"/>
              <a:gd name="connsiteY59" fmla="*/ 5419830 h 6580040"/>
              <a:gd name="connsiteX60" fmla="*/ 4649922 w 8636594"/>
              <a:gd name="connsiteY60" fmla="*/ 5390040 h 6580040"/>
              <a:gd name="connsiteX61" fmla="*/ 4680742 w 8636594"/>
              <a:gd name="connsiteY61" fmla="*/ 5360014 h 6580040"/>
              <a:gd name="connsiteX62" fmla="*/ 4711259 w 8636594"/>
              <a:gd name="connsiteY62" fmla="*/ 5329755 h 6580040"/>
              <a:gd name="connsiteX63" fmla="*/ 4741478 w 8636594"/>
              <a:gd name="connsiteY63" fmla="*/ 5299266 h 6580040"/>
              <a:gd name="connsiteX64" fmla="*/ 4771408 w 8636594"/>
              <a:gd name="connsiteY64" fmla="*/ 5268551 h 6580040"/>
              <a:gd name="connsiteX65" fmla="*/ 4801053 w 8636594"/>
              <a:gd name="connsiteY65" fmla="*/ 5237614 h 6580040"/>
              <a:gd name="connsiteX66" fmla="*/ 4830420 w 8636594"/>
              <a:gd name="connsiteY66" fmla="*/ 5206458 h 6580040"/>
              <a:gd name="connsiteX67" fmla="*/ 4859516 w 8636594"/>
              <a:gd name="connsiteY67" fmla="*/ 5175087 h 6580040"/>
              <a:gd name="connsiteX68" fmla="*/ 4888347 w 8636594"/>
              <a:gd name="connsiteY68" fmla="*/ 5143504 h 6580040"/>
              <a:gd name="connsiteX69" fmla="*/ 4916919 w 8636594"/>
              <a:gd name="connsiteY69" fmla="*/ 5111713 h 6580040"/>
              <a:gd name="connsiteX70" fmla="*/ 4945238 w 8636594"/>
              <a:gd name="connsiteY70" fmla="*/ 5079717 h 6580040"/>
              <a:gd name="connsiteX71" fmla="*/ 4973311 w 8636594"/>
              <a:gd name="connsiteY71" fmla="*/ 5047519 h 6580040"/>
              <a:gd name="connsiteX72" fmla="*/ 5001145 w 8636594"/>
              <a:gd name="connsiteY72" fmla="*/ 5015124 h 6580040"/>
              <a:gd name="connsiteX73" fmla="*/ 5028745 w 8636594"/>
              <a:gd name="connsiteY73" fmla="*/ 4982535 h 6580040"/>
              <a:gd name="connsiteX74" fmla="*/ 5056117 w 8636594"/>
              <a:gd name="connsiteY74" fmla="*/ 4949755 h 6580040"/>
              <a:gd name="connsiteX75" fmla="*/ 5083269 w 8636594"/>
              <a:gd name="connsiteY75" fmla="*/ 4916787 h 6580040"/>
              <a:gd name="connsiteX76" fmla="*/ 5110207 w 8636594"/>
              <a:gd name="connsiteY76" fmla="*/ 4883636 h 6580040"/>
              <a:gd name="connsiteX77" fmla="*/ 5136937 w 8636594"/>
              <a:gd name="connsiteY77" fmla="*/ 4850305 h 6580040"/>
              <a:gd name="connsiteX78" fmla="*/ 5163464 w 8636594"/>
              <a:gd name="connsiteY78" fmla="*/ 4816797 h 6580040"/>
              <a:gd name="connsiteX79" fmla="*/ 5215940 w 8636594"/>
              <a:gd name="connsiteY79" fmla="*/ 4749265 h 6580040"/>
              <a:gd name="connsiteX80" fmla="*/ 5267684 w 8636594"/>
              <a:gd name="connsiteY80" fmla="*/ 4681068 h 6580040"/>
              <a:gd name="connsiteX81" fmla="*/ 5318748 w 8636594"/>
              <a:gd name="connsiteY81" fmla="*/ 4612234 h 6580040"/>
              <a:gd name="connsiteX82" fmla="*/ 5369182 w 8636594"/>
              <a:gd name="connsiteY82" fmla="*/ 4542793 h 6580040"/>
              <a:gd name="connsiteX83" fmla="*/ 5419038 w 8636594"/>
              <a:gd name="connsiteY83" fmla="*/ 4472771 h 6580040"/>
              <a:gd name="connsiteX84" fmla="*/ 5468365 w 8636594"/>
              <a:gd name="connsiteY84" fmla="*/ 4402196 h 6580040"/>
              <a:gd name="connsiteX85" fmla="*/ 5517215 w 8636594"/>
              <a:gd name="connsiteY85" fmla="*/ 4331098 h 6580040"/>
              <a:gd name="connsiteX86" fmla="*/ 5565637 w 8636594"/>
              <a:gd name="connsiteY86" fmla="*/ 4259503 h 6580040"/>
              <a:gd name="connsiteX87" fmla="*/ 5613684 w 8636594"/>
              <a:gd name="connsiteY87" fmla="*/ 4187441 h 6580040"/>
              <a:gd name="connsiteX88" fmla="*/ 5685160 w 8636594"/>
              <a:gd name="connsiteY88" fmla="*/ 4078531 h 6580040"/>
              <a:gd name="connsiteX89" fmla="*/ 5756074 w 8636594"/>
              <a:gd name="connsiteY89" fmla="*/ 3968727 h 6580040"/>
              <a:gd name="connsiteX90" fmla="*/ 5873483 w 8636594"/>
              <a:gd name="connsiteY90" fmla="*/ 3783989 h 6580040"/>
              <a:gd name="connsiteX91" fmla="*/ 6203209 w 8636594"/>
              <a:gd name="connsiteY91" fmla="*/ 3258640 h 6580040"/>
              <a:gd name="connsiteX92" fmla="*/ 6299430 w 8636594"/>
              <a:gd name="connsiteY92" fmla="*/ 3107321 h 6580040"/>
              <a:gd name="connsiteX93" fmla="*/ 6372650 w 8636594"/>
              <a:gd name="connsiteY93" fmla="*/ 2993735 h 6580040"/>
              <a:gd name="connsiteX94" fmla="*/ 6453197 w 8636594"/>
              <a:gd name="connsiteY94" fmla="*/ 2869788 h 6580040"/>
              <a:gd name="connsiteX95" fmla="*/ 6564167 w 8636594"/>
              <a:gd name="connsiteY95" fmla="*/ 2696807 h 6580040"/>
              <a:gd name="connsiteX96" fmla="*/ 6976233 w 8636594"/>
              <a:gd name="connsiteY96" fmla="*/ 2045274 h 6580040"/>
              <a:gd name="connsiteX97" fmla="*/ 7086755 w 8636594"/>
              <a:gd name="connsiteY97" fmla="*/ 1872743 h 6580040"/>
              <a:gd name="connsiteX98" fmla="*/ 7170279 w 8636594"/>
              <a:gd name="connsiteY98" fmla="*/ 1744202 h 6580040"/>
              <a:gd name="connsiteX99" fmla="*/ 7226351 w 8636594"/>
              <a:gd name="connsiteY99" fmla="*/ 1659017 h 6580040"/>
              <a:gd name="connsiteX100" fmla="*/ 7282789 w 8636594"/>
              <a:gd name="connsiteY100" fmla="*/ 1574303 h 6580040"/>
              <a:gd name="connsiteX101" fmla="*/ 7339643 w 8636594"/>
              <a:gd name="connsiteY101" fmla="*/ 1490113 h 6580040"/>
              <a:gd name="connsiteX102" fmla="*/ 7396957 w 8636594"/>
              <a:gd name="connsiteY102" fmla="*/ 1406503 h 6580040"/>
              <a:gd name="connsiteX103" fmla="*/ 7454781 w 8636594"/>
              <a:gd name="connsiteY103" fmla="*/ 1323526 h 6580040"/>
              <a:gd name="connsiteX104" fmla="*/ 7513161 w 8636594"/>
              <a:gd name="connsiteY104" fmla="*/ 1241237 h 6580040"/>
              <a:gd name="connsiteX105" fmla="*/ 7572144 w 8636594"/>
              <a:gd name="connsiteY105" fmla="*/ 1159689 h 6580040"/>
              <a:gd name="connsiteX106" fmla="*/ 7601877 w 8636594"/>
              <a:gd name="connsiteY106" fmla="*/ 1119210 h 6580040"/>
              <a:gd name="connsiteX107" fmla="*/ 7631779 w 8636594"/>
              <a:gd name="connsiteY107" fmla="*/ 1078937 h 6580040"/>
              <a:gd name="connsiteX108" fmla="*/ 7661855 w 8636594"/>
              <a:gd name="connsiteY108" fmla="*/ 1038876 h 6580040"/>
              <a:gd name="connsiteX109" fmla="*/ 7692111 w 8636594"/>
              <a:gd name="connsiteY109" fmla="*/ 999035 h 6580040"/>
              <a:gd name="connsiteX110" fmla="*/ 7722554 w 8636594"/>
              <a:gd name="connsiteY110" fmla="*/ 959419 h 6580040"/>
              <a:gd name="connsiteX111" fmla="*/ 7753190 w 8636594"/>
              <a:gd name="connsiteY111" fmla="*/ 920037 h 6580040"/>
              <a:gd name="connsiteX112" fmla="*/ 7784023 w 8636594"/>
              <a:gd name="connsiteY112" fmla="*/ 880894 h 6580040"/>
              <a:gd name="connsiteX113" fmla="*/ 7815061 w 8636594"/>
              <a:gd name="connsiteY113" fmla="*/ 841997 h 6580040"/>
              <a:gd name="connsiteX114" fmla="*/ 7846308 w 8636594"/>
              <a:gd name="connsiteY114" fmla="*/ 803354 h 6580040"/>
              <a:gd name="connsiteX115" fmla="*/ 7877772 w 8636594"/>
              <a:gd name="connsiteY115" fmla="*/ 764970 h 6580040"/>
              <a:gd name="connsiteX116" fmla="*/ 7909458 w 8636594"/>
              <a:gd name="connsiteY116" fmla="*/ 726853 h 6580040"/>
              <a:gd name="connsiteX117" fmla="*/ 7941371 w 8636594"/>
              <a:gd name="connsiteY117" fmla="*/ 689010 h 6580040"/>
              <a:gd name="connsiteX118" fmla="*/ 7973518 w 8636594"/>
              <a:gd name="connsiteY118" fmla="*/ 651447 h 6580040"/>
              <a:gd name="connsiteX119" fmla="*/ 8005905 w 8636594"/>
              <a:gd name="connsiteY119" fmla="*/ 614171 h 6580040"/>
              <a:gd name="connsiteX120" fmla="*/ 8038538 w 8636594"/>
              <a:gd name="connsiteY120" fmla="*/ 577189 h 6580040"/>
              <a:gd name="connsiteX121" fmla="*/ 8071421 w 8636594"/>
              <a:gd name="connsiteY121" fmla="*/ 540507 h 6580040"/>
              <a:gd name="connsiteX122" fmla="*/ 8104563 w 8636594"/>
              <a:gd name="connsiteY122" fmla="*/ 504132 h 6580040"/>
              <a:gd name="connsiteX123" fmla="*/ 8137967 w 8636594"/>
              <a:gd name="connsiteY123" fmla="*/ 468072 h 6580040"/>
              <a:gd name="connsiteX124" fmla="*/ 8171641 w 8636594"/>
              <a:gd name="connsiteY124" fmla="*/ 432332 h 6580040"/>
              <a:gd name="connsiteX125" fmla="*/ 8205590 w 8636594"/>
              <a:gd name="connsiteY125" fmla="*/ 396920 h 6580040"/>
              <a:gd name="connsiteX126" fmla="*/ 8239820 w 8636594"/>
              <a:gd name="connsiteY126" fmla="*/ 361843 h 6580040"/>
              <a:gd name="connsiteX127" fmla="*/ 8274337 w 8636594"/>
              <a:gd name="connsiteY127" fmla="*/ 327107 h 6580040"/>
              <a:gd name="connsiteX128" fmla="*/ 8309147 w 8636594"/>
              <a:gd name="connsiteY128" fmla="*/ 292718 h 6580040"/>
              <a:gd name="connsiteX129" fmla="*/ 8344256 w 8636594"/>
              <a:gd name="connsiteY129" fmla="*/ 258685 h 6580040"/>
              <a:gd name="connsiteX130" fmla="*/ 8379669 w 8636594"/>
              <a:gd name="connsiteY130" fmla="*/ 225013 h 6580040"/>
              <a:gd name="connsiteX131" fmla="*/ 8415394 w 8636594"/>
              <a:gd name="connsiteY131" fmla="*/ 191709 h 6580040"/>
              <a:gd name="connsiteX132" fmla="*/ 8451434 w 8636594"/>
              <a:gd name="connsiteY132" fmla="*/ 158780 h 6580040"/>
              <a:gd name="connsiteX133" fmla="*/ 8487798 w 8636594"/>
              <a:gd name="connsiteY133" fmla="*/ 126233 h 6580040"/>
              <a:gd name="connsiteX134" fmla="*/ 8524489 w 8636594"/>
              <a:gd name="connsiteY134" fmla="*/ 94075 h 6580040"/>
              <a:gd name="connsiteX135" fmla="*/ 8561515 w 8636594"/>
              <a:gd name="connsiteY135" fmla="*/ 62312 h 6580040"/>
              <a:gd name="connsiteX136" fmla="*/ 8598881 w 8636594"/>
              <a:gd name="connsiteY136" fmla="*/ 30951 h 6580040"/>
              <a:gd name="connsiteX137" fmla="*/ 8636594 w 8636594"/>
              <a:gd name="connsiteY137" fmla="*/ 0 h 6580040"/>
              <a:gd name="connsiteX0" fmla="*/ 8636594 w 8636594"/>
              <a:gd name="connsiteY0" fmla="*/ 0 h 6568233"/>
              <a:gd name="connsiteX1" fmla="*/ 5293 w 8636594"/>
              <a:gd name="connsiteY1" fmla="*/ 0 h 6568233"/>
              <a:gd name="connsiteX2" fmla="*/ 0 w 8636594"/>
              <a:gd name="connsiteY2" fmla="*/ 5587843 h 6568233"/>
              <a:gd name="connsiteX3" fmla="*/ 1594033 w 8636594"/>
              <a:gd name="connsiteY3" fmla="*/ 5600057 h 6568233"/>
              <a:gd name="connsiteX4" fmla="*/ 1686068 w 8636594"/>
              <a:gd name="connsiteY4" fmla="*/ 5599745 h 6568233"/>
              <a:gd name="connsiteX5" fmla="*/ 2359737 w 8636594"/>
              <a:gd name="connsiteY5" fmla="*/ 6568233 h 6568233"/>
              <a:gd name="connsiteX6" fmla="*/ 2416341 w 8636594"/>
              <a:gd name="connsiteY6" fmla="*/ 6555999 h 6568233"/>
              <a:gd name="connsiteX7" fmla="*/ 2472299 w 8636594"/>
              <a:gd name="connsiteY7" fmla="*/ 6543344 h 6568233"/>
              <a:gd name="connsiteX8" fmla="*/ 2527618 w 8636594"/>
              <a:gd name="connsiteY8" fmla="*/ 6530269 h 6568233"/>
              <a:gd name="connsiteX9" fmla="*/ 2582304 w 8636594"/>
              <a:gd name="connsiteY9" fmla="*/ 6516778 h 6568233"/>
              <a:gd name="connsiteX10" fmla="*/ 2636364 w 8636594"/>
              <a:gd name="connsiteY10" fmla="*/ 6502876 h 6568233"/>
              <a:gd name="connsiteX11" fmla="*/ 2689804 w 8636594"/>
              <a:gd name="connsiteY11" fmla="*/ 6488565 h 6568233"/>
              <a:gd name="connsiteX12" fmla="*/ 2742629 w 8636594"/>
              <a:gd name="connsiteY12" fmla="*/ 6473849 h 6568233"/>
              <a:gd name="connsiteX13" fmla="*/ 2794848 w 8636594"/>
              <a:gd name="connsiteY13" fmla="*/ 6458731 h 6568233"/>
              <a:gd name="connsiteX14" fmla="*/ 2846466 w 8636594"/>
              <a:gd name="connsiteY14" fmla="*/ 6443216 h 6568233"/>
              <a:gd name="connsiteX15" fmla="*/ 2897488 w 8636594"/>
              <a:gd name="connsiteY15" fmla="*/ 6427305 h 6568233"/>
              <a:gd name="connsiteX16" fmla="*/ 2947923 w 8636594"/>
              <a:gd name="connsiteY16" fmla="*/ 6411004 h 6568233"/>
              <a:gd name="connsiteX17" fmla="*/ 2997775 w 8636594"/>
              <a:gd name="connsiteY17" fmla="*/ 6394316 h 6568233"/>
              <a:gd name="connsiteX18" fmla="*/ 3047052 w 8636594"/>
              <a:gd name="connsiteY18" fmla="*/ 6377243 h 6568233"/>
              <a:gd name="connsiteX19" fmla="*/ 3095759 w 8636594"/>
              <a:gd name="connsiteY19" fmla="*/ 6359791 h 6568233"/>
              <a:gd name="connsiteX20" fmla="*/ 3143903 w 8636594"/>
              <a:gd name="connsiteY20" fmla="*/ 6341961 h 6568233"/>
              <a:gd name="connsiteX21" fmla="*/ 3191491 w 8636594"/>
              <a:gd name="connsiteY21" fmla="*/ 6323757 h 6568233"/>
              <a:gd name="connsiteX22" fmla="*/ 3238528 w 8636594"/>
              <a:gd name="connsiteY22" fmla="*/ 6305184 h 6568233"/>
              <a:gd name="connsiteX23" fmla="*/ 3285021 w 8636594"/>
              <a:gd name="connsiteY23" fmla="*/ 6286245 h 6568233"/>
              <a:gd name="connsiteX24" fmla="*/ 3330977 w 8636594"/>
              <a:gd name="connsiteY24" fmla="*/ 6266942 h 6568233"/>
              <a:gd name="connsiteX25" fmla="*/ 3376401 w 8636594"/>
              <a:gd name="connsiteY25" fmla="*/ 6247281 h 6568233"/>
              <a:gd name="connsiteX26" fmla="*/ 3421300 w 8636594"/>
              <a:gd name="connsiteY26" fmla="*/ 6227263 h 6568233"/>
              <a:gd name="connsiteX27" fmla="*/ 3465680 w 8636594"/>
              <a:gd name="connsiteY27" fmla="*/ 6206893 h 6568233"/>
              <a:gd name="connsiteX28" fmla="*/ 3509548 w 8636594"/>
              <a:gd name="connsiteY28" fmla="*/ 6186174 h 6568233"/>
              <a:gd name="connsiteX29" fmla="*/ 3552910 w 8636594"/>
              <a:gd name="connsiteY29" fmla="*/ 6165110 h 6568233"/>
              <a:gd name="connsiteX30" fmla="*/ 3595773 w 8636594"/>
              <a:gd name="connsiteY30" fmla="*/ 6143704 h 6568233"/>
              <a:gd name="connsiteX31" fmla="*/ 3638142 w 8636594"/>
              <a:gd name="connsiteY31" fmla="*/ 6121960 h 6568233"/>
              <a:gd name="connsiteX32" fmla="*/ 3680024 w 8636594"/>
              <a:gd name="connsiteY32" fmla="*/ 6099881 h 6568233"/>
              <a:gd name="connsiteX33" fmla="*/ 3721426 w 8636594"/>
              <a:gd name="connsiteY33" fmla="*/ 6077471 h 6568233"/>
              <a:gd name="connsiteX34" fmla="*/ 3762353 w 8636594"/>
              <a:gd name="connsiteY34" fmla="*/ 6054733 h 6568233"/>
              <a:gd name="connsiteX35" fmla="*/ 3802812 w 8636594"/>
              <a:gd name="connsiteY35" fmla="*/ 6031671 h 6568233"/>
              <a:gd name="connsiteX36" fmla="*/ 3842810 w 8636594"/>
              <a:gd name="connsiteY36" fmla="*/ 6008288 h 6568233"/>
              <a:gd name="connsiteX37" fmla="*/ 3882352 w 8636594"/>
              <a:gd name="connsiteY37" fmla="*/ 5984588 h 6568233"/>
              <a:gd name="connsiteX38" fmla="*/ 3921445 w 8636594"/>
              <a:gd name="connsiteY38" fmla="*/ 5960574 h 6568233"/>
              <a:gd name="connsiteX39" fmla="*/ 3960096 w 8636594"/>
              <a:gd name="connsiteY39" fmla="*/ 5936250 h 6568233"/>
              <a:gd name="connsiteX40" fmla="*/ 3998311 w 8636594"/>
              <a:gd name="connsiteY40" fmla="*/ 5911619 h 6568233"/>
              <a:gd name="connsiteX41" fmla="*/ 4036095 w 8636594"/>
              <a:gd name="connsiteY41" fmla="*/ 5886685 h 6568233"/>
              <a:gd name="connsiteX42" fmla="*/ 4073456 w 8636594"/>
              <a:gd name="connsiteY42" fmla="*/ 5861452 h 6568233"/>
              <a:gd name="connsiteX43" fmla="*/ 4110400 w 8636594"/>
              <a:gd name="connsiteY43" fmla="*/ 5835922 h 6568233"/>
              <a:gd name="connsiteX44" fmla="*/ 4146933 w 8636594"/>
              <a:gd name="connsiteY44" fmla="*/ 5810100 h 6568233"/>
              <a:gd name="connsiteX45" fmla="*/ 4183061 w 8636594"/>
              <a:gd name="connsiteY45" fmla="*/ 5783988 h 6568233"/>
              <a:gd name="connsiteX46" fmla="*/ 4218791 w 8636594"/>
              <a:gd name="connsiteY46" fmla="*/ 5757591 h 6568233"/>
              <a:gd name="connsiteX47" fmla="*/ 4254129 w 8636594"/>
              <a:gd name="connsiteY47" fmla="*/ 5730912 h 6568233"/>
              <a:gd name="connsiteX48" fmla="*/ 4289081 w 8636594"/>
              <a:gd name="connsiteY48" fmla="*/ 5703955 h 6568233"/>
              <a:gd name="connsiteX49" fmla="*/ 4323654 w 8636594"/>
              <a:gd name="connsiteY49" fmla="*/ 5676722 h 6568233"/>
              <a:gd name="connsiteX50" fmla="*/ 4357854 w 8636594"/>
              <a:gd name="connsiteY50" fmla="*/ 5649218 h 6568233"/>
              <a:gd name="connsiteX51" fmla="*/ 4391688 w 8636594"/>
              <a:gd name="connsiteY51" fmla="*/ 5621446 h 6568233"/>
              <a:gd name="connsiteX52" fmla="*/ 4425162 w 8636594"/>
              <a:gd name="connsiteY52" fmla="*/ 5593409 h 6568233"/>
              <a:gd name="connsiteX53" fmla="*/ 4458281 w 8636594"/>
              <a:gd name="connsiteY53" fmla="*/ 5565111 h 6568233"/>
              <a:gd name="connsiteX54" fmla="*/ 4491053 w 8636594"/>
              <a:gd name="connsiteY54" fmla="*/ 5536556 h 6568233"/>
              <a:gd name="connsiteX55" fmla="*/ 4523484 w 8636594"/>
              <a:gd name="connsiteY55" fmla="*/ 5507747 h 6568233"/>
              <a:gd name="connsiteX56" fmla="*/ 4555580 w 8636594"/>
              <a:gd name="connsiteY56" fmla="*/ 5478687 h 6568233"/>
              <a:gd name="connsiteX57" fmla="*/ 4587347 w 8636594"/>
              <a:gd name="connsiteY57" fmla="*/ 5449380 h 6568233"/>
              <a:gd name="connsiteX58" fmla="*/ 4618793 w 8636594"/>
              <a:gd name="connsiteY58" fmla="*/ 5419830 h 6568233"/>
              <a:gd name="connsiteX59" fmla="*/ 4649922 w 8636594"/>
              <a:gd name="connsiteY59" fmla="*/ 5390040 h 6568233"/>
              <a:gd name="connsiteX60" fmla="*/ 4680742 w 8636594"/>
              <a:gd name="connsiteY60" fmla="*/ 5360014 h 6568233"/>
              <a:gd name="connsiteX61" fmla="*/ 4711259 w 8636594"/>
              <a:gd name="connsiteY61" fmla="*/ 5329755 h 6568233"/>
              <a:gd name="connsiteX62" fmla="*/ 4741478 w 8636594"/>
              <a:gd name="connsiteY62" fmla="*/ 5299266 h 6568233"/>
              <a:gd name="connsiteX63" fmla="*/ 4771408 w 8636594"/>
              <a:gd name="connsiteY63" fmla="*/ 5268551 h 6568233"/>
              <a:gd name="connsiteX64" fmla="*/ 4801053 w 8636594"/>
              <a:gd name="connsiteY64" fmla="*/ 5237614 h 6568233"/>
              <a:gd name="connsiteX65" fmla="*/ 4830420 w 8636594"/>
              <a:gd name="connsiteY65" fmla="*/ 5206458 h 6568233"/>
              <a:gd name="connsiteX66" fmla="*/ 4859516 w 8636594"/>
              <a:gd name="connsiteY66" fmla="*/ 5175087 h 6568233"/>
              <a:gd name="connsiteX67" fmla="*/ 4888347 w 8636594"/>
              <a:gd name="connsiteY67" fmla="*/ 5143504 h 6568233"/>
              <a:gd name="connsiteX68" fmla="*/ 4916919 w 8636594"/>
              <a:gd name="connsiteY68" fmla="*/ 5111713 h 6568233"/>
              <a:gd name="connsiteX69" fmla="*/ 4945238 w 8636594"/>
              <a:gd name="connsiteY69" fmla="*/ 5079717 h 6568233"/>
              <a:gd name="connsiteX70" fmla="*/ 4973311 w 8636594"/>
              <a:gd name="connsiteY70" fmla="*/ 5047519 h 6568233"/>
              <a:gd name="connsiteX71" fmla="*/ 5001145 w 8636594"/>
              <a:gd name="connsiteY71" fmla="*/ 5015124 h 6568233"/>
              <a:gd name="connsiteX72" fmla="*/ 5028745 w 8636594"/>
              <a:gd name="connsiteY72" fmla="*/ 4982535 h 6568233"/>
              <a:gd name="connsiteX73" fmla="*/ 5056117 w 8636594"/>
              <a:gd name="connsiteY73" fmla="*/ 4949755 h 6568233"/>
              <a:gd name="connsiteX74" fmla="*/ 5083269 w 8636594"/>
              <a:gd name="connsiteY74" fmla="*/ 4916787 h 6568233"/>
              <a:gd name="connsiteX75" fmla="*/ 5110207 w 8636594"/>
              <a:gd name="connsiteY75" fmla="*/ 4883636 h 6568233"/>
              <a:gd name="connsiteX76" fmla="*/ 5136937 w 8636594"/>
              <a:gd name="connsiteY76" fmla="*/ 4850305 h 6568233"/>
              <a:gd name="connsiteX77" fmla="*/ 5163464 w 8636594"/>
              <a:gd name="connsiteY77" fmla="*/ 4816797 h 6568233"/>
              <a:gd name="connsiteX78" fmla="*/ 5215940 w 8636594"/>
              <a:gd name="connsiteY78" fmla="*/ 4749265 h 6568233"/>
              <a:gd name="connsiteX79" fmla="*/ 5267684 w 8636594"/>
              <a:gd name="connsiteY79" fmla="*/ 4681068 h 6568233"/>
              <a:gd name="connsiteX80" fmla="*/ 5318748 w 8636594"/>
              <a:gd name="connsiteY80" fmla="*/ 4612234 h 6568233"/>
              <a:gd name="connsiteX81" fmla="*/ 5369182 w 8636594"/>
              <a:gd name="connsiteY81" fmla="*/ 4542793 h 6568233"/>
              <a:gd name="connsiteX82" fmla="*/ 5419038 w 8636594"/>
              <a:gd name="connsiteY82" fmla="*/ 4472771 h 6568233"/>
              <a:gd name="connsiteX83" fmla="*/ 5468365 w 8636594"/>
              <a:gd name="connsiteY83" fmla="*/ 4402196 h 6568233"/>
              <a:gd name="connsiteX84" fmla="*/ 5517215 w 8636594"/>
              <a:gd name="connsiteY84" fmla="*/ 4331098 h 6568233"/>
              <a:gd name="connsiteX85" fmla="*/ 5565637 w 8636594"/>
              <a:gd name="connsiteY85" fmla="*/ 4259503 h 6568233"/>
              <a:gd name="connsiteX86" fmla="*/ 5613684 w 8636594"/>
              <a:gd name="connsiteY86" fmla="*/ 4187441 h 6568233"/>
              <a:gd name="connsiteX87" fmla="*/ 5685160 w 8636594"/>
              <a:gd name="connsiteY87" fmla="*/ 4078531 h 6568233"/>
              <a:gd name="connsiteX88" fmla="*/ 5756074 w 8636594"/>
              <a:gd name="connsiteY88" fmla="*/ 3968727 h 6568233"/>
              <a:gd name="connsiteX89" fmla="*/ 5873483 w 8636594"/>
              <a:gd name="connsiteY89" fmla="*/ 3783989 h 6568233"/>
              <a:gd name="connsiteX90" fmla="*/ 6203209 w 8636594"/>
              <a:gd name="connsiteY90" fmla="*/ 3258640 h 6568233"/>
              <a:gd name="connsiteX91" fmla="*/ 6299430 w 8636594"/>
              <a:gd name="connsiteY91" fmla="*/ 3107321 h 6568233"/>
              <a:gd name="connsiteX92" fmla="*/ 6372650 w 8636594"/>
              <a:gd name="connsiteY92" fmla="*/ 2993735 h 6568233"/>
              <a:gd name="connsiteX93" fmla="*/ 6453197 w 8636594"/>
              <a:gd name="connsiteY93" fmla="*/ 2869788 h 6568233"/>
              <a:gd name="connsiteX94" fmla="*/ 6564167 w 8636594"/>
              <a:gd name="connsiteY94" fmla="*/ 2696807 h 6568233"/>
              <a:gd name="connsiteX95" fmla="*/ 6976233 w 8636594"/>
              <a:gd name="connsiteY95" fmla="*/ 2045274 h 6568233"/>
              <a:gd name="connsiteX96" fmla="*/ 7086755 w 8636594"/>
              <a:gd name="connsiteY96" fmla="*/ 1872743 h 6568233"/>
              <a:gd name="connsiteX97" fmla="*/ 7170279 w 8636594"/>
              <a:gd name="connsiteY97" fmla="*/ 1744202 h 6568233"/>
              <a:gd name="connsiteX98" fmla="*/ 7226351 w 8636594"/>
              <a:gd name="connsiteY98" fmla="*/ 1659017 h 6568233"/>
              <a:gd name="connsiteX99" fmla="*/ 7282789 w 8636594"/>
              <a:gd name="connsiteY99" fmla="*/ 1574303 h 6568233"/>
              <a:gd name="connsiteX100" fmla="*/ 7339643 w 8636594"/>
              <a:gd name="connsiteY100" fmla="*/ 1490113 h 6568233"/>
              <a:gd name="connsiteX101" fmla="*/ 7396957 w 8636594"/>
              <a:gd name="connsiteY101" fmla="*/ 1406503 h 6568233"/>
              <a:gd name="connsiteX102" fmla="*/ 7454781 w 8636594"/>
              <a:gd name="connsiteY102" fmla="*/ 1323526 h 6568233"/>
              <a:gd name="connsiteX103" fmla="*/ 7513161 w 8636594"/>
              <a:gd name="connsiteY103" fmla="*/ 1241237 h 6568233"/>
              <a:gd name="connsiteX104" fmla="*/ 7572144 w 8636594"/>
              <a:gd name="connsiteY104" fmla="*/ 1159689 h 6568233"/>
              <a:gd name="connsiteX105" fmla="*/ 7601877 w 8636594"/>
              <a:gd name="connsiteY105" fmla="*/ 1119210 h 6568233"/>
              <a:gd name="connsiteX106" fmla="*/ 7631779 w 8636594"/>
              <a:gd name="connsiteY106" fmla="*/ 1078937 h 6568233"/>
              <a:gd name="connsiteX107" fmla="*/ 7661855 w 8636594"/>
              <a:gd name="connsiteY107" fmla="*/ 1038876 h 6568233"/>
              <a:gd name="connsiteX108" fmla="*/ 7692111 w 8636594"/>
              <a:gd name="connsiteY108" fmla="*/ 999035 h 6568233"/>
              <a:gd name="connsiteX109" fmla="*/ 7722554 w 8636594"/>
              <a:gd name="connsiteY109" fmla="*/ 959419 h 6568233"/>
              <a:gd name="connsiteX110" fmla="*/ 7753190 w 8636594"/>
              <a:gd name="connsiteY110" fmla="*/ 920037 h 6568233"/>
              <a:gd name="connsiteX111" fmla="*/ 7784023 w 8636594"/>
              <a:gd name="connsiteY111" fmla="*/ 880894 h 6568233"/>
              <a:gd name="connsiteX112" fmla="*/ 7815061 w 8636594"/>
              <a:gd name="connsiteY112" fmla="*/ 841997 h 6568233"/>
              <a:gd name="connsiteX113" fmla="*/ 7846308 w 8636594"/>
              <a:gd name="connsiteY113" fmla="*/ 803354 h 6568233"/>
              <a:gd name="connsiteX114" fmla="*/ 7877772 w 8636594"/>
              <a:gd name="connsiteY114" fmla="*/ 764970 h 6568233"/>
              <a:gd name="connsiteX115" fmla="*/ 7909458 w 8636594"/>
              <a:gd name="connsiteY115" fmla="*/ 726853 h 6568233"/>
              <a:gd name="connsiteX116" fmla="*/ 7941371 w 8636594"/>
              <a:gd name="connsiteY116" fmla="*/ 689010 h 6568233"/>
              <a:gd name="connsiteX117" fmla="*/ 7973518 w 8636594"/>
              <a:gd name="connsiteY117" fmla="*/ 651447 h 6568233"/>
              <a:gd name="connsiteX118" fmla="*/ 8005905 w 8636594"/>
              <a:gd name="connsiteY118" fmla="*/ 614171 h 6568233"/>
              <a:gd name="connsiteX119" fmla="*/ 8038538 w 8636594"/>
              <a:gd name="connsiteY119" fmla="*/ 577189 h 6568233"/>
              <a:gd name="connsiteX120" fmla="*/ 8071421 w 8636594"/>
              <a:gd name="connsiteY120" fmla="*/ 540507 h 6568233"/>
              <a:gd name="connsiteX121" fmla="*/ 8104563 w 8636594"/>
              <a:gd name="connsiteY121" fmla="*/ 504132 h 6568233"/>
              <a:gd name="connsiteX122" fmla="*/ 8137967 w 8636594"/>
              <a:gd name="connsiteY122" fmla="*/ 468072 h 6568233"/>
              <a:gd name="connsiteX123" fmla="*/ 8171641 w 8636594"/>
              <a:gd name="connsiteY123" fmla="*/ 432332 h 6568233"/>
              <a:gd name="connsiteX124" fmla="*/ 8205590 w 8636594"/>
              <a:gd name="connsiteY124" fmla="*/ 396920 h 6568233"/>
              <a:gd name="connsiteX125" fmla="*/ 8239820 w 8636594"/>
              <a:gd name="connsiteY125" fmla="*/ 361843 h 6568233"/>
              <a:gd name="connsiteX126" fmla="*/ 8274337 w 8636594"/>
              <a:gd name="connsiteY126" fmla="*/ 327107 h 6568233"/>
              <a:gd name="connsiteX127" fmla="*/ 8309147 w 8636594"/>
              <a:gd name="connsiteY127" fmla="*/ 292718 h 6568233"/>
              <a:gd name="connsiteX128" fmla="*/ 8344256 w 8636594"/>
              <a:gd name="connsiteY128" fmla="*/ 258685 h 6568233"/>
              <a:gd name="connsiteX129" fmla="*/ 8379669 w 8636594"/>
              <a:gd name="connsiteY129" fmla="*/ 225013 h 6568233"/>
              <a:gd name="connsiteX130" fmla="*/ 8415394 w 8636594"/>
              <a:gd name="connsiteY130" fmla="*/ 191709 h 6568233"/>
              <a:gd name="connsiteX131" fmla="*/ 8451434 w 8636594"/>
              <a:gd name="connsiteY131" fmla="*/ 158780 h 6568233"/>
              <a:gd name="connsiteX132" fmla="*/ 8487798 w 8636594"/>
              <a:gd name="connsiteY132" fmla="*/ 126233 h 6568233"/>
              <a:gd name="connsiteX133" fmla="*/ 8524489 w 8636594"/>
              <a:gd name="connsiteY133" fmla="*/ 94075 h 6568233"/>
              <a:gd name="connsiteX134" fmla="*/ 8561515 w 8636594"/>
              <a:gd name="connsiteY134" fmla="*/ 62312 h 6568233"/>
              <a:gd name="connsiteX135" fmla="*/ 8598881 w 8636594"/>
              <a:gd name="connsiteY135" fmla="*/ 30951 h 6568233"/>
              <a:gd name="connsiteX136" fmla="*/ 8636594 w 8636594"/>
              <a:gd name="connsiteY136" fmla="*/ 0 h 6568233"/>
              <a:gd name="connsiteX0" fmla="*/ 8636594 w 8636594"/>
              <a:gd name="connsiteY0" fmla="*/ 0 h 6555999"/>
              <a:gd name="connsiteX1" fmla="*/ 5293 w 8636594"/>
              <a:gd name="connsiteY1" fmla="*/ 0 h 6555999"/>
              <a:gd name="connsiteX2" fmla="*/ 0 w 8636594"/>
              <a:gd name="connsiteY2" fmla="*/ 5587843 h 6555999"/>
              <a:gd name="connsiteX3" fmla="*/ 1594033 w 8636594"/>
              <a:gd name="connsiteY3" fmla="*/ 5600057 h 6555999"/>
              <a:gd name="connsiteX4" fmla="*/ 1686068 w 8636594"/>
              <a:gd name="connsiteY4" fmla="*/ 5599745 h 6555999"/>
              <a:gd name="connsiteX5" fmla="*/ 2416341 w 8636594"/>
              <a:gd name="connsiteY5" fmla="*/ 6555999 h 6555999"/>
              <a:gd name="connsiteX6" fmla="*/ 2472299 w 8636594"/>
              <a:gd name="connsiteY6" fmla="*/ 6543344 h 6555999"/>
              <a:gd name="connsiteX7" fmla="*/ 2527618 w 8636594"/>
              <a:gd name="connsiteY7" fmla="*/ 6530269 h 6555999"/>
              <a:gd name="connsiteX8" fmla="*/ 2582304 w 8636594"/>
              <a:gd name="connsiteY8" fmla="*/ 6516778 h 6555999"/>
              <a:gd name="connsiteX9" fmla="*/ 2636364 w 8636594"/>
              <a:gd name="connsiteY9" fmla="*/ 6502876 h 6555999"/>
              <a:gd name="connsiteX10" fmla="*/ 2689804 w 8636594"/>
              <a:gd name="connsiteY10" fmla="*/ 6488565 h 6555999"/>
              <a:gd name="connsiteX11" fmla="*/ 2742629 w 8636594"/>
              <a:gd name="connsiteY11" fmla="*/ 6473849 h 6555999"/>
              <a:gd name="connsiteX12" fmla="*/ 2794848 w 8636594"/>
              <a:gd name="connsiteY12" fmla="*/ 6458731 h 6555999"/>
              <a:gd name="connsiteX13" fmla="*/ 2846466 w 8636594"/>
              <a:gd name="connsiteY13" fmla="*/ 6443216 h 6555999"/>
              <a:gd name="connsiteX14" fmla="*/ 2897488 w 8636594"/>
              <a:gd name="connsiteY14" fmla="*/ 6427305 h 6555999"/>
              <a:gd name="connsiteX15" fmla="*/ 2947923 w 8636594"/>
              <a:gd name="connsiteY15" fmla="*/ 6411004 h 6555999"/>
              <a:gd name="connsiteX16" fmla="*/ 2997775 w 8636594"/>
              <a:gd name="connsiteY16" fmla="*/ 6394316 h 6555999"/>
              <a:gd name="connsiteX17" fmla="*/ 3047052 w 8636594"/>
              <a:gd name="connsiteY17" fmla="*/ 6377243 h 6555999"/>
              <a:gd name="connsiteX18" fmla="*/ 3095759 w 8636594"/>
              <a:gd name="connsiteY18" fmla="*/ 6359791 h 6555999"/>
              <a:gd name="connsiteX19" fmla="*/ 3143903 w 8636594"/>
              <a:gd name="connsiteY19" fmla="*/ 6341961 h 6555999"/>
              <a:gd name="connsiteX20" fmla="*/ 3191491 w 8636594"/>
              <a:gd name="connsiteY20" fmla="*/ 6323757 h 6555999"/>
              <a:gd name="connsiteX21" fmla="*/ 3238528 w 8636594"/>
              <a:gd name="connsiteY21" fmla="*/ 6305184 h 6555999"/>
              <a:gd name="connsiteX22" fmla="*/ 3285021 w 8636594"/>
              <a:gd name="connsiteY22" fmla="*/ 6286245 h 6555999"/>
              <a:gd name="connsiteX23" fmla="*/ 3330977 w 8636594"/>
              <a:gd name="connsiteY23" fmla="*/ 6266942 h 6555999"/>
              <a:gd name="connsiteX24" fmla="*/ 3376401 w 8636594"/>
              <a:gd name="connsiteY24" fmla="*/ 6247281 h 6555999"/>
              <a:gd name="connsiteX25" fmla="*/ 3421300 w 8636594"/>
              <a:gd name="connsiteY25" fmla="*/ 6227263 h 6555999"/>
              <a:gd name="connsiteX26" fmla="*/ 3465680 w 8636594"/>
              <a:gd name="connsiteY26" fmla="*/ 6206893 h 6555999"/>
              <a:gd name="connsiteX27" fmla="*/ 3509548 w 8636594"/>
              <a:gd name="connsiteY27" fmla="*/ 6186174 h 6555999"/>
              <a:gd name="connsiteX28" fmla="*/ 3552910 w 8636594"/>
              <a:gd name="connsiteY28" fmla="*/ 6165110 h 6555999"/>
              <a:gd name="connsiteX29" fmla="*/ 3595773 w 8636594"/>
              <a:gd name="connsiteY29" fmla="*/ 6143704 h 6555999"/>
              <a:gd name="connsiteX30" fmla="*/ 3638142 w 8636594"/>
              <a:gd name="connsiteY30" fmla="*/ 6121960 h 6555999"/>
              <a:gd name="connsiteX31" fmla="*/ 3680024 w 8636594"/>
              <a:gd name="connsiteY31" fmla="*/ 6099881 h 6555999"/>
              <a:gd name="connsiteX32" fmla="*/ 3721426 w 8636594"/>
              <a:gd name="connsiteY32" fmla="*/ 6077471 h 6555999"/>
              <a:gd name="connsiteX33" fmla="*/ 3762353 w 8636594"/>
              <a:gd name="connsiteY33" fmla="*/ 6054733 h 6555999"/>
              <a:gd name="connsiteX34" fmla="*/ 3802812 w 8636594"/>
              <a:gd name="connsiteY34" fmla="*/ 6031671 h 6555999"/>
              <a:gd name="connsiteX35" fmla="*/ 3842810 w 8636594"/>
              <a:gd name="connsiteY35" fmla="*/ 6008288 h 6555999"/>
              <a:gd name="connsiteX36" fmla="*/ 3882352 w 8636594"/>
              <a:gd name="connsiteY36" fmla="*/ 5984588 h 6555999"/>
              <a:gd name="connsiteX37" fmla="*/ 3921445 w 8636594"/>
              <a:gd name="connsiteY37" fmla="*/ 5960574 h 6555999"/>
              <a:gd name="connsiteX38" fmla="*/ 3960096 w 8636594"/>
              <a:gd name="connsiteY38" fmla="*/ 5936250 h 6555999"/>
              <a:gd name="connsiteX39" fmla="*/ 3998311 w 8636594"/>
              <a:gd name="connsiteY39" fmla="*/ 5911619 h 6555999"/>
              <a:gd name="connsiteX40" fmla="*/ 4036095 w 8636594"/>
              <a:gd name="connsiteY40" fmla="*/ 5886685 h 6555999"/>
              <a:gd name="connsiteX41" fmla="*/ 4073456 w 8636594"/>
              <a:gd name="connsiteY41" fmla="*/ 5861452 h 6555999"/>
              <a:gd name="connsiteX42" fmla="*/ 4110400 w 8636594"/>
              <a:gd name="connsiteY42" fmla="*/ 5835922 h 6555999"/>
              <a:gd name="connsiteX43" fmla="*/ 4146933 w 8636594"/>
              <a:gd name="connsiteY43" fmla="*/ 5810100 h 6555999"/>
              <a:gd name="connsiteX44" fmla="*/ 4183061 w 8636594"/>
              <a:gd name="connsiteY44" fmla="*/ 5783988 h 6555999"/>
              <a:gd name="connsiteX45" fmla="*/ 4218791 w 8636594"/>
              <a:gd name="connsiteY45" fmla="*/ 5757591 h 6555999"/>
              <a:gd name="connsiteX46" fmla="*/ 4254129 w 8636594"/>
              <a:gd name="connsiteY46" fmla="*/ 5730912 h 6555999"/>
              <a:gd name="connsiteX47" fmla="*/ 4289081 w 8636594"/>
              <a:gd name="connsiteY47" fmla="*/ 5703955 h 6555999"/>
              <a:gd name="connsiteX48" fmla="*/ 4323654 w 8636594"/>
              <a:gd name="connsiteY48" fmla="*/ 5676722 h 6555999"/>
              <a:gd name="connsiteX49" fmla="*/ 4357854 w 8636594"/>
              <a:gd name="connsiteY49" fmla="*/ 5649218 h 6555999"/>
              <a:gd name="connsiteX50" fmla="*/ 4391688 w 8636594"/>
              <a:gd name="connsiteY50" fmla="*/ 5621446 h 6555999"/>
              <a:gd name="connsiteX51" fmla="*/ 4425162 w 8636594"/>
              <a:gd name="connsiteY51" fmla="*/ 5593409 h 6555999"/>
              <a:gd name="connsiteX52" fmla="*/ 4458281 w 8636594"/>
              <a:gd name="connsiteY52" fmla="*/ 5565111 h 6555999"/>
              <a:gd name="connsiteX53" fmla="*/ 4491053 w 8636594"/>
              <a:gd name="connsiteY53" fmla="*/ 5536556 h 6555999"/>
              <a:gd name="connsiteX54" fmla="*/ 4523484 w 8636594"/>
              <a:gd name="connsiteY54" fmla="*/ 5507747 h 6555999"/>
              <a:gd name="connsiteX55" fmla="*/ 4555580 w 8636594"/>
              <a:gd name="connsiteY55" fmla="*/ 5478687 h 6555999"/>
              <a:gd name="connsiteX56" fmla="*/ 4587347 w 8636594"/>
              <a:gd name="connsiteY56" fmla="*/ 5449380 h 6555999"/>
              <a:gd name="connsiteX57" fmla="*/ 4618793 w 8636594"/>
              <a:gd name="connsiteY57" fmla="*/ 5419830 h 6555999"/>
              <a:gd name="connsiteX58" fmla="*/ 4649922 w 8636594"/>
              <a:gd name="connsiteY58" fmla="*/ 5390040 h 6555999"/>
              <a:gd name="connsiteX59" fmla="*/ 4680742 w 8636594"/>
              <a:gd name="connsiteY59" fmla="*/ 5360014 h 6555999"/>
              <a:gd name="connsiteX60" fmla="*/ 4711259 w 8636594"/>
              <a:gd name="connsiteY60" fmla="*/ 5329755 h 6555999"/>
              <a:gd name="connsiteX61" fmla="*/ 4741478 w 8636594"/>
              <a:gd name="connsiteY61" fmla="*/ 5299266 h 6555999"/>
              <a:gd name="connsiteX62" fmla="*/ 4771408 w 8636594"/>
              <a:gd name="connsiteY62" fmla="*/ 5268551 h 6555999"/>
              <a:gd name="connsiteX63" fmla="*/ 4801053 w 8636594"/>
              <a:gd name="connsiteY63" fmla="*/ 5237614 h 6555999"/>
              <a:gd name="connsiteX64" fmla="*/ 4830420 w 8636594"/>
              <a:gd name="connsiteY64" fmla="*/ 5206458 h 6555999"/>
              <a:gd name="connsiteX65" fmla="*/ 4859516 w 8636594"/>
              <a:gd name="connsiteY65" fmla="*/ 5175087 h 6555999"/>
              <a:gd name="connsiteX66" fmla="*/ 4888347 w 8636594"/>
              <a:gd name="connsiteY66" fmla="*/ 5143504 h 6555999"/>
              <a:gd name="connsiteX67" fmla="*/ 4916919 w 8636594"/>
              <a:gd name="connsiteY67" fmla="*/ 5111713 h 6555999"/>
              <a:gd name="connsiteX68" fmla="*/ 4945238 w 8636594"/>
              <a:gd name="connsiteY68" fmla="*/ 5079717 h 6555999"/>
              <a:gd name="connsiteX69" fmla="*/ 4973311 w 8636594"/>
              <a:gd name="connsiteY69" fmla="*/ 5047519 h 6555999"/>
              <a:gd name="connsiteX70" fmla="*/ 5001145 w 8636594"/>
              <a:gd name="connsiteY70" fmla="*/ 5015124 h 6555999"/>
              <a:gd name="connsiteX71" fmla="*/ 5028745 w 8636594"/>
              <a:gd name="connsiteY71" fmla="*/ 4982535 h 6555999"/>
              <a:gd name="connsiteX72" fmla="*/ 5056117 w 8636594"/>
              <a:gd name="connsiteY72" fmla="*/ 4949755 h 6555999"/>
              <a:gd name="connsiteX73" fmla="*/ 5083269 w 8636594"/>
              <a:gd name="connsiteY73" fmla="*/ 4916787 h 6555999"/>
              <a:gd name="connsiteX74" fmla="*/ 5110207 w 8636594"/>
              <a:gd name="connsiteY74" fmla="*/ 4883636 h 6555999"/>
              <a:gd name="connsiteX75" fmla="*/ 5136937 w 8636594"/>
              <a:gd name="connsiteY75" fmla="*/ 4850305 h 6555999"/>
              <a:gd name="connsiteX76" fmla="*/ 5163464 w 8636594"/>
              <a:gd name="connsiteY76" fmla="*/ 4816797 h 6555999"/>
              <a:gd name="connsiteX77" fmla="*/ 5215940 w 8636594"/>
              <a:gd name="connsiteY77" fmla="*/ 4749265 h 6555999"/>
              <a:gd name="connsiteX78" fmla="*/ 5267684 w 8636594"/>
              <a:gd name="connsiteY78" fmla="*/ 4681068 h 6555999"/>
              <a:gd name="connsiteX79" fmla="*/ 5318748 w 8636594"/>
              <a:gd name="connsiteY79" fmla="*/ 4612234 h 6555999"/>
              <a:gd name="connsiteX80" fmla="*/ 5369182 w 8636594"/>
              <a:gd name="connsiteY80" fmla="*/ 4542793 h 6555999"/>
              <a:gd name="connsiteX81" fmla="*/ 5419038 w 8636594"/>
              <a:gd name="connsiteY81" fmla="*/ 4472771 h 6555999"/>
              <a:gd name="connsiteX82" fmla="*/ 5468365 w 8636594"/>
              <a:gd name="connsiteY82" fmla="*/ 4402196 h 6555999"/>
              <a:gd name="connsiteX83" fmla="*/ 5517215 w 8636594"/>
              <a:gd name="connsiteY83" fmla="*/ 4331098 h 6555999"/>
              <a:gd name="connsiteX84" fmla="*/ 5565637 w 8636594"/>
              <a:gd name="connsiteY84" fmla="*/ 4259503 h 6555999"/>
              <a:gd name="connsiteX85" fmla="*/ 5613684 w 8636594"/>
              <a:gd name="connsiteY85" fmla="*/ 4187441 h 6555999"/>
              <a:gd name="connsiteX86" fmla="*/ 5685160 w 8636594"/>
              <a:gd name="connsiteY86" fmla="*/ 4078531 h 6555999"/>
              <a:gd name="connsiteX87" fmla="*/ 5756074 w 8636594"/>
              <a:gd name="connsiteY87" fmla="*/ 3968727 h 6555999"/>
              <a:gd name="connsiteX88" fmla="*/ 5873483 w 8636594"/>
              <a:gd name="connsiteY88" fmla="*/ 3783989 h 6555999"/>
              <a:gd name="connsiteX89" fmla="*/ 6203209 w 8636594"/>
              <a:gd name="connsiteY89" fmla="*/ 3258640 h 6555999"/>
              <a:gd name="connsiteX90" fmla="*/ 6299430 w 8636594"/>
              <a:gd name="connsiteY90" fmla="*/ 3107321 h 6555999"/>
              <a:gd name="connsiteX91" fmla="*/ 6372650 w 8636594"/>
              <a:gd name="connsiteY91" fmla="*/ 2993735 h 6555999"/>
              <a:gd name="connsiteX92" fmla="*/ 6453197 w 8636594"/>
              <a:gd name="connsiteY92" fmla="*/ 2869788 h 6555999"/>
              <a:gd name="connsiteX93" fmla="*/ 6564167 w 8636594"/>
              <a:gd name="connsiteY93" fmla="*/ 2696807 h 6555999"/>
              <a:gd name="connsiteX94" fmla="*/ 6976233 w 8636594"/>
              <a:gd name="connsiteY94" fmla="*/ 2045274 h 6555999"/>
              <a:gd name="connsiteX95" fmla="*/ 7086755 w 8636594"/>
              <a:gd name="connsiteY95" fmla="*/ 1872743 h 6555999"/>
              <a:gd name="connsiteX96" fmla="*/ 7170279 w 8636594"/>
              <a:gd name="connsiteY96" fmla="*/ 1744202 h 6555999"/>
              <a:gd name="connsiteX97" fmla="*/ 7226351 w 8636594"/>
              <a:gd name="connsiteY97" fmla="*/ 1659017 h 6555999"/>
              <a:gd name="connsiteX98" fmla="*/ 7282789 w 8636594"/>
              <a:gd name="connsiteY98" fmla="*/ 1574303 h 6555999"/>
              <a:gd name="connsiteX99" fmla="*/ 7339643 w 8636594"/>
              <a:gd name="connsiteY99" fmla="*/ 1490113 h 6555999"/>
              <a:gd name="connsiteX100" fmla="*/ 7396957 w 8636594"/>
              <a:gd name="connsiteY100" fmla="*/ 1406503 h 6555999"/>
              <a:gd name="connsiteX101" fmla="*/ 7454781 w 8636594"/>
              <a:gd name="connsiteY101" fmla="*/ 1323526 h 6555999"/>
              <a:gd name="connsiteX102" fmla="*/ 7513161 w 8636594"/>
              <a:gd name="connsiteY102" fmla="*/ 1241237 h 6555999"/>
              <a:gd name="connsiteX103" fmla="*/ 7572144 w 8636594"/>
              <a:gd name="connsiteY103" fmla="*/ 1159689 h 6555999"/>
              <a:gd name="connsiteX104" fmla="*/ 7601877 w 8636594"/>
              <a:gd name="connsiteY104" fmla="*/ 1119210 h 6555999"/>
              <a:gd name="connsiteX105" fmla="*/ 7631779 w 8636594"/>
              <a:gd name="connsiteY105" fmla="*/ 1078937 h 6555999"/>
              <a:gd name="connsiteX106" fmla="*/ 7661855 w 8636594"/>
              <a:gd name="connsiteY106" fmla="*/ 1038876 h 6555999"/>
              <a:gd name="connsiteX107" fmla="*/ 7692111 w 8636594"/>
              <a:gd name="connsiteY107" fmla="*/ 999035 h 6555999"/>
              <a:gd name="connsiteX108" fmla="*/ 7722554 w 8636594"/>
              <a:gd name="connsiteY108" fmla="*/ 959419 h 6555999"/>
              <a:gd name="connsiteX109" fmla="*/ 7753190 w 8636594"/>
              <a:gd name="connsiteY109" fmla="*/ 920037 h 6555999"/>
              <a:gd name="connsiteX110" fmla="*/ 7784023 w 8636594"/>
              <a:gd name="connsiteY110" fmla="*/ 880894 h 6555999"/>
              <a:gd name="connsiteX111" fmla="*/ 7815061 w 8636594"/>
              <a:gd name="connsiteY111" fmla="*/ 841997 h 6555999"/>
              <a:gd name="connsiteX112" fmla="*/ 7846308 w 8636594"/>
              <a:gd name="connsiteY112" fmla="*/ 803354 h 6555999"/>
              <a:gd name="connsiteX113" fmla="*/ 7877772 w 8636594"/>
              <a:gd name="connsiteY113" fmla="*/ 764970 h 6555999"/>
              <a:gd name="connsiteX114" fmla="*/ 7909458 w 8636594"/>
              <a:gd name="connsiteY114" fmla="*/ 726853 h 6555999"/>
              <a:gd name="connsiteX115" fmla="*/ 7941371 w 8636594"/>
              <a:gd name="connsiteY115" fmla="*/ 689010 h 6555999"/>
              <a:gd name="connsiteX116" fmla="*/ 7973518 w 8636594"/>
              <a:gd name="connsiteY116" fmla="*/ 651447 h 6555999"/>
              <a:gd name="connsiteX117" fmla="*/ 8005905 w 8636594"/>
              <a:gd name="connsiteY117" fmla="*/ 614171 h 6555999"/>
              <a:gd name="connsiteX118" fmla="*/ 8038538 w 8636594"/>
              <a:gd name="connsiteY118" fmla="*/ 577189 h 6555999"/>
              <a:gd name="connsiteX119" fmla="*/ 8071421 w 8636594"/>
              <a:gd name="connsiteY119" fmla="*/ 540507 h 6555999"/>
              <a:gd name="connsiteX120" fmla="*/ 8104563 w 8636594"/>
              <a:gd name="connsiteY120" fmla="*/ 504132 h 6555999"/>
              <a:gd name="connsiteX121" fmla="*/ 8137967 w 8636594"/>
              <a:gd name="connsiteY121" fmla="*/ 468072 h 6555999"/>
              <a:gd name="connsiteX122" fmla="*/ 8171641 w 8636594"/>
              <a:gd name="connsiteY122" fmla="*/ 432332 h 6555999"/>
              <a:gd name="connsiteX123" fmla="*/ 8205590 w 8636594"/>
              <a:gd name="connsiteY123" fmla="*/ 396920 h 6555999"/>
              <a:gd name="connsiteX124" fmla="*/ 8239820 w 8636594"/>
              <a:gd name="connsiteY124" fmla="*/ 361843 h 6555999"/>
              <a:gd name="connsiteX125" fmla="*/ 8274337 w 8636594"/>
              <a:gd name="connsiteY125" fmla="*/ 327107 h 6555999"/>
              <a:gd name="connsiteX126" fmla="*/ 8309147 w 8636594"/>
              <a:gd name="connsiteY126" fmla="*/ 292718 h 6555999"/>
              <a:gd name="connsiteX127" fmla="*/ 8344256 w 8636594"/>
              <a:gd name="connsiteY127" fmla="*/ 258685 h 6555999"/>
              <a:gd name="connsiteX128" fmla="*/ 8379669 w 8636594"/>
              <a:gd name="connsiteY128" fmla="*/ 225013 h 6555999"/>
              <a:gd name="connsiteX129" fmla="*/ 8415394 w 8636594"/>
              <a:gd name="connsiteY129" fmla="*/ 191709 h 6555999"/>
              <a:gd name="connsiteX130" fmla="*/ 8451434 w 8636594"/>
              <a:gd name="connsiteY130" fmla="*/ 158780 h 6555999"/>
              <a:gd name="connsiteX131" fmla="*/ 8487798 w 8636594"/>
              <a:gd name="connsiteY131" fmla="*/ 126233 h 6555999"/>
              <a:gd name="connsiteX132" fmla="*/ 8524489 w 8636594"/>
              <a:gd name="connsiteY132" fmla="*/ 94075 h 6555999"/>
              <a:gd name="connsiteX133" fmla="*/ 8561515 w 8636594"/>
              <a:gd name="connsiteY133" fmla="*/ 62312 h 6555999"/>
              <a:gd name="connsiteX134" fmla="*/ 8598881 w 8636594"/>
              <a:gd name="connsiteY134" fmla="*/ 30951 h 6555999"/>
              <a:gd name="connsiteX135" fmla="*/ 8636594 w 8636594"/>
              <a:gd name="connsiteY135" fmla="*/ 0 h 6555999"/>
              <a:gd name="connsiteX0" fmla="*/ 8636594 w 8636594"/>
              <a:gd name="connsiteY0" fmla="*/ 0 h 6543344"/>
              <a:gd name="connsiteX1" fmla="*/ 5293 w 8636594"/>
              <a:gd name="connsiteY1" fmla="*/ 0 h 6543344"/>
              <a:gd name="connsiteX2" fmla="*/ 0 w 8636594"/>
              <a:gd name="connsiteY2" fmla="*/ 5587843 h 6543344"/>
              <a:gd name="connsiteX3" fmla="*/ 1594033 w 8636594"/>
              <a:gd name="connsiteY3" fmla="*/ 5600057 h 6543344"/>
              <a:gd name="connsiteX4" fmla="*/ 1686068 w 8636594"/>
              <a:gd name="connsiteY4" fmla="*/ 5599745 h 6543344"/>
              <a:gd name="connsiteX5" fmla="*/ 2472299 w 8636594"/>
              <a:gd name="connsiteY5" fmla="*/ 6543344 h 6543344"/>
              <a:gd name="connsiteX6" fmla="*/ 2527618 w 8636594"/>
              <a:gd name="connsiteY6" fmla="*/ 6530269 h 6543344"/>
              <a:gd name="connsiteX7" fmla="*/ 2582304 w 8636594"/>
              <a:gd name="connsiteY7" fmla="*/ 6516778 h 6543344"/>
              <a:gd name="connsiteX8" fmla="*/ 2636364 w 8636594"/>
              <a:gd name="connsiteY8" fmla="*/ 6502876 h 6543344"/>
              <a:gd name="connsiteX9" fmla="*/ 2689804 w 8636594"/>
              <a:gd name="connsiteY9" fmla="*/ 6488565 h 6543344"/>
              <a:gd name="connsiteX10" fmla="*/ 2742629 w 8636594"/>
              <a:gd name="connsiteY10" fmla="*/ 6473849 h 6543344"/>
              <a:gd name="connsiteX11" fmla="*/ 2794848 w 8636594"/>
              <a:gd name="connsiteY11" fmla="*/ 6458731 h 6543344"/>
              <a:gd name="connsiteX12" fmla="*/ 2846466 w 8636594"/>
              <a:gd name="connsiteY12" fmla="*/ 6443216 h 6543344"/>
              <a:gd name="connsiteX13" fmla="*/ 2897488 w 8636594"/>
              <a:gd name="connsiteY13" fmla="*/ 6427305 h 6543344"/>
              <a:gd name="connsiteX14" fmla="*/ 2947923 w 8636594"/>
              <a:gd name="connsiteY14" fmla="*/ 6411004 h 6543344"/>
              <a:gd name="connsiteX15" fmla="*/ 2997775 w 8636594"/>
              <a:gd name="connsiteY15" fmla="*/ 6394316 h 6543344"/>
              <a:gd name="connsiteX16" fmla="*/ 3047052 w 8636594"/>
              <a:gd name="connsiteY16" fmla="*/ 6377243 h 6543344"/>
              <a:gd name="connsiteX17" fmla="*/ 3095759 w 8636594"/>
              <a:gd name="connsiteY17" fmla="*/ 6359791 h 6543344"/>
              <a:gd name="connsiteX18" fmla="*/ 3143903 w 8636594"/>
              <a:gd name="connsiteY18" fmla="*/ 6341961 h 6543344"/>
              <a:gd name="connsiteX19" fmla="*/ 3191491 w 8636594"/>
              <a:gd name="connsiteY19" fmla="*/ 6323757 h 6543344"/>
              <a:gd name="connsiteX20" fmla="*/ 3238528 w 8636594"/>
              <a:gd name="connsiteY20" fmla="*/ 6305184 h 6543344"/>
              <a:gd name="connsiteX21" fmla="*/ 3285021 w 8636594"/>
              <a:gd name="connsiteY21" fmla="*/ 6286245 h 6543344"/>
              <a:gd name="connsiteX22" fmla="*/ 3330977 w 8636594"/>
              <a:gd name="connsiteY22" fmla="*/ 6266942 h 6543344"/>
              <a:gd name="connsiteX23" fmla="*/ 3376401 w 8636594"/>
              <a:gd name="connsiteY23" fmla="*/ 6247281 h 6543344"/>
              <a:gd name="connsiteX24" fmla="*/ 3421300 w 8636594"/>
              <a:gd name="connsiteY24" fmla="*/ 6227263 h 6543344"/>
              <a:gd name="connsiteX25" fmla="*/ 3465680 w 8636594"/>
              <a:gd name="connsiteY25" fmla="*/ 6206893 h 6543344"/>
              <a:gd name="connsiteX26" fmla="*/ 3509548 w 8636594"/>
              <a:gd name="connsiteY26" fmla="*/ 6186174 h 6543344"/>
              <a:gd name="connsiteX27" fmla="*/ 3552910 w 8636594"/>
              <a:gd name="connsiteY27" fmla="*/ 6165110 h 6543344"/>
              <a:gd name="connsiteX28" fmla="*/ 3595773 w 8636594"/>
              <a:gd name="connsiteY28" fmla="*/ 6143704 h 6543344"/>
              <a:gd name="connsiteX29" fmla="*/ 3638142 w 8636594"/>
              <a:gd name="connsiteY29" fmla="*/ 6121960 h 6543344"/>
              <a:gd name="connsiteX30" fmla="*/ 3680024 w 8636594"/>
              <a:gd name="connsiteY30" fmla="*/ 6099881 h 6543344"/>
              <a:gd name="connsiteX31" fmla="*/ 3721426 w 8636594"/>
              <a:gd name="connsiteY31" fmla="*/ 6077471 h 6543344"/>
              <a:gd name="connsiteX32" fmla="*/ 3762353 w 8636594"/>
              <a:gd name="connsiteY32" fmla="*/ 6054733 h 6543344"/>
              <a:gd name="connsiteX33" fmla="*/ 3802812 w 8636594"/>
              <a:gd name="connsiteY33" fmla="*/ 6031671 h 6543344"/>
              <a:gd name="connsiteX34" fmla="*/ 3842810 w 8636594"/>
              <a:gd name="connsiteY34" fmla="*/ 6008288 h 6543344"/>
              <a:gd name="connsiteX35" fmla="*/ 3882352 w 8636594"/>
              <a:gd name="connsiteY35" fmla="*/ 5984588 h 6543344"/>
              <a:gd name="connsiteX36" fmla="*/ 3921445 w 8636594"/>
              <a:gd name="connsiteY36" fmla="*/ 5960574 h 6543344"/>
              <a:gd name="connsiteX37" fmla="*/ 3960096 w 8636594"/>
              <a:gd name="connsiteY37" fmla="*/ 5936250 h 6543344"/>
              <a:gd name="connsiteX38" fmla="*/ 3998311 w 8636594"/>
              <a:gd name="connsiteY38" fmla="*/ 5911619 h 6543344"/>
              <a:gd name="connsiteX39" fmla="*/ 4036095 w 8636594"/>
              <a:gd name="connsiteY39" fmla="*/ 5886685 h 6543344"/>
              <a:gd name="connsiteX40" fmla="*/ 4073456 w 8636594"/>
              <a:gd name="connsiteY40" fmla="*/ 5861452 h 6543344"/>
              <a:gd name="connsiteX41" fmla="*/ 4110400 w 8636594"/>
              <a:gd name="connsiteY41" fmla="*/ 5835922 h 6543344"/>
              <a:gd name="connsiteX42" fmla="*/ 4146933 w 8636594"/>
              <a:gd name="connsiteY42" fmla="*/ 5810100 h 6543344"/>
              <a:gd name="connsiteX43" fmla="*/ 4183061 w 8636594"/>
              <a:gd name="connsiteY43" fmla="*/ 5783988 h 6543344"/>
              <a:gd name="connsiteX44" fmla="*/ 4218791 w 8636594"/>
              <a:gd name="connsiteY44" fmla="*/ 5757591 h 6543344"/>
              <a:gd name="connsiteX45" fmla="*/ 4254129 w 8636594"/>
              <a:gd name="connsiteY45" fmla="*/ 5730912 h 6543344"/>
              <a:gd name="connsiteX46" fmla="*/ 4289081 w 8636594"/>
              <a:gd name="connsiteY46" fmla="*/ 5703955 h 6543344"/>
              <a:gd name="connsiteX47" fmla="*/ 4323654 w 8636594"/>
              <a:gd name="connsiteY47" fmla="*/ 5676722 h 6543344"/>
              <a:gd name="connsiteX48" fmla="*/ 4357854 w 8636594"/>
              <a:gd name="connsiteY48" fmla="*/ 5649218 h 6543344"/>
              <a:gd name="connsiteX49" fmla="*/ 4391688 w 8636594"/>
              <a:gd name="connsiteY49" fmla="*/ 5621446 h 6543344"/>
              <a:gd name="connsiteX50" fmla="*/ 4425162 w 8636594"/>
              <a:gd name="connsiteY50" fmla="*/ 5593409 h 6543344"/>
              <a:gd name="connsiteX51" fmla="*/ 4458281 w 8636594"/>
              <a:gd name="connsiteY51" fmla="*/ 5565111 h 6543344"/>
              <a:gd name="connsiteX52" fmla="*/ 4491053 w 8636594"/>
              <a:gd name="connsiteY52" fmla="*/ 5536556 h 6543344"/>
              <a:gd name="connsiteX53" fmla="*/ 4523484 w 8636594"/>
              <a:gd name="connsiteY53" fmla="*/ 5507747 h 6543344"/>
              <a:gd name="connsiteX54" fmla="*/ 4555580 w 8636594"/>
              <a:gd name="connsiteY54" fmla="*/ 5478687 h 6543344"/>
              <a:gd name="connsiteX55" fmla="*/ 4587347 w 8636594"/>
              <a:gd name="connsiteY55" fmla="*/ 5449380 h 6543344"/>
              <a:gd name="connsiteX56" fmla="*/ 4618793 w 8636594"/>
              <a:gd name="connsiteY56" fmla="*/ 5419830 h 6543344"/>
              <a:gd name="connsiteX57" fmla="*/ 4649922 w 8636594"/>
              <a:gd name="connsiteY57" fmla="*/ 5390040 h 6543344"/>
              <a:gd name="connsiteX58" fmla="*/ 4680742 w 8636594"/>
              <a:gd name="connsiteY58" fmla="*/ 5360014 h 6543344"/>
              <a:gd name="connsiteX59" fmla="*/ 4711259 w 8636594"/>
              <a:gd name="connsiteY59" fmla="*/ 5329755 h 6543344"/>
              <a:gd name="connsiteX60" fmla="*/ 4741478 w 8636594"/>
              <a:gd name="connsiteY60" fmla="*/ 5299266 h 6543344"/>
              <a:gd name="connsiteX61" fmla="*/ 4771408 w 8636594"/>
              <a:gd name="connsiteY61" fmla="*/ 5268551 h 6543344"/>
              <a:gd name="connsiteX62" fmla="*/ 4801053 w 8636594"/>
              <a:gd name="connsiteY62" fmla="*/ 5237614 h 6543344"/>
              <a:gd name="connsiteX63" fmla="*/ 4830420 w 8636594"/>
              <a:gd name="connsiteY63" fmla="*/ 5206458 h 6543344"/>
              <a:gd name="connsiteX64" fmla="*/ 4859516 w 8636594"/>
              <a:gd name="connsiteY64" fmla="*/ 5175087 h 6543344"/>
              <a:gd name="connsiteX65" fmla="*/ 4888347 w 8636594"/>
              <a:gd name="connsiteY65" fmla="*/ 5143504 h 6543344"/>
              <a:gd name="connsiteX66" fmla="*/ 4916919 w 8636594"/>
              <a:gd name="connsiteY66" fmla="*/ 5111713 h 6543344"/>
              <a:gd name="connsiteX67" fmla="*/ 4945238 w 8636594"/>
              <a:gd name="connsiteY67" fmla="*/ 5079717 h 6543344"/>
              <a:gd name="connsiteX68" fmla="*/ 4973311 w 8636594"/>
              <a:gd name="connsiteY68" fmla="*/ 5047519 h 6543344"/>
              <a:gd name="connsiteX69" fmla="*/ 5001145 w 8636594"/>
              <a:gd name="connsiteY69" fmla="*/ 5015124 h 6543344"/>
              <a:gd name="connsiteX70" fmla="*/ 5028745 w 8636594"/>
              <a:gd name="connsiteY70" fmla="*/ 4982535 h 6543344"/>
              <a:gd name="connsiteX71" fmla="*/ 5056117 w 8636594"/>
              <a:gd name="connsiteY71" fmla="*/ 4949755 h 6543344"/>
              <a:gd name="connsiteX72" fmla="*/ 5083269 w 8636594"/>
              <a:gd name="connsiteY72" fmla="*/ 4916787 h 6543344"/>
              <a:gd name="connsiteX73" fmla="*/ 5110207 w 8636594"/>
              <a:gd name="connsiteY73" fmla="*/ 4883636 h 6543344"/>
              <a:gd name="connsiteX74" fmla="*/ 5136937 w 8636594"/>
              <a:gd name="connsiteY74" fmla="*/ 4850305 h 6543344"/>
              <a:gd name="connsiteX75" fmla="*/ 5163464 w 8636594"/>
              <a:gd name="connsiteY75" fmla="*/ 4816797 h 6543344"/>
              <a:gd name="connsiteX76" fmla="*/ 5215940 w 8636594"/>
              <a:gd name="connsiteY76" fmla="*/ 4749265 h 6543344"/>
              <a:gd name="connsiteX77" fmla="*/ 5267684 w 8636594"/>
              <a:gd name="connsiteY77" fmla="*/ 4681068 h 6543344"/>
              <a:gd name="connsiteX78" fmla="*/ 5318748 w 8636594"/>
              <a:gd name="connsiteY78" fmla="*/ 4612234 h 6543344"/>
              <a:gd name="connsiteX79" fmla="*/ 5369182 w 8636594"/>
              <a:gd name="connsiteY79" fmla="*/ 4542793 h 6543344"/>
              <a:gd name="connsiteX80" fmla="*/ 5419038 w 8636594"/>
              <a:gd name="connsiteY80" fmla="*/ 4472771 h 6543344"/>
              <a:gd name="connsiteX81" fmla="*/ 5468365 w 8636594"/>
              <a:gd name="connsiteY81" fmla="*/ 4402196 h 6543344"/>
              <a:gd name="connsiteX82" fmla="*/ 5517215 w 8636594"/>
              <a:gd name="connsiteY82" fmla="*/ 4331098 h 6543344"/>
              <a:gd name="connsiteX83" fmla="*/ 5565637 w 8636594"/>
              <a:gd name="connsiteY83" fmla="*/ 4259503 h 6543344"/>
              <a:gd name="connsiteX84" fmla="*/ 5613684 w 8636594"/>
              <a:gd name="connsiteY84" fmla="*/ 4187441 h 6543344"/>
              <a:gd name="connsiteX85" fmla="*/ 5685160 w 8636594"/>
              <a:gd name="connsiteY85" fmla="*/ 4078531 h 6543344"/>
              <a:gd name="connsiteX86" fmla="*/ 5756074 w 8636594"/>
              <a:gd name="connsiteY86" fmla="*/ 3968727 h 6543344"/>
              <a:gd name="connsiteX87" fmla="*/ 5873483 w 8636594"/>
              <a:gd name="connsiteY87" fmla="*/ 3783989 h 6543344"/>
              <a:gd name="connsiteX88" fmla="*/ 6203209 w 8636594"/>
              <a:gd name="connsiteY88" fmla="*/ 3258640 h 6543344"/>
              <a:gd name="connsiteX89" fmla="*/ 6299430 w 8636594"/>
              <a:gd name="connsiteY89" fmla="*/ 3107321 h 6543344"/>
              <a:gd name="connsiteX90" fmla="*/ 6372650 w 8636594"/>
              <a:gd name="connsiteY90" fmla="*/ 2993735 h 6543344"/>
              <a:gd name="connsiteX91" fmla="*/ 6453197 w 8636594"/>
              <a:gd name="connsiteY91" fmla="*/ 2869788 h 6543344"/>
              <a:gd name="connsiteX92" fmla="*/ 6564167 w 8636594"/>
              <a:gd name="connsiteY92" fmla="*/ 2696807 h 6543344"/>
              <a:gd name="connsiteX93" fmla="*/ 6976233 w 8636594"/>
              <a:gd name="connsiteY93" fmla="*/ 2045274 h 6543344"/>
              <a:gd name="connsiteX94" fmla="*/ 7086755 w 8636594"/>
              <a:gd name="connsiteY94" fmla="*/ 1872743 h 6543344"/>
              <a:gd name="connsiteX95" fmla="*/ 7170279 w 8636594"/>
              <a:gd name="connsiteY95" fmla="*/ 1744202 h 6543344"/>
              <a:gd name="connsiteX96" fmla="*/ 7226351 w 8636594"/>
              <a:gd name="connsiteY96" fmla="*/ 1659017 h 6543344"/>
              <a:gd name="connsiteX97" fmla="*/ 7282789 w 8636594"/>
              <a:gd name="connsiteY97" fmla="*/ 1574303 h 6543344"/>
              <a:gd name="connsiteX98" fmla="*/ 7339643 w 8636594"/>
              <a:gd name="connsiteY98" fmla="*/ 1490113 h 6543344"/>
              <a:gd name="connsiteX99" fmla="*/ 7396957 w 8636594"/>
              <a:gd name="connsiteY99" fmla="*/ 1406503 h 6543344"/>
              <a:gd name="connsiteX100" fmla="*/ 7454781 w 8636594"/>
              <a:gd name="connsiteY100" fmla="*/ 1323526 h 6543344"/>
              <a:gd name="connsiteX101" fmla="*/ 7513161 w 8636594"/>
              <a:gd name="connsiteY101" fmla="*/ 1241237 h 6543344"/>
              <a:gd name="connsiteX102" fmla="*/ 7572144 w 8636594"/>
              <a:gd name="connsiteY102" fmla="*/ 1159689 h 6543344"/>
              <a:gd name="connsiteX103" fmla="*/ 7601877 w 8636594"/>
              <a:gd name="connsiteY103" fmla="*/ 1119210 h 6543344"/>
              <a:gd name="connsiteX104" fmla="*/ 7631779 w 8636594"/>
              <a:gd name="connsiteY104" fmla="*/ 1078937 h 6543344"/>
              <a:gd name="connsiteX105" fmla="*/ 7661855 w 8636594"/>
              <a:gd name="connsiteY105" fmla="*/ 1038876 h 6543344"/>
              <a:gd name="connsiteX106" fmla="*/ 7692111 w 8636594"/>
              <a:gd name="connsiteY106" fmla="*/ 999035 h 6543344"/>
              <a:gd name="connsiteX107" fmla="*/ 7722554 w 8636594"/>
              <a:gd name="connsiteY107" fmla="*/ 959419 h 6543344"/>
              <a:gd name="connsiteX108" fmla="*/ 7753190 w 8636594"/>
              <a:gd name="connsiteY108" fmla="*/ 920037 h 6543344"/>
              <a:gd name="connsiteX109" fmla="*/ 7784023 w 8636594"/>
              <a:gd name="connsiteY109" fmla="*/ 880894 h 6543344"/>
              <a:gd name="connsiteX110" fmla="*/ 7815061 w 8636594"/>
              <a:gd name="connsiteY110" fmla="*/ 841997 h 6543344"/>
              <a:gd name="connsiteX111" fmla="*/ 7846308 w 8636594"/>
              <a:gd name="connsiteY111" fmla="*/ 803354 h 6543344"/>
              <a:gd name="connsiteX112" fmla="*/ 7877772 w 8636594"/>
              <a:gd name="connsiteY112" fmla="*/ 764970 h 6543344"/>
              <a:gd name="connsiteX113" fmla="*/ 7909458 w 8636594"/>
              <a:gd name="connsiteY113" fmla="*/ 726853 h 6543344"/>
              <a:gd name="connsiteX114" fmla="*/ 7941371 w 8636594"/>
              <a:gd name="connsiteY114" fmla="*/ 689010 h 6543344"/>
              <a:gd name="connsiteX115" fmla="*/ 7973518 w 8636594"/>
              <a:gd name="connsiteY115" fmla="*/ 651447 h 6543344"/>
              <a:gd name="connsiteX116" fmla="*/ 8005905 w 8636594"/>
              <a:gd name="connsiteY116" fmla="*/ 614171 h 6543344"/>
              <a:gd name="connsiteX117" fmla="*/ 8038538 w 8636594"/>
              <a:gd name="connsiteY117" fmla="*/ 577189 h 6543344"/>
              <a:gd name="connsiteX118" fmla="*/ 8071421 w 8636594"/>
              <a:gd name="connsiteY118" fmla="*/ 540507 h 6543344"/>
              <a:gd name="connsiteX119" fmla="*/ 8104563 w 8636594"/>
              <a:gd name="connsiteY119" fmla="*/ 504132 h 6543344"/>
              <a:gd name="connsiteX120" fmla="*/ 8137967 w 8636594"/>
              <a:gd name="connsiteY120" fmla="*/ 468072 h 6543344"/>
              <a:gd name="connsiteX121" fmla="*/ 8171641 w 8636594"/>
              <a:gd name="connsiteY121" fmla="*/ 432332 h 6543344"/>
              <a:gd name="connsiteX122" fmla="*/ 8205590 w 8636594"/>
              <a:gd name="connsiteY122" fmla="*/ 396920 h 6543344"/>
              <a:gd name="connsiteX123" fmla="*/ 8239820 w 8636594"/>
              <a:gd name="connsiteY123" fmla="*/ 361843 h 6543344"/>
              <a:gd name="connsiteX124" fmla="*/ 8274337 w 8636594"/>
              <a:gd name="connsiteY124" fmla="*/ 327107 h 6543344"/>
              <a:gd name="connsiteX125" fmla="*/ 8309147 w 8636594"/>
              <a:gd name="connsiteY125" fmla="*/ 292718 h 6543344"/>
              <a:gd name="connsiteX126" fmla="*/ 8344256 w 8636594"/>
              <a:gd name="connsiteY126" fmla="*/ 258685 h 6543344"/>
              <a:gd name="connsiteX127" fmla="*/ 8379669 w 8636594"/>
              <a:gd name="connsiteY127" fmla="*/ 225013 h 6543344"/>
              <a:gd name="connsiteX128" fmla="*/ 8415394 w 8636594"/>
              <a:gd name="connsiteY128" fmla="*/ 191709 h 6543344"/>
              <a:gd name="connsiteX129" fmla="*/ 8451434 w 8636594"/>
              <a:gd name="connsiteY129" fmla="*/ 158780 h 6543344"/>
              <a:gd name="connsiteX130" fmla="*/ 8487798 w 8636594"/>
              <a:gd name="connsiteY130" fmla="*/ 126233 h 6543344"/>
              <a:gd name="connsiteX131" fmla="*/ 8524489 w 8636594"/>
              <a:gd name="connsiteY131" fmla="*/ 94075 h 6543344"/>
              <a:gd name="connsiteX132" fmla="*/ 8561515 w 8636594"/>
              <a:gd name="connsiteY132" fmla="*/ 62312 h 6543344"/>
              <a:gd name="connsiteX133" fmla="*/ 8598881 w 8636594"/>
              <a:gd name="connsiteY133" fmla="*/ 30951 h 6543344"/>
              <a:gd name="connsiteX134" fmla="*/ 8636594 w 8636594"/>
              <a:gd name="connsiteY134" fmla="*/ 0 h 6543344"/>
              <a:gd name="connsiteX0" fmla="*/ 8636594 w 8636594"/>
              <a:gd name="connsiteY0" fmla="*/ 0 h 6530269"/>
              <a:gd name="connsiteX1" fmla="*/ 5293 w 8636594"/>
              <a:gd name="connsiteY1" fmla="*/ 0 h 6530269"/>
              <a:gd name="connsiteX2" fmla="*/ 0 w 8636594"/>
              <a:gd name="connsiteY2" fmla="*/ 5587843 h 6530269"/>
              <a:gd name="connsiteX3" fmla="*/ 1594033 w 8636594"/>
              <a:gd name="connsiteY3" fmla="*/ 5600057 h 6530269"/>
              <a:gd name="connsiteX4" fmla="*/ 1686068 w 8636594"/>
              <a:gd name="connsiteY4" fmla="*/ 5599745 h 6530269"/>
              <a:gd name="connsiteX5" fmla="*/ 2527618 w 8636594"/>
              <a:gd name="connsiteY5" fmla="*/ 6530269 h 6530269"/>
              <a:gd name="connsiteX6" fmla="*/ 2582304 w 8636594"/>
              <a:gd name="connsiteY6" fmla="*/ 6516778 h 6530269"/>
              <a:gd name="connsiteX7" fmla="*/ 2636364 w 8636594"/>
              <a:gd name="connsiteY7" fmla="*/ 6502876 h 6530269"/>
              <a:gd name="connsiteX8" fmla="*/ 2689804 w 8636594"/>
              <a:gd name="connsiteY8" fmla="*/ 6488565 h 6530269"/>
              <a:gd name="connsiteX9" fmla="*/ 2742629 w 8636594"/>
              <a:gd name="connsiteY9" fmla="*/ 6473849 h 6530269"/>
              <a:gd name="connsiteX10" fmla="*/ 2794848 w 8636594"/>
              <a:gd name="connsiteY10" fmla="*/ 6458731 h 6530269"/>
              <a:gd name="connsiteX11" fmla="*/ 2846466 w 8636594"/>
              <a:gd name="connsiteY11" fmla="*/ 6443216 h 6530269"/>
              <a:gd name="connsiteX12" fmla="*/ 2897488 w 8636594"/>
              <a:gd name="connsiteY12" fmla="*/ 6427305 h 6530269"/>
              <a:gd name="connsiteX13" fmla="*/ 2947923 w 8636594"/>
              <a:gd name="connsiteY13" fmla="*/ 6411004 h 6530269"/>
              <a:gd name="connsiteX14" fmla="*/ 2997775 w 8636594"/>
              <a:gd name="connsiteY14" fmla="*/ 6394316 h 6530269"/>
              <a:gd name="connsiteX15" fmla="*/ 3047052 w 8636594"/>
              <a:gd name="connsiteY15" fmla="*/ 6377243 h 6530269"/>
              <a:gd name="connsiteX16" fmla="*/ 3095759 w 8636594"/>
              <a:gd name="connsiteY16" fmla="*/ 6359791 h 6530269"/>
              <a:gd name="connsiteX17" fmla="*/ 3143903 w 8636594"/>
              <a:gd name="connsiteY17" fmla="*/ 6341961 h 6530269"/>
              <a:gd name="connsiteX18" fmla="*/ 3191491 w 8636594"/>
              <a:gd name="connsiteY18" fmla="*/ 6323757 h 6530269"/>
              <a:gd name="connsiteX19" fmla="*/ 3238528 w 8636594"/>
              <a:gd name="connsiteY19" fmla="*/ 6305184 h 6530269"/>
              <a:gd name="connsiteX20" fmla="*/ 3285021 w 8636594"/>
              <a:gd name="connsiteY20" fmla="*/ 6286245 h 6530269"/>
              <a:gd name="connsiteX21" fmla="*/ 3330977 w 8636594"/>
              <a:gd name="connsiteY21" fmla="*/ 6266942 h 6530269"/>
              <a:gd name="connsiteX22" fmla="*/ 3376401 w 8636594"/>
              <a:gd name="connsiteY22" fmla="*/ 6247281 h 6530269"/>
              <a:gd name="connsiteX23" fmla="*/ 3421300 w 8636594"/>
              <a:gd name="connsiteY23" fmla="*/ 6227263 h 6530269"/>
              <a:gd name="connsiteX24" fmla="*/ 3465680 w 8636594"/>
              <a:gd name="connsiteY24" fmla="*/ 6206893 h 6530269"/>
              <a:gd name="connsiteX25" fmla="*/ 3509548 w 8636594"/>
              <a:gd name="connsiteY25" fmla="*/ 6186174 h 6530269"/>
              <a:gd name="connsiteX26" fmla="*/ 3552910 w 8636594"/>
              <a:gd name="connsiteY26" fmla="*/ 6165110 h 6530269"/>
              <a:gd name="connsiteX27" fmla="*/ 3595773 w 8636594"/>
              <a:gd name="connsiteY27" fmla="*/ 6143704 h 6530269"/>
              <a:gd name="connsiteX28" fmla="*/ 3638142 w 8636594"/>
              <a:gd name="connsiteY28" fmla="*/ 6121960 h 6530269"/>
              <a:gd name="connsiteX29" fmla="*/ 3680024 w 8636594"/>
              <a:gd name="connsiteY29" fmla="*/ 6099881 h 6530269"/>
              <a:gd name="connsiteX30" fmla="*/ 3721426 w 8636594"/>
              <a:gd name="connsiteY30" fmla="*/ 6077471 h 6530269"/>
              <a:gd name="connsiteX31" fmla="*/ 3762353 w 8636594"/>
              <a:gd name="connsiteY31" fmla="*/ 6054733 h 6530269"/>
              <a:gd name="connsiteX32" fmla="*/ 3802812 w 8636594"/>
              <a:gd name="connsiteY32" fmla="*/ 6031671 h 6530269"/>
              <a:gd name="connsiteX33" fmla="*/ 3842810 w 8636594"/>
              <a:gd name="connsiteY33" fmla="*/ 6008288 h 6530269"/>
              <a:gd name="connsiteX34" fmla="*/ 3882352 w 8636594"/>
              <a:gd name="connsiteY34" fmla="*/ 5984588 h 6530269"/>
              <a:gd name="connsiteX35" fmla="*/ 3921445 w 8636594"/>
              <a:gd name="connsiteY35" fmla="*/ 5960574 h 6530269"/>
              <a:gd name="connsiteX36" fmla="*/ 3960096 w 8636594"/>
              <a:gd name="connsiteY36" fmla="*/ 5936250 h 6530269"/>
              <a:gd name="connsiteX37" fmla="*/ 3998311 w 8636594"/>
              <a:gd name="connsiteY37" fmla="*/ 5911619 h 6530269"/>
              <a:gd name="connsiteX38" fmla="*/ 4036095 w 8636594"/>
              <a:gd name="connsiteY38" fmla="*/ 5886685 h 6530269"/>
              <a:gd name="connsiteX39" fmla="*/ 4073456 w 8636594"/>
              <a:gd name="connsiteY39" fmla="*/ 5861452 h 6530269"/>
              <a:gd name="connsiteX40" fmla="*/ 4110400 w 8636594"/>
              <a:gd name="connsiteY40" fmla="*/ 5835922 h 6530269"/>
              <a:gd name="connsiteX41" fmla="*/ 4146933 w 8636594"/>
              <a:gd name="connsiteY41" fmla="*/ 5810100 h 6530269"/>
              <a:gd name="connsiteX42" fmla="*/ 4183061 w 8636594"/>
              <a:gd name="connsiteY42" fmla="*/ 5783988 h 6530269"/>
              <a:gd name="connsiteX43" fmla="*/ 4218791 w 8636594"/>
              <a:gd name="connsiteY43" fmla="*/ 5757591 h 6530269"/>
              <a:gd name="connsiteX44" fmla="*/ 4254129 w 8636594"/>
              <a:gd name="connsiteY44" fmla="*/ 5730912 h 6530269"/>
              <a:gd name="connsiteX45" fmla="*/ 4289081 w 8636594"/>
              <a:gd name="connsiteY45" fmla="*/ 5703955 h 6530269"/>
              <a:gd name="connsiteX46" fmla="*/ 4323654 w 8636594"/>
              <a:gd name="connsiteY46" fmla="*/ 5676722 h 6530269"/>
              <a:gd name="connsiteX47" fmla="*/ 4357854 w 8636594"/>
              <a:gd name="connsiteY47" fmla="*/ 5649218 h 6530269"/>
              <a:gd name="connsiteX48" fmla="*/ 4391688 w 8636594"/>
              <a:gd name="connsiteY48" fmla="*/ 5621446 h 6530269"/>
              <a:gd name="connsiteX49" fmla="*/ 4425162 w 8636594"/>
              <a:gd name="connsiteY49" fmla="*/ 5593409 h 6530269"/>
              <a:gd name="connsiteX50" fmla="*/ 4458281 w 8636594"/>
              <a:gd name="connsiteY50" fmla="*/ 5565111 h 6530269"/>
              <a:gd name="connsiteX51" fmla="*/ 4491053 w 8636594"/>
              <a:gd name="connsiteY51" fmla="*/ 5536556 h 6530269"/>
              <a:gd name="connsiteX52" fmla="*/ 4523484 w 8636594"/>
              <a:gd name="connsiteY52" fmla="*/ 5507747 h 6530269"/>
              <a:gd name="connsiteX53" fmla="*/ 4555580 w 8636594"/>
              <a:gd name="connsiteY53" fmla="*/ 5478687 h 6530269"/>
              <a:gd name="connsiteX54" fmla="*/ 4587347 w 8636594"/>
              <a:gd name="connsiteY54" fmla="*/ 5449380 h 6530269"/>
              <a:gd name="connsiteX55" fmla="*/ 4618793 w 8636594"/>
              <a:gd name="connsiteY55" fmla="*/ 5419830 h 6530269"/>
              <a:gd name="connsiteX56" fmla="*/ 4649922 w 8636594"/>
              <a:gd name="connsiteY56" fmla="*/ 5390040 h 6530269"/>
              <a:gd name="connsiteX57" fmla="*/ 4680742 w 8636594"/>
              <a:gd name="connsiteY57" fmla="*/ 5360014 h 6530269"/>
              <a:gd name="connsiteX58" fmla="*/ 4711259 w 8636594"/>
              <a:gd name="connsiteY58" fmla="*/ 5329755 h 6530269"/>
              <a:gd name="connsiteX59" fmla="*/ 4741478 w 8636594"/>
              <a:gd name="connsiteY59" fmla="*/ 5299266 h 6530269"/>
              <a:gd name="connsiteX60" fmla="*/ 4771408 w 8636594"/>
              <a:gd name="connsiteY60" fmla="*/ 5268551 h 6530269"/>
              <a:gd name="connsiteX61" fmla="*/ 4801053 w 8636594"/>
              <a:gd name="connsiteY61" fmla="*/ 5237614 h 6530269"/>
              <a:gd name="connsiteX62" fmla="*/ 4830420 w 8636594"/>
              <a:gd name="connsiteY62" fmla="*/ 5206458 h 6530269"/>
              <a:gd name="connsiteX63" fmla="*/ 4859516 w 8636594"/>
              <a:gd name="connsiteY63" fmla="*/ 5175087 h 6530269"/>
              <a:gd name="connsiteX64" fmla="*/ 4888347 w 8636594"/>
              <a:gd name="connsiteY64" fmla="*/ 5143504 h 6530269"/>
              <a:gd name="connsiteX65" fmla="*/ 4916919 w 8636594"/>
              <a:gd name="connsiteY65" fmla="*/ 5111713 h 6530269"/>
              <a:gd name="connsiteX66" fmla="*/ 4945238 w 8636594"/>
              <a:gd name="connsiteY66" fmla="*/ 5079717 h 6530269"/>
              <a:gd name="connsiteX67" fmla="*/ 4973311 w 8636594"/>
              <a:gd name="connsiteY67" fmla="*/ 5047519 h 6530269"/>
              <a:gd name="connsiteX68" fmla="*/ 5001145 w 8636594"/>
              <a:gd name="connsiteY68" fmla="*/ 5015124 h 6530269"/>
              <a:gd name="connsiteX69" fmla="*/ 5028745 w 8636594"/>
              <a:gd name="connsiteY69" fmla="*/ 4982535 h 6530269"/>
              <a:gd name="connsiteX70" fmla="*/ 5056117 w 8636594"/>
              <a:gd name="connsiteY70" fmla="*/ 4949755 h 6530269"/>
              <a:gd name="connsiteX71" fmla="*/ 5083269 w 8636594"/>
              <a:gd name="connsiteY71" fmla="*/ 4916787 h 6530269"/>
              <a:gd name="connsiteX72" fmla="*/ 5110207 w 8636594"/>
              <a:gd name="connsiteY72" fmla="*/ 4883636 h 6530269"/>
              <a:gd name="connsiteX73" fmla="*/ 5136937 w 8636594"/>
              <a:gd name="connsiteY73" fmla="*/ 4850305 h 6530269"/>
              <a:gd name="connsiteX74" fmla="*/ 5163464 w 8636594"/>
              <a:gd name="connsiteY74" fmla="*/ 4816797 h 6530269"/>
              <a:gd name="connsiteX75" fmla="*/ 5215940 w 8636594"/>
              <a:gd name="connsiteY75" fmla="*/ 4749265 h 6530269"/>
              <a:gd name="connsiteX76" fmla="*/ 5267684 w 8636594"/>
              <a:gd name="connsiteY76" fmla="*/ 4681068 h 6530269"/>
              <a:gd name="connsiteX77" fmla="*/ 5318748 w 8636594"/>
              <a:gd name="connsiteY77" fmla="*/ 4612234 h 6530269"/>
              <a:gd name="connsiteX78" fmla="*/ 5369182 w 8636594"/>
              <a:gd name="connsiteY78" fmla="*/ 4542793 h 6530269"/>
              <a:gd name="connsiteX79" fmla="*/ 5419038 w 8636594"/>
              <a:gd name="connsiteY79" fmla="*/ 4472771 h 6530269"/>
              <a:gd name="connsiteX80" fmla="*/ 5468365 w 8636594"/>
              <a:gd name="connsiteY80" fmla="*/ 4402196 h 6530269"/>
              <a:gd name="connsiteX81" fmla="*/ 5517215 w 8636594"/>
              <a:gd name="connsiteY81" fmla="*/ 4331098 h 6530269"/>
              <a:gd name="connsiteX82" fmla="*/ 5565637 w 8636594"/>
              <a:gd name="connsiteY82" fmla="*/ 4259503 h 6530269"/>
              <a:gd name="connsiteX83" fmla="*/ 5613684 w 8636594"/>
              <a:gd name="connsiteY83" fmla="*/ 4187441 h 6530269"/>
              <a:gd name="connsiteX84" fmla="*/ 5685160 w 8636594"/>
              <a:gd name="connsiteY84" fmla="*/ 4078531 h 6530269"/>
              <a:gd name="connsiteX85" fmla="*/ 5756074 w 8636594"/>
              <a:gd name="connsiteY85" fmla="*/ 3968727 h 6530269"/>
              <a:gd name="connsiteX86" fmla="*/ 5873483 w 8636594"/>
              <a:gd name="connsiteY86" fmla="*/ 3783989 h 6530269"/>
              <a:gd name="connsiteX87" fmla="*/ 6203209 w 8636594"/>
              <a:gd name="connsiteY87" fmla="*/ 3258640 h 6530269"/>
              <a:gd name="connsiteX88" fmla="*/ 6299430 w 8636594"/>
              <a:gd name="connsiteY88" fmla="*/ 3107321 h 6530269"/>
              <a:gd name="connsiteX89" fmla="*/ 6372650 w 8636594"/>
              <a:gd name="connsiteY89" fmla="*/ 2993735 h 6530269"/>
              <a:gd name="connsiteX90" fmla="*/ 6453197 w 8636594"/>
              <a:gd name="connsiteY90" fmla="*/ 2869788 h 6530269"/>
              <a:gd name="connsiteX91" fmla="*/ 6564167 w 8636594"/>
              <a:gd name="connsiteY91" fmla="*/ 2696807 h 6530269"/>
              <a:gd name="connsiteX92" fmla="*/ 6976233 w 8636594"/>
              <a:gd name="connsiteY92" fmla="*/ 2045274 h 6530269"/>
              <a:gd name="connsiteX93" fmla="*/ 7086755 w 8636594"/>
              <a:gd name="connsiteY93" fmla="*/ 1872743 h 6530269"/>
              <a:gd name="connsiteX94" fmla="*/ 7170279 w 8636594"/>
              <a:gd name="connsiteY94" fmla="*/ 1744202 h 6530269"/>
              <a:gd name="connsiteX95" fmla="*/ 7226351 w 8636594"/>
              <a:gd name="connsiteY95" fmla="*/ 1659017 h 6530269"/>
              <a:gd name="connsiteX96" fmla="*/ 7282789 w 8636594"/>
              <a:gd name="connsiteY96" fmla="*/ 1574303 h 6530269"/>
              <a:gd name="connsiteX97" fmla="*/ 7339643 w 8636594"/>
              <a:gd name="connsiteY97" fmla="*/ 1490113 h 6530269"/>
              <a:gd name="connsiteX98" fmla="*/ 7396957 w 8636594"/>
              <a:gd name="connsiteY98" fmla="*/ 1406503 h 6530269"/>
              <a:gd name="connsiteX99" fmla="*/ 7454781 w 8636594"/>
              <a:gd name="connsiteY99" fmla="*/ 1323526 h 6530269"/>
              <a:gd name="connsiteX100" fmla="*/ 7513161 w 8636594"/>
              <a:gd name="connsiteY100" fmla="*/ 1241237 h 6530269"/>
              <a:gd name="connsiteX101" fmla="*/ 7572144 w 8636594"/>
              <a:gd name="connsiteY101" fmla="*/ 1159689 h 6530269"/>
              <a:gd name="connsiteX102" fmla="*/ 7601877 w 8636594"/>
              <a:gd name="connsiteY102" fmla="*/ 1119210 h 6530269"/>
              <a:gd name="connsiteX103" fmla="*/ 7631779 w 8636594"/>
              <a:gd name="connsiteY103" fmla="*/ 1078937 h 6530269"/>
              <a:gd name="connsiteX104" fmla="*/ 7661855 w 8636594"/>
              <a:gd name="connsiteY104" fmla="*/ 1038876 h 6530269"/>
              <a:gd name="connsiteX105" fmla="*/ 7692111 w 8636594"/>
              <a:gd name="connsiteY105" fmla="*/ 999035 h 6530269"/>
              <a:gd name="connsiteX106" fmla="*/ 7722554 w 8636594"/>
              <a:gd name="connsiteY106" fmla="*/ 959419 h 6530269"/>
              <a:gd name="connsiteX107" fmla="*/ 7753190 w 8636594"/>
              <a:gd name="connsiteY107" fmla="*/ 920037 h 6530269"/>
              <a:gd name="connsiteX108" fmla="*/ 7784023 w 8636594"/>
              <a:gd name="connsiteY108" fmla="*/ 880894 h 6530269"/>
              <a:gd name="connsiteX109" fmla="*/ 7815061 w 8636594"/>
              <a:gd name="connsiteY109" fmla="*/ 841997 h 6530269"/>
              <a:gd name="connsiteX110" fmla="*/ 7846308 w 8636594"/>
              <a:gd name="connsiteY110" fmla="*/ 803354 h 6530269"/>
              <a:gd name="connsiteX111" fmla="*/ 7877772 w 8636594"/>
              <a:gd name="connsiteY111" fmla="*/ 764970 h 6530269"/>
              <a:gd name="connsiteX112" fmla="*/ 7909458 w 8636594"/>
              <a:gd name="connsiteY112" fmla="*/ 726853 h 6530269"/>
              <a:gd name="connsiteX113" fmla="*/ 7941371 w 8636594"/>
              <a:gd name="connsiteY113" fmla="*/ 689010 h 6530269"/>
              <a:gd name="connsiteX114" fmla="*/ 7973518 w 8636594"/>
              <a:gd name="connsiteY114" fmla="*/ 651447 h 6530269"/>
              <a:gd name="connsiteX115" fmla="*/ 8005905 w 8636594"/>
              <a:gd name="connsiteY115" fmla="*/ 614171 h 6530269"/>
              <a:gd name="connsiteX116" fmla="*/ 8038538 w 8636594"/>
              <a:gd name="connsiteY116" fmla="*/ 577189 h 6530269"/>
              <a:gd name="connsiteX117" fmla="*/ 8071421 w 8636594"/>
              <a:gd name="connsiteY117" fmla="*/ 540507 h 6530269"/>
              <a:gd name="connsiteX118" fmla="*/ 8104563 w 8636594"/>
              <a:gd name="connsiteY118" fmla="*/ 504132 h 6530269"/>
              <a:gd name="connsiteX119" fmla="*/ 8137967 w 8636594"/>
              <a:gd name="connsiteY119" fmla="*/ 468072 h 6530269"/>
              <a:gd name="connsiteX120" fmla="*/ 8171641 w 8636594"/>
              <a:gd name="connsiteY120" fmla="*/ 432332 h 6530269"/>
              <a:gd name="connsiteX121" fmla="*/ 8205590 w 8636594"/>
              <a:gd name="connsiteY121" fmla="*/ 396920 h 6530269"/>
              <a:gd name="connsiteX122" fmla="*/ 8239820 w 8636594"/>
              <a:gd name="connsiteY122" fmla="*/ 361843 h 6530269"/>
              <a:gd name="connsiteX123" fmla="*/ 8274337 w 8636594"/>
              <a:gd name="connsiteY123" fmla="*/ 327107 h 6530269"/>
              <a:gd name="connsiteX124" fmla="*/ 8309147 w 8636594"/>
              <a:gd name="connsiteY124" fmla="*/ 292718 h 6530269"/>
              <a:gd name="connsiteX125" fmla="*/ 8344256 w 8636594"/>
              <a:gd name="connsiteY125" fmla="*/ 258685 h 6530269"/>
              <a:gd name="connsiteX126" fmla="*/ 8379669 w 8636594"/>
              <a:gd name="connsiteY126" fmla="*/ 225013 h 6530269"/>
              <a:gd name="connsiteX127" fmla="*/ 8415394 w 8636594"/>
              <a:gd name="connsiteY127" fmla="*/ 191709 h 6530269"/>
              <a:gd name="connsiteX128" fmla="*/ 8451434 w 8636594"/>
              <a:gd name="connsiteY128" fmla="*/ 158780 h 6530269"/>
              <a:gd name="connsiteX129" fmla="*/ 8487798 w 8636594"/>
              <a:gd name="connsiteY129" fmla="*/ 126233 h 6530269"/>
              <a:gd name="connsiteX130" fmla="*/ 8524489 w 8636594"/>
              <a:gd name="connsiteY130" fmla="*/ 94075 h 6530269"/>
              <a:gd name="connsiteX131" fmla="*/ 8561515 w 8636594"/>
              <a:gd name="connsiteY131" fmla="*/ 62312 h 6530269"/>
              <a:gd name="connsiteX132" fmla="*/ 8598881 w 8636594"/>
              <a:gd name="connsiteY132" fmla="*/ 30951 h 6530269"/>
              <a:gd name="connsiteX133" fmla="*/ 8636594 w 8636594"/>
              <a:gd name="connsiteY133" fmla="*/ 0 h 6530269"/>
              <a:gd name="connsiteX0" fmla="*/ 8636594 w 8636594"/>
              <a:gd name="connsiteY0" fmla="*/ 0 h 6516778"/>
              <a:gd name="connsiteX1" fmla="*/ 5293 w 8636594"/>
              <a:gd name="connsiteY1" fmla="*/ 0 h 6516778"/>
              <a:gd name="connsiteX2" fmla="*/ 0 w 8636594"/>
              <a:gd name="connsiteY2" fmla="*/ 5587843 h 6516778"/>
              <a:gd name="connsiteX3" fmla="*/ 1594033 w 8636594"/>
              <a:gd name="connsiteY3" fmla="*/ 5600057 h 6516778"/>
              <a:gd name="connsiteX4" fmla="*/ 1686068 w 8636594"/>
              <a:gd name="connsiteY4" fmla="*/ 5599745 h 6516778"/>
              <a:gd name="connsiteX5" fmla="*/ 2582304 w 8636594"/>
              <a:gd name="connsiteY5" fmla="*/ 6516778 h 6516778"/>
              <a:gd name="connsiteX6" fmla="*/ 2636364 w 8636594"/>
              <a:gd name="connsiteY6" fmla="*/ 6502876 h 6516778"/>
              <a:gd name="connsiteX7" fmla="*/ 2689804 w 8636594"/>
              <a:gd name="connsiteY7" fmla="*/ 6488565 h 6516778"/>
              <a:gd name="connsiteX8" fmla="*/ 2742629 w 8636594"/>
              <a:gd name="connsiteY8" fmla="*/ 6473849 h 6516778"/>
              <a:gd name="connsiteX9" fmla="*/ 2794848 w 8636594"/>
              <a:gd name="connsiteY9" fmla="*/ 6458731 h 6516778"/>
              <a:gd name="connsiteX10" fmla="*/ 2846466 w 8636594"/>
              <a:gd name="connsiteY10" fmla="*/ 6443216 h 6516778"/>
              <a:gd name="connsiteX11" fmla="*/ 2897488 w 8636594"/>
              <a:gd name="connsiteY11" fmla="*/ 6427305 h 6516778"/>
              <a:gd name="connsiteX12" fmla="*/ 2947923 w 8636594"/>
              <a:gd name="connsiteY12" fmla="*/ 6411004 h 6516778"/>
              <a:gd name="connsiteX13" fmla="*/ 2997775 w 8636594"/>
              <a:gd name="connsiteY13" fmla="*/ 6394316 h 6516778"/>
              <a:gd name="connsiteX14" fmla="*/ 3047052 w 8636594"/>
              <a:gd name="connsiteY14" fmla="*/ 6377243 h 6516778"/>
              <a:gd name="connsiteX15" fmla="*/ 3095759 w 8636594"/>
              <a:gd name="connsiteY15" fmla="*/ 6359791 h 6516778"/>
              <a:gd name="connsiteX16" fmla="*/ 3143903 w 8636594"/>
              <a:gd name="connsiteY16" fmla="*/ 6341961 h 6516778"/>
              <a:gd name="connsiteX17" fmla="*/ 3191491 w 8636594"/>
              <a:gd name="connsiteY17" fmla="*/ 6323757 h 6516778"/>
              <a:gd name="connsiteX18" fmla="*/ 3238528 w 8636594"/>
              <a:gd name="connsiteY18" fmla="*/ 6305184 h 6516778"/>
              <a:gd name="connsiteX19" fmla="*/ 3285021 w 8636594"/>
              <a:gd name="connsiteY19" fmla="*/ 6286245 h 6516778"/>
              <a:gd name="connsiteX20" fmla="*/ 3330977 w 8636594"/>
              <a:gd name="connsiteY20" fmla="*/ 6266942 h 6516778"/>
              <a:gd name="connsiteX21" fmla="*/ 3376401 w 8636594"/>
              <a:gd name="connsiteY21" fmla="*/ 6247281 h 6516778"/>
              <a:gd name="connsiteX22" fmla="*/ 3421300 w 8636594"/>
              <a:gd name="connsiteY22" fmla="*/ 6227263 h 6516778"/>
              <a:gd name="connsiteX23" fmla="*/ 3465680 w 8636594"/>
              <a:gd name="connsiteY23" fmla="*/ 6206893 h 6516778"/>
              <a:gd name="connsiteX24" fmla="*/ 3509548 w 8636594"/>
              <a:gd name="connsiteY24" fmla="*/ 6186174 h 6516778"/>
              <a:gd name="connsiteX25" fmla="*/ 3552910 w 8636594"/>
              <a:gd name="connsiteY25" fmla="*/ 6165110 h 6516778"/>
              <a:gd name="connsiteX26" fmla="*/ 3595773 w 8636594"/>
              <a:gd name="connsiteY26" fmla="*/ 6143704 h 6516778"/>
              <a:gd name="connsiteX27" fmla="*/ 3638142 w 8636594"/>
              <a:gd name="connsiteY27" fmla="*/ 6121960 h 6516778"/>
              <a:gd name="connsiteX28" fmla="*/ 3680024 w 8636594"/>
              <a:gd name="connsiteY28" fmla="*/ 6099881 h 6516778"/>
              <a:gd name="connsiteX29" fmla="*/ 3721426 w 8636594"/>
              <a:gd name="connsiteY29" fmla="*/ 6077471 h 6516778"/>
              <a:gd name="connsiteX30" fmla="*/ 3762353 w 8636594"/>
              <a:gd name="connsiteY30" fmla="*/ 6054733 h 6516778"/>
              <a:gd name="connsiteX31" fmla="*/ 3802812 w 8636594"/>
              <a:gd name="connsiteY31" fmla="*/ 6031671 h 6516778"/>
              <a:gd name="connsiteX32" fmla="*/ 3842810 w 8636594"/>
              <a:gd name="connsiteY32" fmla="*/ 6008288 h 6516778"/>
              <a:gd name="connsiteX33" fmla="*/ 3882352 w 8636594"/>
              <a:gd name="connsiteY33" fmla="*/ 5984588 h 6516778"/>
              <a:gd name="connsiteX34" fmla="*/ 3921445 w 8636594"/>
              <a:gd name="connsiteY34" fmla="*/ 5960574 h 6516778"/>
              <a:gd name="connsiteX35" fmla="*/ 3960096 w 8636594"/>
              <a:gd name="connsiteY35" fmla="*/ 5936250 h 6516778"/>
              <a:gd name="connsiteX36" fmla="*/ 3998311 w 8636594"/>
              <a:gd name="connsiteY36" fmla="*/ 5911619 h 6516778"/>
              <a:gd name="connsiteX37" fmla="*/ 4036095 w 8636594"/>
              <a:gd name="connsiteY37" fmla="*/ 5886685 h 6516778"/>
              <a:gd name="connsiteX38" fmla="*/ 4073456 w 8636594"/>
              <a:gd name="connsiteY38" fmla="*/ 5861452 h 6516778"/>
              <a:gd name="connsiteX39" fmla="*/ 4110400 w 8636594"/>
              <a:gd name="connsiteY39" fmla="*/ 5835922 h 6516778"/>
              <a:gd name="connsiteX40" fmla="*/ 4146933 w 8636594"/>
              <a:gd name="connsiteY40" fmla="*/ 5810100 h 6516778"/>
              <a:gd name="connsiteX41" fmla="*/ 4183061 w 8636594"/>
              <a:gd name="connsiteY41" fmla="*/ 5783988 h 6516778"/>
              <a:gd name="connsiteX42" fmla="*/ 4218791 w 8636594"/>
              <a:gd name="connsiteY42" fmla="*/ 5757591 h 6516778"/>
              <a:gd name="connsiteX43" fmla="*/ 4254129 w 8636594"/>
              <a:gd name="connsiteY43" fmla="*/ 5730912 h 6516778"/>
              <a:gd name="connsiteX44" fmla="*/ 4289081 w 8636594"/>
              <a:gd name="connsiteY44" fmla="*/ 5703955 h 6516778"/>
              <a:gd name="connsiteX45" fmla="*/ 4323654 w 8636594"/>
              <a:gd name="connsiteY45" fmla="*/ 5676722 h 6516778"/>
              <a:gd name="connsiteX46" fmla="*/ 4357854 w 8636594"/>
              <a:gd name="connsiteY46" fmla="*/ 5649218 h 6516778"/>
              <a:gd name="connsiteX47" fmla="*/ 4391688 w 8636594"/>
              <a:gd name="connsiteY47" fmla="*/ 5621446 h 6516778"/>
              <a:gd name="connsiteX48" fmla="*/ 4425162 w 8636594"/>
              <a:gd name="connsiteY48" fmla="*/ 5593409 h 6516778"/>
              <a:gd name="connsiteX49" fmla="*/ 4458281 w 8636594"/>
              <a:gd name="connsiteY49" fmla="*/ 5565111 h 6516778"/>
              <a:gd name="connsiteX50" fmla="*/ 4491053 w 8636594"/>
              <a:gd name="connsiteY50" fmla="*/ 5536556 h 6516778"/>
              <a:gd name="connsiteX51" fmla="*/ 4523484 w 8636594"/>
              <a:gd name="connsiteY51" fmla="*/ 5507747 h 6516778"/>
              <a:gd name="connsiteX52" fmla="*/ 4555580 w 8636594"/>
              <a:gd name="connsiteY52" fmla="*/ 5478687 h 6516778"/>
              <a:gd name="connsiteX53" fmla="*/ 4587347 w 8636594"/>
              <a:gd name="connsiteY53" fmla="*/ 5449380 h 6516778"/>
              <a:gd name="connsiteX54" fmla="*/ 4618793 w 8636594"/>
              <a:gd name="connsiteY54" fmla="*/ 5419830 h 6516778"/>
              <a:gd name="connsiteX55" fmla="*/ 4649922 w 8636594"/>
              <a:gd name="connsiteY55" fmla="*/ 5390040 h 6516778"/>
              <a:gd name="connsiteX56" fmla="*/ 4680742 w 8636594"/>
              <a:gd name="connsiteY56" fmla="*/ 5360014 h 6516778"/>
              <a:gd name="connsiteX57" fmla="*/ 4711259 w 8636594"/>
              <a:gd name="connsiteY57" fmla="*/ 5329755 h 6516778"/>
              <a:gd name="connsiteX58" fmla="*/ 4741478 w 8636594"/>
              <a:gd name="connsiteY58" fmla="*/ 5299266 h 6516778"/>
              <a:gd name="connsiteX59" fmla="*/ 4771408 w 8636594"/>
              <a:gd name="connsiteY59" fmla="*/ 5268551 h 6516778"/>
              <a:gd name="connsiteX60" fmla="*/ 4801053 w 8636594"/>
              <a:gd name="connsiteY60" fmla="*/ 5237614 h 6516778"/>
              <a:gd name="connsiteX61" fmla="*/ 4830420 w 8636594"/>
              <a:gd name="connsiteY61" fmla="*/ 5206458 h 6516778"/>
              <a:gd name="connsiteX62" fmla="*/ 4859516 w 8636594"/>
              <a:gd name="connsiteY62" fmla="*/ 5175087 h 6516778"/>
              <a:gd name="connsiteX63" fmla="*/ 4888347 w 8636594"/>
              <a:gd name="connsiteY63" fmla="*/ 5143504 h 6516778"/>
              <a:gd name="connsiteX64" fmla="*/ 4916919 w 8636594"/>
              <a:gd name="connsiteY64" fmla="*/ 5111713 h 6516778"/>
              <a:gd name="connsiteX65" fmla="*/ 4945238 w 8636594"/>
              <a:gd name="connsiteY65" fmla="*/ 5079717 h 6516778"/>
              <a:gd name="connsiteX66" fmla="*/ 4973311 w 8636594"/>
              <a:gd name="connsiteY66" fmla="*/ 5047519 h 6516778"/>
              <a:gd name="connsiteX67" fmla="*/ 5001145 w 8636594"/>
              <a:gd name="connsiteY67" fmla="*/ 5015124 h 6516778"/>
              <a:gd name="connsiteX68" fmla="*/ 5028745 w 8636594"/>
              <a:gd name="connsiteY68" fmla="*/ 4982535 h 6516778"/>
              <a:gd name="connsiteX69" fmla="*/ 5056117 w 8636594"/>
              <a:gd name="connsiteY69" fmla="*/ 4949755 h 6516778"/>
              <a:gd name="connsiteX70" fmla="*/ 5083269 w 8636594"/>
              <a:gd name="connsiteY70" fmla="*/ 4916787 h 6516778"/>
              <a:gd name="connsiteX71" fmla="*/ 5110207 w 8636594"/>
              <a:gd name="connsiteY71" fmla="*/ 4883636 h 6516778"/>
              <a:gd name="connsiteX72" fmla="*/ 5136937 w 8636594"/>
              <a:gd name="connsiteY72" fmla="*/ 4850305 h 6516778"/>
              <a:gd name="connsiteX73" fmla="*/ 5163464 w 8636594"/>
              <a:gd name="connsiteY73" fmla="*/ 4816797 h 6516778"/>
              <a:gd name="connsiteX74" fmla="*/ 5215940 w 8636594"/>
              <a:gd name="connsiteY74" fmla="*/ 4749265 h 6516778"/>
              <a:gd name="connsiteX75" fmla="*/ 5267684 w 8636594"/>
              <a:gd name="connsiteY75" fmla="*/ 4681068 h 6516778"/>
              <a:gd name="connsiteX76" fmla="*/ 5318748 w 8636594"/>
              <a:gd name="connsiteY76" fmla="*/ 4612234 h 6516778"/>
              <a:gd name="connsiteX77" fmla="*/ 5369182 w 8636594"/>
              <a:gd name="connsiteY77" fmla="*/ 4542793 h 6516778"/>
              <a:gd name="connsiteX78" fmla="*/ 5419038 w 8636594"/>
              <a:gd name="connsiteY78" fmla="*/ 4472771 h 6516778"/>
              <a:gd name="connsiteX79" fmla="*/ 5468365 w 8636594"/>
              <a:gd name="connsiteY79" fmla="*/ 4402196 h 6516778"/>
              <a:gd name="connsiteX80" fmla="*/ 5517215 w 8636594"/>
              <a:gd name="connsiteY80" fmla="*/ 4331098 h 6516778"/>
              <a:gd name="connsiteX81" fmla="*/ 5565637 w 8636594"/>
              <a:gd name="connsiteY81" fmla="*/ 4259503 h 6516778"/>
              <a:gd name="connsiteX82" fmla="*/ 5613684 w 8636594"/>
              <a:gd name="connsiteY82" fmla="*/ 4187441 h 6516778"/>
              <a:gd name="connsiteX83" fmla="*/ 5685160 w 8636594"/>
              <a:gd name="connsiteY83" fmla="*/ 4078531 h 6516778"/>
              <a:gd name="connsiteX84" fmla="*/ 5756074 w 8636594"/>
              <a:gd name="connsiteY84" fmla="*/ 3968727 h 6516778"/>
              <a:gd name="connsiteX85" fmla="*/ 5873483 w 8636594"/>
              <a:gd name="connsiteY85" fmla="*/ 3783989 h 6516778"/>
              <a:gd name="connsiteX86" fmla="*/ 6203209 w 8636594"/>
              <a:gd name="connsiteY86" fmla="*/ 3258640 h 6516778"/>
              <a:gd name="connsiteX87" fmla="*/ 6299430 w 8636594"/>
              <a:gd name="connsiteY87" fmla="*/ 3107321 h 6516778"/>
              <a:gd name="connsiteX88" fmla="*/ 6372650 w 8636594"/>
              <a:gd name="connsiteY88" fmla="*/ 2993735 h 6516778"/>
              <a:gd name="connsiteX89" fmla="*/ 6453197 w 8636594"/>
              <a:gd name="connsiteY89" fmla="*/ 2869788 h 6516778"/>
              <a:gd name="connsiteX90" fmla="*/ 6564167 w 8636594"/>
              <a:gd name="connsiteY90" fmla="*/ 2696807 h 6516778"/>
              <a:gd name="connsiteX91" fmla="*/ 6976233 w 8636594"/>
              <a:gd name="connsiteY91" fmla="*/ 2045274 h 6516778"/>
              <a:gd name="connsiteX92" fmla="*/ 7086755 w 8636594"/>
              <a:gd name="connsiteY92" fmla="*/ 1872743 h 6516778"/>
              <a:gd name="connsiteX93" fmla="*/ 7170279 w 8636594"/>
              <a:gd name="connsiteY93" fmla="*/ 1744202 h 6516778"/>
              <a:gd name="connsiteX94" fmla="*/ 7226351 w 8636594"/>
              <a:gd name="connsiteY94" fmla="*/ 1659017 h 6516778"/>
              <a:gd name="connsiteX95" fmla="*/ 7282789 w 8636594"/>
              <a:gd name="connsiteY95" fmla="*/ 1574303 h 6516778"/>
              <a:gd name="connsiteX96" fmla="*/ 7339643 w 8636594"/>
              <a:gd name="connsiteY96" fmla="*/ 1490113 h 6516778"/>
              <a:gd name="connsiteX97" fmla="*/ 7396957 w 8636594"/>
              <a:gd name="connsiteY97" fmla="*/ 1406503 h 6516778"/>
              <a:gd name="connsiteX98" fmla="*/ 7454781 w 8636594"/>
              <a:gd name="connsiteY98" fmla="*/ 1323526 h 6516778"/>
              <a:gd name="connsiteX99" fmla="*/ 7513161 w 8636594"/>
              <a:gd name="connsiteY99" fmla="*/ 1241237 h 6516778"/>
              <a:gd name="connsiteX100" fmla="*/ 7572144 w 8636594"/>
              <a:gd name="connsiteY100" fmla="*/ 1159689 h 6516778"/>
              <a:gd name="connsiteX101" fmla="*/ 7601877 w 8636594"/>
              <a:gd name="connsiteY101" fmla="*/ 1119210 h 6516778"/>
              <a:gd name="connsiteX102" fmla="*/ 7631779 w 8636594"/>
              <a:gd name="connsiteY102" fmla="*/ 1078937 h 6516778"/>
              <a:gd name="connsiteX103" fmla="*/ 7661855 w 8636594"/>
              <a:gd name="connsiteY103" fmla="*/ 1038876 h 6516778"/>
              <a:gd name="connsiteX104" fmla="*/ 7692111 w 8636594"/>
              <a:gd name="connsiteY104" fmla="*/ 999035 h 6516778"/>
              <a:gd name="connsiteX105" fmla="*/ 7722554 w 8636594"/>
              <a:gd name="connsiteY105" fmla="*/ 959419 h 6516778"/>
              <a:gd name="connsiteX106" fmla="*/ 7753190 w 8636594"/>
              <a:gd name="connsiteY106" fmla="*/ 920037 h 6516778"/>
              <a:gd name="connsiteX107" fmla="*/ 7784023 w 8636594"/>
              <a:gd name="connsiteY107" fmla="*/ 880894 h 6516778"/>
              <a:gd name="connsiteX108" fmla="*/ 7815061 w 8636594"/>
              <a:gd name="connsiteY108" fmla="*/ 841997 h 6516778"/>
              <a:gd name="connsiteX109" fmla="*/ 7846308 w 8636594"/>
              <a:gd name="connsiteY109" fmla="*/ 803354 h 6516778"/>
              <a:gd name="connsiteX110" fmla="*/ 7877772 w 8636594"/>
              <a:gd name="connsiteY110" fmla="*/ 764970 h 6516778"/>
              <a:gd name="connsiteX111" fmla="*/ 7909458 w 8636594"/>
              <a:gd name="connsiteY111" fmla="*/ 726853 h 6516778"/>
              <a:gd name="connsiteX112" fmla="*/ 7941371 w 8636594"/>
              <a:gd name="connsiteY112" fmla="*/ 689010 h 6516778"/>
              <a:gd name="connsiteX113" fmla="*/ 7973518 w 8636594"/>
              <a:gd name="connsiteY113" fmla="*/ 651447 h 6516778"/>
              <a:gd name="connsiteX114" fmla="*/ 8005905 w 8636594"/>
              <a:gd name="connsiteY114" fmla="*/ 614171 h 6516778"/>
              <a:gd name="connsiteX115" fmla="*/ 8038538 w 8636594"/>
              <a:gd name="connsiteY115" fmla="*/ 577189 h 6516778"/>
              <a:gd name="connsiteX116" fmla="*/ 8071421 w 8636594"/>
              <a:gd name="connsiteY116" fmla="*/ 540507 h 6516778"/>
              <a:gd name="connsiteX117" fmla="*/ 8104563 w 8636594"/>
              <a:gd name="connsiteY117" fmla="*/ 504132 h 6516778"/>
              <a:gd name="connsiteX118" fmla="*/ 8137967 w 8636594"/>
              <a:gd name="connsiteY118" fmla="*/ 468072 h 6516778"/>
              <a:gd name="connsiteX119" fmla="*/ 8171641 w 8636594"/>
              <a:gd name="connsiteY119" fmla="*/ 432332 h 6516778"/>
              <a:gd name="connsiteX120" fmla="*/ 8205590 w 8636594"/>
              <a:gd name="connsiteY120" fmla="*/ 396920 h 6516778"/>
              <a:gd name="connsiteX121" fmla="*/ 8239820 w 8636594"/>
              <a:gd name="connsiteY121" fmla="*/ 361843 h 6516778"/>
              <a:gd name="connsiteX122" fmla="*/ 8274337 w 8636594"/>
              <a:gd name="connsiteY122" fmla="*/ 327107 h 6516778"/>
              <a:gd name="connsiteX123" fmla="*/ 8309147 w 8636594"/>
              <a:gd name="connsiteY123" fmla="*/ 292718 h 6516778"/>
              <a:gd name="connsiteX124" fmla="*/ 8344256 w 8636594"/>
              <a:gd name="connsiteY124" fmla="*/ 258685 h 6516778"/>
              <a:gd name="connsiteX125" fmla="*/ 8379669 w 8636594"/>
              <a:gd name="connsiteY125" fmla="*/ 225013 h 6516778"/>
              <a:gd name="connsiteX126" fmla="*/ 8415394 w 8636594"/>
              <a:gd name="connsiteY126" fmla="*/ 191709 h 6516778"/>
              <a:gd name="connsiteX127" fmla="*/ 8451434 w 8636594"/>
              <a:gd name="connsiteY127" fmla="*/ 158780 h 6516778"/>
              <a:gd name="connsiteX128" fmla="*/ 8487798 w 8636594"/>
              <a:gd name="connsiteY128" fmla="*/ 126233 h 6516778"/>
              <a:gd name="connsiteX129" fmla="*/ 8524489 w 8636594"/>
              <a:gd name="connsiteY129" fmla="*/ 94075 h 6516778"/>
              <a:gd name="connsiteX130" fmla="*/ 8561515 w 8636594"/>
              <a:gd name="connsiteY130" fmla="*/ 62312 h 6516778"/>
              <a:gd name="connsiteX131" fmla="*/ 8598881 w 8636594"/>
              <a:gd name="connsiteY131" fmla="*/ 30951 h 6516778"/>
              <a:gd name="connsiteX132" fmla="*/ 8636594 w 8636594"/>
              <a:gd name="connsiteY132" fmla="*/ 0 h 6516778"/>
              <a:gd name="connsiteX0" fmla="*/ 8636594 w 8636594"/>
              <a:gd name="connsiteY0" fmla="*/ 0 h 6502876"/>
              <a:gd name="connsiteX1" fmla="*/ 5293 w 8636594"/>
              <a:gd name="connsiteY1" fmla="*/ 0 h 6502876"/>
              <a:gd name="connsiteX2" fmla="*/ 0 w 8636594"/>
              <a:gd name="connsiteY2" fmla="*/ 5587843 h 6502876"/>
              <a:gd name="connsiteX3" fmla="*/ 1594033 w 8636594"/>
              <a:gd name="connsiteY3" fmla="*/ 5600057 h 6502876"/>
              <a:gd name="connsiteX4" fmla="*/ 1686068 w 8636594"/>
              <a:gd name="connsiteY4" fmla="*/ 5599745 h 6502876"/>
              <a:gd name="connsiteX5" fmla="*/ 2636364 w 8636594"/>
              <a:gd name="connsiteY5" fmla="*/ 6502876 h 6502876"/>
              <a:gd name="connsiteX6" fmla="*/ 2689804 w 8636594"/>
              <a:gd name="connsiteY6" fmla="*/ 6488565 h 6502876"/>
              <a:gd name="connsiteX7" fmla="*/ 2742629 w 8636594"/>
              <a:gd name="connsiteY7" fmla="*/ 6473849 h 6502876"/>
              <a:gd name="connsiteX8" fmla="*/ 2794848 w 8636594"/>
              <a:gd name="connsiteY8" fmla="*/ 6458731 h 6502876"/>
              <a:gd name="connsiteX9" fmla="*/ 2846466 w 8636594"/>
              <a:gd name="connsiteY9" fmla="*/ 6443216 h 6502876"/>
              <a:gd name="connsiteX10" fmla="*/ 2897488 w 8636594"/>
              <a:gd name="connsiteY10" fmla="*/ 6427305 h 6502876"/>
              <a:gd name="connsiteX11" fmla="*/ 2947923 w 8636594"/>
              <a:gd name="connsiteY11" fmla="*/ 6411004 h 6502876"/>
              <a:gd name="connsiteX12" fmla="*/ 2997775 w 8636594"/>
              <a:gd name="connsiteY12" fmla="*/ 6394316 h 6502876"/>
              <a:gd name="connsiteX13" fmla="*/ 3047052 w 8636594"/>
              <a:gd name="connsiteY13" fmla="*/ 6377243 h 6502876"/>
              <a:gd name="connsiteX14" fmla="*/ 3095759 w 8636594"/>
              <a:gd name="connsiteY14" fmla="*/ 6359791 h 6502876"/>
              <a:gd name="connsiteX15" fmla="*/ 3143903 w 8636594"/>
              <a:gd name="connsiteY15" fmla="*/ 6341961 h 6502876"/>
              <a:gd name="connsiteX16" fmla="*/ 3191491 w 8636594"/>
              <a:gd name="connsiteY16" fmla="*/ 6323757 h 6502876"/>
              <a:gd name="connsiteX17" fmla="*/ 3238528 w 8636594"/>
              <a:gd name="connsiteY17" fmla="*/ 6305184 h 6502876"/>
              <a:gd name="connsiteX18" fmla="*/ 3285021 w 8636594"/>
              <a:gd name="connsiteY18" fmla="*/ 6286245 h 6502876"/>
              <a:gd name="connsiteX19" fmla="*/ 3330977 w 8636594"/>
              <a:gd name="connsiteY19" fmla="*/ 6266942 h 6502876"/>
              <a:gd name="connsiteX20" fmla="*/ 3376401 w 8636594"/>
              <a:gd name="connsiteY20" fmla="*/ 6247281 h 6502876"/>
              <a:gd name="connsiteX21" fmla="*/ 3421300 w 8636594"/>
              <a:gd name="connsiteY21" fmla="*/ 6227263 h 6502876"/>
              <a:gd name="connsiteX22" fmla="*/ 3465680 w 8636594"/>
              <a:gd name="connsiteY22" fmla="*/ 6206893 h 6502876"/>
              <a:gd name="connsiteX23" fmla="*/ 3509548 w 8636594"/>
              <a:gd name="connsiteY23" fmla="*/ 6186174 h 6502876"/>
              <a:gd name="connsiteX24" fmla="*/ 3552910 w 8636594"/>
              <a:gd name="connsiteY24" fmla="*/ 6165110 h 6502876"/>
              <a:gd name="connsiteX25" fmla="*/ 3595773 w 8636594"/>
              <a:gd name="connsiteY25" fmla="*/ 6143704 h 6502876"/>
              <a:gd name="connsiteX26" fmla="*/ 3638142 w 8636594"/>
              <a:gd name="connsiteY26" fmla="*/ 6121960 h 6502876"/>
              <a:gd name="connsiteX27" fmla="*/ 3680024 w 8636594"/>
              <a:gd name="connsiteY27" fmla="*/ 6099881 h 6502876"/>
              <a:gd name="connsiteX28" fmla="*/ 3721426 w 8636594"/>
              <a:gd name="connsiteY28" fmla="*/ 6077471 h 6502876"/>
              <a:gd name="connsiteX29" fmla="*/ 3762353 w 8636594"/>
              <a:gd name="connsiteY29" fmla="*/ 6054733 h 6502876"/>
              <a:gd name="connsiteX30" fmla="*/ 3802812 w 8636594"/>
              <a:gd name="connsiteY30" fmla="*/ 6031671 h 6502876"/>
              <a:gd name="connsiteX31" fmla="*/ 3842810 w 8636594"/>
              <a:gd name="connsiteY31" fmla="*/ 6008288 h 6502876"/>
              <a:gd name="connsiteX32" fmla="*/ 3882352 w 8636594"/>
              <a:gd name="connsiteY32" fmla="*/ 5984588 h 6502876"/>
              <a:gd name="connsiteX33" fmla="*/ 3921445 w 8636594"/>
              <a:gd name="connsiteY33" fmla="*/ 5960574 h 6502876"/>
              <a:gd name="connsiteX34" fmla="*/ 3960096 w 8636594"/>
              <a:gd name="connsiteY34" fmla="*/ 5936250 h 6502876"/>
              <a:gd name="connsiteX35" fmla="*/ 3998311 w 8636594"/>
              <a:gd name="connsiteY35" fmla="*/ 5911619 h 6502876"/>
              <a:gd name="connsiteX36" fmla="*/ 4036095 w 8636594"/>
              <a:gd name="connsiteY36" fmla="*/ 5886685 h 6502876"/>
              <a:gd name="connsiteX37" fmla="*/ 4073456 w 8636594"/>
              <a:gd name="connsiteY37" fmla="*/ 5861452 h 6502876"/>
              <a:gd name="connsiteX38" fmla="*/ 4110400 w 8636594"/>
              <a:gd name="connsiteY38" fmla="*/ 5835922 h 6502876"/>
              <a:gd name="connsiteX39" fmla="*/ 4146933 w 8636594"/>
              <a:gd name="connsiteY39" fmla="*/ 5810100 h 6502876"/>
              <a:gd name="connsiteX40" fmla="*/ 4183061 w 8636594"/>
              <a:gd name="connsiteY40" fmla="*/ 5783988 h 6502876"/>
              <a:gd name="connsiteX41" fmla="*/ 4218791 w 8636594"/>
              <a:gd name="connsiteY41" fmla="*/ 5757591 h 6502876"/>
              <a:gd name="connsiteX42" fmla="*/ 4254129 w 8636594"/>
              <a:gd name="connsiteY42" fmla="*/ 5730912 h 6502876"/>
              <a:gd name="connsiteX43" fmla="*/ 4289081 w 8636594"/>
              <a:gd name="connsiteY43" fmla="*/ 5703955 h 6502876"/>
              <a:gd name="connsiteX44" fmla="*/ 4323654 w 8636594"/>
              <a:gd name="connsiteY44" fmla="*/ 5676722 h 6502876"/>
              <a:gd name="connsiteX45" fmla="*/ 4357854 w 8636594"/>
              <a:gd name="connsiteY45" fmla="*/ 5649218 h 6502876"/>
              <a:gd name="connsiteX46" fmla="*/ 4391688 w 8636594"/>
              <a:gd name="connsiteY46" fmla="*/ 5621446 h 6502876"/>
              <a:gd name="connsiteX47" fmla="*/ 4425162 w 8636594"/>
              <a:gd name="connsiteY47" fmla="*/ 5593409 h 6502876"/>
              <a:gd name="connsiteX48" fmla="*/ 4458281 w 8636594"/>
              <a:gd name="connsiteY48" fmla="*/ 5565111 h 6502876"/>
              <a:gd name="connsiteX49" fmla="*/ 4491053 w 8636594"/>
              <a:gd name="connsiteY49" fmla="*/ 5536556 h 6502876"/>
              <a:gd name="connsiteX50" fmla="*/ 4523484 w 8636594"/>
              <a:gd name="connsiteY50" fmla="*/ 5507747 h 6502876"/>
              <a:gd name="connsiteX51" fmla="*/ 4555580 w 8636594"/>
              <a:gd name="connsiteY51" fmla="*/ 5478687 h 6502876"/>
              <a:gd name="connsiteX52" fmla="*/ 4587347 w 8636594"/>
              <a:gd name="connsiteY52" fmla="*/ 5449380 h 6502876"/>
              <a:gd name="connsiteX53" fmla="*/ 4618793 w 8636594"/>
              <a:gd name="connsiteY53" fmla="*/ 5419830 h 6502876"/>
              <a:gd name="connsiteX54" fmla="*/ 4649922 w 8636594"/>
              <a:gd name="connsiteY54" fmla="*/ 5390040 h 6502876"/>
              <a:gd name="connsiteX55" fmla="*/ 4680742 w 8636594"/>
              <a:gd name="connsiteY55" fmla="*/ 5360014 h 6502876"/>
              <a:gd name="connsiteX56" fmla="*/ 4711259 w 8636594"/>
              <a:gd name="connsiteY56" fmla="*/ 5329755 h 6502876"/>
              <a:gd name="connsiteX57" fmla="*/ 4741478 w 8636594"/>
              <a:gd name="connsiteY57" fmla="*/ 5299266 h 6502876"/>
              <a:gd name="connsiteX58" fmla="*/ 4771408 w 8636594"/>
              <a:gd name="connsiteY58" fmla="*/ 5268551 h 6502876"/>
              <a:gd name="connsiteX59" fmla="*/ 4801053 w 8636594"/>
              <a:gd name="connsiteY59" fmla="*/ 5237614 h 6502876"/>
              <a:gd name="connsiteX60" fmla="*/ 4830420 w 8636594"/>
              <a:gd name="connsiteY60" fmla="*/ 5206458 h 6502876"/>
              <a:gd name="connsiteX61" fmla="*/ 4859516 w 8636594"/>
              <a:gd name="connsiteY61" fmla="*/ 5175087 h 6502876"/>
              <a:gd name="connsiteX62" fmla="*/ 4888347 w 8636594"/>
              <a:gd name="connsiteY62" fmla="*/ 5143504 h 6502876"/>
              <a:gd name="connsiteX63" fmla="*/ 4916919 w 8636594"/>
              <a:gd name="connsiteY63" fmla="*/ 5111713 h 6502876"/>
              <a:gd name="connsiteX64" fmla="*/ 4945238 w 8636594"/>
              <a:gd name="connsiteY64" fmla="*/ 5079717 h 6502876"/>
              <a:gd name="connsiteX65" fmla="*/ 4973311 w 8636594"/>
              <a:gd name="connsiteY65" fmla="*/ 5047519 h 6502876"/>
              <a:gd name="connsiteX66" fmla="*/ 5001145 w 8636594"/>
              <a:gd name="connsiteY66" fmla="*/ 5015124 h 6502876"/>
              <a:gd name="connsiteX67" fmla="*/ 5028745 w 8636594"/>
              <a:gd name="connsiteY67" fmla="*/ 4982535 h 6502876"/>
              <a:gd name="connsiteX68" fmla="*/ 5056117 w 8636594"/>
              <a:gd name="connsiteY68" fmla="*/ 4949755 h 6502876"/>
              <a:gd name="connsiteX69" fmla="*/ 5083269 w 8636594"/>
              <a:gd name="connsiteY69" fmla="*/ 4916787 h 6502876"/>
              <a:gd name="connsiteX70" fmla="*/ 5110207 w 8636594"/>
              <a:gd name="connsiteY70" fmla="*/ 4883636 h 6502876"/>
              <a:gd name="connsiteX71" fmla="*/ 5136937 w 8636594"/>
              <a:gd name="connsiteY71" fmla="*/ 4850305 h 6502876"/>
              <a:gd name="connsiteX72" fmla="*/ 5163464 w 8636594"/>
              <a:gd name="connsiteY72" fmla="*/ 4816797 h 6502876"/>
              <a:gd name="connsiteX73" fmla="*/ 5215940 w 8636594"/>
              <a:gd name="connsiteY73" fmla="*/ 4749265 h 6502876"/>
              <a:gd name="connsiteX74" fmla="*/ 5267684 w 8636594"/>
              <a:gd name="connsiteY74" fmla="*/ 4681068 h 6502876"/>
              <a:gd name="connsiteX75" fmla="*/ 5318748 w 8636594"/>
              <a:gd name="connsiteY75" fmla="*/ 4612234 h 6502876"/>
              <a:gd name="connsiteX76" fmla="*/ 5369182 w 8636594"/>
              <a:gd name="connsiteY76" fmla="*/ 4542793 h 6502876"/>
              <a:gd name="connsiteX77" fmla="*/ 5419038 w 8636594"/>
              <a:gd name="connsiteY77" fmla="*/ 4472771 h 6502876"/>
              <a:gd name="connsiteX78" fmla="*/ 5468365 w 8636594"/>
              <a:gd name="connsiteY78" fmla="*/ 4402196 h 6502876"/>
              <a:gd name="connsiteX79" fmla="*/ 5517215 w 8636594"/>
              <a:gd name="connsiteY79" fmla="*/ 4331098 h 6502876"/>
              <a:gd name="connsiteX80" fmla="*/ 5565637 w 8636594"/>
              <a:gd name="connsiteY80" fmla="*/ 4259503 h 6502876"/>
              <a:gd name="connsiteX81" fmla="*/ 5613684 w 8636594"/>
              <a:gd name="connsiteY81" fmla="*/ 4187441 h 6502876"/>
              <a:gd name="connsiteX82" fmla="*/ 5685160 w 8636594"/>
              <a:gd name="connsiteY82" fmla="*/ 4078531 h 6502876"/>
              <a:gd name="connsiteX83" fmla="*/ 5756074 w 8636594"/>
              <a:gd name="connsiteY83" fmla="*/ 3968727 h 6502876"/>
              <a:gd name="connsiteX84" fmla="*/ 5873483 w 8636594"/>
              <a:gd name="connsiteY84" fmla="*/ 3783989 h 6502876"/>
              <a:gd name="connsiteX85" fmla="*/ 6203209 w 8636594"/>
              <a:gd name="connsiteY85" fmla="*/ 3258640 h 6502876"/>
              <a:gd name="connsiteX86" fmla="*/ 6299430 w 8636594"/>
              <a:gd name="connsiteY86" fmla="*/ 3107321 h 6502876"/>
              <a:gd name="connsiteX87" fmla="*/ 6372650 w 8636594"/>
              <a:gd name="connsiteY87" fmla="*/ 2993735 h 6502876"/>
              <a:gd name="connsiteX88" fmla="*/ 6453197 w 8636594"/>
              <a:gd name="connsiteY88" fmla="*/ 2869788 h 6502876"/>
              <a:gd name="connsiteX89" fmla="*/ 6564167 w 8636594"/>
              <a:gd name="connsiteY89" fmla="*/ 2696807 h 6502876"/>
              <a:gd name="connsiteX90" fmla="*/ 6976233 w 8636594"/>
              <a:gd name="connsiteY90" fmla="*/ 2045274 h 6502876"/>
              <a:gd name="connsiteX91" fmla="*/ 7086755 w 8636594"/>
              <a:gd name="connsiteY91" fmla="*/ 1872743 h 6502876"/>
              <a:gd name="connsiteX92" fmla="*/ 7170279 w 8636594"/>
              <a:gd name="connsiteY92" fmla="*/ 1744202 h 6502876"/>
              <a:gd name="connsiteX93" fmla="*/ 7226351 w 8636594"/>
              <a:gd name="connsiteY93" fmla="*/ 1659017 h 6502876"/>
              <a:gd name="connsiteX94" fmla="*/ 7282789 w 8636594"/>
              <a:gd name="connsiteY94" fmla="*/ 1574303 h 6502876"/>
              <a:gd name="connsiteX95" fmla="*/ 7339643 w 8636594"/>
              <a:gd name="connsiteY95" fmla="*/ 1490113 h 6502876"/>
              <a:gd name="connsiteX96" fmla="*/ 7396957 w 8636594"/>
              <a:gd name="connsiteY96" fmla="*/ 1406503 h 6502876"/>
              <a:gd name="connsiteX97" fmla="*/ 7454781 w 8636594"/>
              <a:gd name="connsiteY97" fmla="*/ 1323526 h 6502876"/>
              <a:gd name="connsiteX98" fmla="*/ 7513161 w 8636594"/>
              <a:gd name="connsiteY98" fmla="*/ 1241237 h 6502876"/>
              <a:gd name="connsiteX99" fmla="*/ 7572144 w 8636594"/>
              <a:gd name="connsiteY99" fmla="*/ 1159689 h 6502876"/>
              <a:gd name="connsiteX100" fmla="*/ 7601877 w 8636594"/>
              <a:gd name="connsiteY100" fmla="*/ 1119210 h 6502876"/>
              <a:gd name="connsiteX101" fmla="*/ 7631779 w 8636594"/>
              <a:gd name="connsiteY101" fmla="*/ 1078937 h 6502876"/>
              <a:gd name="connsiteX102" fmla="*/ 7661855 w 8636594"/>
              <a:gd name="connsiteY102" fmla="*/ 1038876 h 6502876"/>
              <a:gd name="connsiteX103" fmla="*/ 7692111 w 8636594"/>
              <a:gd name="connsiteY103" fmla="*/ 999035 h 6502876"/>
              <a:gd name="connsiteX104" fmla="*/ 7722554 w 8636594"/>
              <a:gd name="connsiteY104" fmla="*/ 959419 h 6502876"/>
              <a:gd name="connsiteX105" fmla="*/ 7753190 w 8636594"/>
              <a:gd name="connsiteY105" fmla="*/ 920037 h 6502876"/>
              <a:gd name="connsiteX106" fmla="*/ 7784023 w 8636594"/>
              <a:gd name="connsiteY106" fmla="*/ 880894 h 6502876"/>
              <a:gd name="connsiteX107" fmla="*/ 7815061 w 8636594"/>
              <a:gd name="connsiteY107" fmla="*/ 841997 h 6502876"/>
              <a:gd name="connsiteX108" fmla="*/ 7846308 w 8636594"/>
              <a:gd name="connsiteY108" fmla="*/ 803354 h 6502876"/>
              <a:gd name="connsiteX109" fmla="*/ 7877772 w 8636594"/>
              <a:gd name="connsiteY109" fmla="*/ 764970 h 6502876"/>
              <a:gd name="connsiteX110" fmla="*/ 7909458 w 8636594"/>
              <a:gd name="connsiteY110" fmla="*/ 726853 h 6502876"/>
              <a:gd name="connsiteX111" fmla="*/ 7941371 w 8636594"/>
              <a:gd name="connsiteY111" fmla="*/ 689010 h 6502876"/>
              <a:gd name="connsiteX112" fmla="*/ 7973518 w 8636594"/>
              <a:gd name="connsiteY112" fmla="*/ 651447 h 6502876"/>
              <a:gd name="connsiteX113" fmla="*/ 8005905 w 8636594"/>
              <a:gd name="connsiteY113" fmla="*/ 614171 h 6502876"/>
              <a:gd name="connsiteX114" fmla="*/ 8038538 w 8636594"/>
              <a:gd name="connsiteY114" fmla="*/ 577189 h 6502876"/>
              <a:gd name="connsiteX115" fmla="*/ 8071421 w 8636594"/>
              <a:gd name="connsiteY115" fmla="*/ 540507 h 6502876"/>
              <a:gd name="connsiteX116" fmla="*/ 8104563 w 8636594"/>
              <a:gd name="connsiteY116" fmla="*/ 504132 h 6502876"/>
              <a:gd name="connsiteX117" fmla="*/ 8137967 w 8636594"/>
              <a:gd name="connsiteY117" fmla="*/ 468072 h 6502876"/>
              <a:gd name="connsiteX118" fmla="*/ 8171641 w 8636594"/>
              <a:gd name="connsiteY118" fmla="*/ 432332 h 6502876"/>
              <a:gd name="connsiteX119" fmla="*/ 8205590 w 8636594"/>
              <a:gd name="connsiteY119" fmla="*/ 396920 h 6502876"/>
              <a:gd name="connsiteX120" fmla="*/ 8239820 w 8636594"/>
              <a:gd name="connsiteY120" fmla="*/ 361843 h 6502876"/>
              <a:gd name="connsiteX121" fmla="*/ 8274337 w 8636594"/>
              <a:gd name="connsiteY121" fmla="*/ 327107 h 6502876"/>
              <a:gd name="connsiteX122" fmla="*/ 8309147 w 8636594"/>
              <a:gd name="connsiteY122" fmla="*/ 292718 h 6502876"/>
              <a:gd name="connsiteX123" fmla="*/ 8344256 w 8636594"/>
              <a:gd name="connsiteY123" fmla="*/ 258685 h 6502876"/>
              <a:gd name="connsiteX124" fmla="*/ 8379669 w 8636594"/>
              <a:gd name="connsiteY124" fmla="*/ 225013 h 6502876"/>
              <a:gd name="connsiteX125" fmla="*/ 8415394 w 8636594"/>
              <a:gd name="connsiteY125" fmla="*/ 191709 h 6502876"/>
              <a:gd name="connsiteX126" fmla="*/ 8451434 w 8636594"/>
              <a:gd name="connsiteY126" fmla="*/ 158780 h 6502876"/>
              <a:gd name="connsiteX127" fmla="*/ 8487798 w 8636594"/>
              <a:gd name="connsiteY127" fmla="*/ 126233 h 6502876"/>
              <a:gd name="connsiteX128" fmla="*/ 8524489 w 8636594"/>
              <a:gd name="connsiteY128" fmla="*/ 94075 h 6502876"/>
              <a:gd name="connsiteX129" fmla="*/ 8561515 w 8636594"/>
              <a:gd name="connsiteY129" fmla="*/ 62312 h 6502876"/>
              <a:gd name="connsiteX130" fmla="*/ 8598881 w 8636594"/>
              <a:gd name="connsiteY130" fmla="*/ 30951 h 6502876"/>
              <a:gd name="connsiteX131" fmla="*/ 8636594 w 8636594"/>
              <a:gd name="connsiteY131" fmla="*/ 0 h 6502876"/>
              <a:gd name="connsiteX0" fmla="*/ 8636594 w 8636594"/>
              <a:gd name="connsiteY0" fmla="*/ 0 h 6488565"/>
              <a:gd name="connsiteX1" fmla="*/ 5293 w 8636594"/>
              <a:gd name="connsiteY1" fmla="*/ 0 h 6488565"/>
              <a:gd name="connsiteX2" fmla="*/ 0 w 8636594"/>
              <a:gd name="connsiteY2" fmla="*/ 5587843 h 6488565"/>
              <a:gd name="connsiteX3" fmla="*/ 1594033 w 8636594"/>
              <a:gd name="connsiteY3" fmla="*/ 5600057 h 6488565"/>
              <a:gd name="connsiteX4" fmla="*/ 1686068 w 8636594"/>
              <a:gd name="connsiteY4" fmla="*/ 5599745 h 6488565"/>
              <a:gd name="connsiteX5" fmla="*/ 2689804 w 8636594"/>
              <a:gd name="connsiteY5" fmla="*/ 6488565 h 6488565"/>
              <a:gd name="connsiteX6" fmla="*/ 2742629 w 8636594"/>
              <a:gd name="connsiteY6" fmla="*/ 6473849 h 6488565"/>
              <a:gd name="connsiteX7" fmla="*/ 2794848 w 8636594"/>
              <a:gd name="connsiteY7" fmla="*/ 6458731 h 6488565"/>
              <a:gd name="connsiteX8" fmla="*/ 2846466 w 8636594"/>
              <a:gd name="connsiteY8" fmla="*/ 6443216 h 6488565"/>
              <a:gd name="connsiteX9" fmla="*/ 2897488 w 8636594"/>
              <a:gd name="connsiteY9" fmla="*/ 6427305 h 6488565"/>
              <a:gd name="connsiteX10" fmla="*/ 2947923 w 8636594"/>
              <a:gd name="connsiteY10" fmla="*/ 6411004 h 6488565"/>
              <a:gd name="connsiteX11" fmla="*/ 2997775 w 8636594"/>
              <a:gd name="connsiteY11" fmla="*/ 6394316 h 6488565"/>
              <a:gd name="connsiteX12" fmla="*/ 3047052 w 8636594"/>
              <a:gd name="connsiteY12" fmla="*/ 6377243 h 6488565"/>
              <a:gd name="connsiteX13" fmla="*/ 3095759 w 8636594"/>
              <a:gd name="connsiteY13" fmla="*/ 6359791 h 6488565"/>
              <a:gd name="connsiteX14" fmla="*/ 3143903 w 8636594"/>
              <a:gd name="connsiteY14" fmla="*/ 6341961 h 6488565"/>
              <a:gd name="connsiteX15" fmla="*/ 3191491 w 8636594"/>
              <a:gd name="connsiteY15" fmla="*/ 6323757 h 6488565"/>
              <a:gd name="connsiteX16" fmla="*/ 3238528 w 8636594"/>
              <a:gd name="connsiteY16" fmla="*/ 6305184 h 6488565"/>
              <a:gd name="connsiteX17" fmla="*/ 3285021 w 8636594"/>
              <a:gd name="connsiteY17" fmla="*/ 6286245 h 6488565"/>
              <a:gd name="connsiteX18" fmla="*/ 3330977 w 8636594"/>
              <a:gd name="connsiteY18" fmla="*/ 6266942 h 6488565"/>
              <a:gd name="connsiteX19" fmla="*/ 3376401 w 8636594"/>
              <a:gd name="connsiteY19" fmla="*/ 6247281 h 6488565"/>
              <a:gd name="connsiteX20" fmla="*/ 3421300 w 8636594"/>
              <a:gd name="connsiteY20" fmla="*/ 6227263 h 6488565"/>
              <a:gd name="connsiteX21" fmla="*/ 3465680 w 8636594"/>
              <a:gd name="connsiteY21" fmla="*/ 6206893 h 6488565"/>
              <a:gd name="connsiteX22" fmla="*/ 3509548 w 8636594"/>
              <a:gd name="connsiteY22" fmla="*/ 6186174 h 6488565"/>
              <a:gd name="connsiteX23" fmla="*/ 3552910 w 8636594"/>
              <a:gd name="connsiteY23" fmla="*/ 6165110 h 6488565"/>
              <a:gd name="connsiteX24" fmla="*/ 3595773 w 8636594"/>
              <a:gd name="connsiteY24" fmla="*/ 6143704 h 6488565"/>
              <a:gd name="connsiteX25" fmla="*/ 3638142 w 8636594"/>
              <a:gd name="connsiteY25" fmla="*/ 6121960 h 6488565"/>
              <a:gd name="connsiteX26" fmla="*/ 3680024 w 8636594"/>
              <a:gd name="connsiteY26" fmla="*/ 6099881 h 6488565"/>
              <a:gd name="connsiteX27" fmla="*/ 3721426 w 8636594"/>
              <a:gd name="connsiteY27" fmla="*/ 6077471 h 6488565"/>
              <a:gd name="connsiteX28" fmla="*/ 3762353 w 8636594"/>
              <a:gd name="connsiteY28" fmla="*/ 6054733 h 6488565"/>
              <a:gd name="connsiteX29" fmla="*/ 3802812 w 8636594"/>
              <a:gd name="connsiteY29" fmla="*/ 6031671 h 6488565"/>
              <a:gd name="connsiteX30" fmla="*/ 3842810 w 8636594"/>
              <a:gd name="connsiteY30" fmla="*/ 6008288 h 6488565"/>
              <a:gd name="connsiteX31" fmla="*/ 3882352 w 8636594"/>
              <a:gd name="connsiteY31" fmla="*/ 5984588 h 6488565"/>
              <a:gd name="connsiteX32" fmla="*/ 3921445 w 8636594"/>
              <a:gd name="connsiteY32" fmla="*/ 5960574 h 6488565"/>
              <a:gd name="connsiteX33" fmla="*/ 3960096 w 8636594"/>
              <a:gd name="connsiteY33" fmla="*/ 5936250 h 6488565"/>
              <a:gd name="connsiteX34" fmla="*/ 3998311 w 8636594"/>
              <a:gd name="connsiteY34" fmla="*/ 5911619 h 6488565"/>
              <a:gd name="connsiteX35" fmla="*/ 4036095 w 8636594"/>
              <a:gd name="connsiteY35" fmla="*/ 5886685 h 6488565"/>
              <a:gd name="connsiteX36" fmla="*/ 4073456 w 8636594"/>
              <a:gd name="connsiteY36" fmla="*/ 5861452 h 6488565"/>
              <a:gd name="connsiteX37" fmla="*/ 4110400 w 8636594"/>
              <a:gd name="connsiteY37" fmla="*/ 5835922 h 6488565"/>
              <a:gd name="connsiteX38" fmla="*/ 4146933 w 8636594"/>
              <a:gd name="connsiteY38" fmla="*/ 5810100 h 6488565"/>
              <a:gd name="connsiteX39" fmla="*/ 4183061 w 8636594"/>
              <a:gd name="connsiteY39" fmla="*/ 5783988 h 6488565"/>
              <a:gd name="connsiteX40" fmla="*/ 4218791 w 8636594"/>
              <a:gd name="connsiteY40" fmla="*/ 5757591 h 6488565"/>
              <a:gd name="connsiteX41" fmla="*/ 4254129 w 8636594"/>
              <a:gd name="connsiteY41" fmla="*/ 5730912 h 6488565"/>
              <a:gd name="connsiteX42" fmla="*/ 4289081 w 8636594"/>
              <a:gd name="connsiteY42" fmla="*/ 5703955 h 6488565"/>
              <a:gd name="connsiteX43" fmla="*/ 4323654 w 8636594"/>
              <a:gd name="connsiteY43" fmla="*/ 5676722 h 6488565"/>
              <a:gd name="connsiteX44" fmla="*/ 4357854 w 8636594"/>
              <a:gd name="connsiteY44" fmla="*/ 5649218 h 6488565"/>
              <a:gd name="connsiteX45" fmla="*/ 4391688 w 8636594"/>
              <a:gd name="connsiteY45" fmla="*/ 5621446 h 6488565"/>
              <a:gd name="connsiteX46" fmla="*/ 4425162 w 8636594"/>
              <a:gd name="connsiteY46" fmla="*/ 5593409 h 6488565"/>
              <a:gd name="connsiteX47" fmla="*/ 4458281 w 8636594"/>
              <a:gd name="connsiteY47" fmla="*/ 5565111 h 6488565"/>
              <a:gd name="connsiteX48" fmla="*/ 4491053 w 8636594"/>
              <a:gd name="connsiteY48" fmla="*/ 5536556 h 6488565"/>
              <a:gd name="connsiteX49" fmla="*/ 4523484 w 8636594"/>
              <a:gd name="connsiteY49" fmla="*/ 5507747 h 6488565"/>
              <a:gd name="connsiteX50" fmla="*/ 4555580 w 8636594"/>
              <a:gd name="connsiteY50" fmla="*/ 5478687 h 6488565"/>
              <a:gd name="connsiteX51" fmla="*/ 4587347 w 8636594"/>
              <a:gd name="connsiteY51" fmla="*/ 5449380 h 6488565"/>
              <a:gd name="connsiteX52" fmla="*/ 4618793 w 8636594"/>
              <a:gd name="connsiteY52" fmla="*/ 5419830 h 6488565"/>
              <a:gd name="connsiteX53" fmla="*/ 4649922 w 8636594"/>
              <a:gd name="connsiteY53" fmla="*/ 5390040 h 6488565"/>
              <a:gd name="connsiteX54" fmla="*/ 4680742 w 8636594"/>
              <a:gd name="connsiteY54" fmla="*/ 5360014 h 6488565"/>
              <a:gd name="connsiteX55" fmla="*/ 4711259 w 8636594"/>
              <a:gd name="connsiteY55" fmla="*/ 5329755 h 6488565"/>
              <a:gd name="connsiteX56" fmla="*/ 4741478 w 8636594"/>
              <a:gd name="connsiteY56" fmla="*/ 5299266 h 6488565"/>
              <a:gd name="connsiteX57" fmla="*/ 4771408 w 8636594"/>
              <a:gd name="connsiteY57" fmla="*/ 5268551 h 6488565"/>
              <a:gd name="connsiteX58" fmla="*/ 4801053 w 8636594"/>
              <a:gd name="connsiteY58" fmla="*/ 5237614 h 6488565"/>
              <a:gd name="connsiteX59" fmla="*/ 4830420 w 8636594"/>
              <a:gd name="connsiteY59" fmla="*/ 5206458 h 6488565"/>
              <a:gd name="connsiteX60" fmla="*/ 4859516 w 8636594"/>
              <a:gd name="connsiteY60" fmla="*/ 5175087 h 6488565"/>
              <a:gd name="connsiteX61" fmla="*/ 4888347 w 8636594"/>
              <a:gd name="connsiteY61" fmla="*/ 5143504 h 6488565"/>
              <a:gd name="connsiteX62" fmla="*/ 4916919 w 8636594"/>
              <a:gd name="connsiteY62" fmla="*/ 5111713 h 6488565"/>
              <a:gd name="connsiteX63" fmla="*/ 4945238 w 8636594"/>
              <a:gd name="connsiteY63" fmla="*/ 5079717 h 6488565"/>
              <a:gd name="connsiteX64" fmla="*/ 4973311 w 8636594"/>
              <a:gd name="connsiteY64" fmla="*/ 5047519 h 6488565"/>
              <a:gd name="connsiteX65" fmla="*/ 5001145 w 8636594"/>
              <a:gd name="connsiteY65" fmla="*/ 5015124 h 6488565"/>
              <a:gd name="connsiteX66" fmla="*/ 5028745 w 8636594"/>
              <a:gd name="connsiteY66" fmla="*/ 4982535 h 6488565"/>
              <a:gd name="connsiteX67" fmla="*/ 5056117 w 8636594"/>
              <a:gd name="connsiteY67" fmla="*/ 4949755 h 6488565"/>
              <a:gd name="connsiteX68" fmla="*/ 5083269 w 8636594"/>
              <a:gd name="connsiteY68" fmla="*/ 4916787 h 6488565"/>
              <a:gd name="connsiteX69" fmla="*/ 5110207 w 8636594"/>
              <a:gd name="connsiteY69" fmla="*/ 4883636 h 6488565"/>
              <a:gd name="connsiteX70" fmla="*/ 5136937 w 8636594"/>
              <a:gd name="connsiteY70" fmla="*/ 4850305 h 6488565"/>
              <a:gd name="connsiteX71" fmla="*/ 5163464 w 8636594"/>
              <a:gd name="connsiteY71" fmla="*/ 4816797 h 6488565"/>
              <a:gd name="connsiteX72" fmla="*/ 5215940 w 8636594"/>
              <a:gd name="connsiteY72" fmla="*/ 4749265 h 6488565"/>
              <a:gd name="connsiteX73" fmla="*/ 5267684 w 8636594"/>
              <a:gd name="connsiteY73" fmla="*/ 4681068 h 6488565"/>
              <a:gd name="connsiteX74" fmla="*/ 5318748 w 8636594"/>
              <a:gd name="connsiteY74" fmla="*/ 4612234 h 6488565"/>
              <a:gd name="connsiteX75" fmla="*/ 5369182 w 8636594"/>
              <a:gd name="connsiteY75" fmla="*/ 4542793 h 6488565"/>
              <a:gd name="connsiteX76" fmla="*/ 5419038 w 8636594"/>
              <a:gd name="connsiteY76" fmla="*/ 4472771 h 6488565"/>
              <a:gd name="connsiteX77" fmla="*/ 5468365 w 8636594"/>
              <a:gd name="connsiteY77" fmla="*/ 4402196 h 6488565"/>
              <a:gd name="connsiteX78" fmla="*/ 5517215 w 8636594"/>
              <a:gd name="connsiteY78" fmla="*/ 4331098 h 6488565"/>
              <a:gd name="connsiteX79" fmla="*/ 5565637 w 8636594"/>
              <a:gd name="connsiteY79" fmla="*/ 4259503 h 6488565"/>
              <a:gd name="connsiteX80" fmla="*/ 5613684 w 8636594"/>
              <a:gd name="connsiteY80" fmla="*/ 4187441 h 6488565"/>
              <a:gd name="connsiteX81" fmla="*/ 5685160 w 8636594"/>
              <a:gd name="connsiteY81" fmla="*/ 4078531 h 6488565"/>
              <a:gd name="connsiteX82" fmla="*/ 5756074 w 8636594"/>
              <a:gd name="connsiteY82" fmla="*/ 3968727 h 6488565"/>
              <a:gd name="connsiteX83" fmla="*/ 5873483 w 8636594"/>
              <a:gd name="connsiteY83" fmla="*/ 3783989 h 6488565"/>
              <a:gd name="connsiteX84" fmla="*/ 6203209 w 8636594"/>
              <a:gd name="connsiteY84" fmla="*/ 3258640 h 6488565"/>
              <a:gd name="connsiteX85" fmla="*/ 6299430 w 8636594"/>
              <a:gd name="connsiteY85" fmla="*/ 3107321 h 6488565"/>
              <a:gd name="connsiteX86" fmla="*/ 6372650 w 8636594"/>
              <a:gd name="connsiteY86" fmla="*/ 2993735 h 6488565"/>
              <a:gd name="connsiteX87" fmla="*/ 6453197 w 8636594"/>
              <a:gd name="connsiteY87" fmla="*/ 2869788 h 6488565"/>
              <a:gd name="connsiteX88" fmla="*/ 6564167 w 8636594"/>
              <a:gd name="connsiteY88" fmla="*/ 2696807 h 6488565"/>
              <a:gd name="connsiteX89" fmla="*/ 6976233 w 8636594"/>
              <a:gd name="connsiteY89" fmla="*/ 2045274 h 6488565"/>
              <a:gd name="connsiteX90" fmla="*/ 7086755 w 8636594"/>
              <a:gd name="connsiteY90" fmla="*/ 1872743 h 6488565"/>
              <a:gd name="connsiteX91" fmla="*/ 7170279 w 8636594"/>
              <a:gd name="connsiteY91" fmla="*/ 1744202 h 6488565"/>
              <a:gd name="connsiteX92" fmla="*/ 7226351 w 8636594"/>
              <a:gd name="connsiteY92" fmla="*/ 1659017 h 6488565"/>
              <a:gd name="connsiteX93" fmla="*/ 7282789 w 8636594"/>
              <a:gd name="connsiteY93" fmla="*/ 1574303 h 6488565"/>
              <a:gd name="connsiteX94" fmla="*/ 7339643 w 8636594"/>
              <a:gd name="connsiteY94" fmla="*/ 1490113 h 6488565"/>
              <a:gd name="connsiteX95" fmla="*/ 7396957 w 8636594"/>
              <a:gd name="connsiteY95" fmla="*/ 1406503 h 6488565"/>
              <a:gd name="connsiteX96" fmla="*/ 7454781 w 8636594"/>
              <a:gd name="connsiteY96" fmla="*/ 1323526 h 6488565"/>
              <a:gd name="connsiteX97" fmla="*/ 7513161 w 8636594"/>
              <a:gd name="connsiteY97" fmla="*/ 1241237 h 6488565"/>
              <a:gd name="connsiteX98" fmla="*/ 7572144 w 8636594"/>
              <a:gd name="connsiteY98" fmla="*/ 1159689 h 6488565"/>
              <a:gd name="connsiteX99" fmla="*/ 7601877 w 8636594"/>
              <a:gd name="connsiteY99" fmla="*/ 1119210 h 6488565"/>
              <a:gd name="connsiteX100" fmla="*/ 7631779 w 8636594"/>
              <a:gd name="connsiteY100" fmla="*/ 1078937 h 6488565"/>
              <a:gd name="connsiteX101" fmla="*/ 7661855 w 8636594"/>
              <a:gd name="connsiteY101" fmla="*/ 1038876 h 6488565"/>
              <a:gd name="connsiteX102" fmla="*/ 7692111 w 8636594"/>
              <a:gd name="connsiteY102" fmla="*/ 999035 h 6488565"/>
              <a:gd name="connsiteX103" fmla="*/ 7722554 w 8636594"/>
              <a:gd name="connsiteY103" fmla="*/ 959419 h 6488565"/>
              <a:gd name="connsiteX104" fmla="*/ 7753190 w 8636594"/>
              <a:gd name="connsiteY104" fmla="*/ 920037 h 6488565"/>
              <a:gd name="connsiteX105" fmla="*/ 7784023 w 8636594"/>
              <a:gd name="connsiteY105" fmla="*/ 880894 h 6488565"/>
              <a:gd name="connsiteX106" fmla="*/ 7815061 w 8636594"/>
              <a:gd name="connsiteY106" fmla="*/ 841997 h 6488565"/>
              <a:gd name="connsiteX107" fmla="*/ 7846308 w 8636594"/>
              <a:gd name="connsiteY107" fmla="*/ 803354 h 6488565"/>
              <a:gd name="connsiteX108" fmla="*/ 7877772 w 8636594"/>
              <a:gd name="connsiteY108" fmla="*/ 764970 h 6488565"/>
              <a:gd name="connsiteX109" fmla="*/ 7909458 w 8636594"/>
              <a:gd name="connsiteY109" fmla="*/ 726853 h 6488565"/>
              <a:gd name="connsiteX110" fmla="*/ 7941371 w 8636594"/>
              <a:gd name="connsiteY110" fmla="*/ 689010 h 6488565"/>
              <a:gd name="connsiteX111" fmla="*/ 7973518 w 8636594"/>
              <a:gd name="connsiteY111" fmla="*/ 651447 h 6488565"/>
              <a:gd name="connsiteX112" fmla="*/ 8005905 w 8636594"/>
              <a:gd name="connsiteY112" fmla="*/ 614171 h 6488565"/>
              <a:gd name="connsiteX113" fmla="*/ 8038538 w 8636594"/>
              <a:gd name="connsiteY113" fmla="*/ 577189 h 6488565"/>
              <a:gd name="connsiteX114" fmla="*/ 8071421 w 8636594"/>
              <a:gd name="connsiteY114" fmla="*/ 540507 h 6488565"/>
              <a:gd name="connsiteX115" fmla="*/ 8104563 w 8636594"/>
              <a:gd name="connsiteY115" fmla="*/ 504132 h 6488565"/>
              <a:gd name="connsiteX116" fmla="*/ 8137967 w 8636594"/>
              <a:gd name="connsiteY116" fmla="*/ 468072 h 6488565"/>
              <a:gd name="connsiteX117" fmla="*/ 8171641 w 8636594"/>
              <a:gd name="connsiteY117" fmla="*/ 432332 h 6488565"/>
              <a:gd name="connsiteX118" fmla="*/ 8205590 w 8636594"/>
              <a:gd name="connsiteY118" fmla="*/ 396920 h 6488565"/>
              <a:gd name="connsiteX119" fmla="*/ 8239820 w 8636594"/>
              <a:gd name="connsiteY119" fmla="*/ 361843 h 6488565"/>
              <a:gd name="connsiteX120" fmla="*/ 8274337 w 8636594"/>
              <a:gd name="connsiteY120" fmla="*/ 327107 h 6488565"/>
              <a:gd name="connsiteX121" fmla="*/ 8309147 w 8636594"/>
              <a:gd name="connsiteY121" fmla="*/ 292718 h 6488565"/>
              <a:gd name="connsiteX122" fmla="*/ 8344256 w 8636594"/>
              <a:gd name="connsiteY122" fmla="*/ 258685 h 6488565"/>
              <a:gd name="connsiteX123" fmla="*/ 8379669 w 8636594"/>
              <a:gd name="connsiteY123" fmla="*/ 225013 h 6488565"/>
              <a:gd name="connsiteX124" fmla="*/ 8415394 w 8636594"/>
              <a:gd name="connsiteY124" fmla="*/ 191709 h 6488565"/>
              <a:gd name="connsiteX125" fmla="*/ 8451434 w 8636594"/>
              <a:gd name="connsiteY125" fmla="*/ 158780 h 6488565"/>
              <a:gd name="connsiteX126" fmla="*/ 8487798 w 8636594"/>
              <a:gd name="connsiteY126" fmla="*/ 126233 h 6488565"/>
              <a:gd name="connsiteX127" fmla="*/ 8524489 w 8636594"/>
              <a:gd name="connsiteY127" fmla="*/ 94075 h 6488565"/>
              <a:gd name="connsiteX128" fmla="*/ 8561515 w 8636594"/>
              <a:gd name="connsiteY128" fmla="*/ 62312 h 6488565"/>
              <a:gd name="connsiteX129" fmla="*/ 8598881 w 8636594"/>
              <a:gd name="connsiteY129" fmla="*/ 30951 h 6488565"/>
              <a:gd name="connsiteX130" fmla="*/ 8636594 w 8636594"/>
              <a:gd name="connsiteY130" fmla="*/ 0 h 6488565"/>
              <a:gd name="connsiteX0" fmla="*/ 8636594 w 8636594"/>
              <a:gd name="connsiteY0" fmla="*/ 0 h 6473849"/>
              <a:gd name="connsiteX1" fmla="*/ 5293 w 8636594"/>
              <a:gd name="connsiteY1" fmla="*/ 0 h 6473849"/>
              <a:gd name="connsiteX2" fmla="*/ 0 w 8636594"/>
              <a:gd name="connsiteY2" fmla="*/ 5587843 h 6473849"/>
              <a:gd name="connsiteX3" fmla="*/ 1594033 w 8636594"/>
              <a:gd name="connsiteY3" fmla="*/ 5600057 h 6473849"/>
              <a:gd name="connsiteX4" fmla="*/ 1686068 w 8636594"/>
              <a:gd name="connsiteY4" fmla="*/ 5599745 h 6473849"/>
              <a:gd name="connsiteX5" fmla="*/ 2742629 w 8636594"/>
              <a:gd name="connsiteY5" fmla="*/ 6473849 h 6473849"/>
              <a:gd name="connsiteX6" fmla="*/ 2794848 w 8636594"/>
              <a:gd name="connsiteY6" fmla="*/ 6458731 h 6473849"/>
              <a:gd name="connsiteX7" fmla="*/ 2846466 w 8636594"/>
              <a:gd name="connsiteY7" fmla="*/ 6443216 h 6473849"/>
              <a:gd name="connsiteX8" fmla="*/ 2897488 w 8636594"/>
              <a:gd name="connsiteY8" fmla="*/ 6427305 h 6473849"/>
              <a:gd name="connsiteX9" fmla="*/ 2947923 w 8636594"/>
              <a:gd name="connsiteY9" fmla="*/ 6411004 h 6473849"/>
              <a:gd name="connsiteX10" fmla="*/ 2997775 w 8636594"/>
              <a:gd name="connsiteY10" fmla="*/ 6394316 h 6473849"/>
              <a:gd name="connsiteX11" fmla="*/ 3047052 w 8636594"/>
              <a:gd name="connsiteY11" fmla="*/ 6377243 h 6473849"/>
              <a:gd name="connsiteX12" fmla="*/ 3095759 w 8636594"/>
              <a:gd name="connsiteY12" fmla="*/ 6359791 h 6473849"/>
              <a:gd name="connsiteX13" fmla="*/ 3143903 w 8636594"/>
              <a:gd name="connsiteY13" fmla="*/ 6341961 h 6473849"/>
              <a:gd name="connsiteX14" fmla="*/ 3191491 w 8636594"/>
              <a:gd name="connsiteY14" fmla="*/ 6323757 h 6473849"/>
              <a:gd name="connsiteX15" fmla="*/ 3238528 w 8636594"/>
              <a:gd name="connsiteY15" fmla="*/ 6305184 h 6473849"/>
              <a:gd name="connsiteX16" fmla="*/ 3285021 w 8636594"/>
              <a:gd name="connsiteY16" fmla="*/ 6286245 h 6473849"/>
              <a:gd name="connsiteX17" fmla="*/ 3330977 w 8636594"/>
              <a:gd name="connsiteY17" fmla="*/ 6266942 h 6473849"/>
              <a:gd name="connsiteX18" fmla="*/ 3376401 w 8636594"/>
              <a:gd name="connsiteY18" fmla="*/ 6247281 h 6473849"/>
              <a:gd name="connsiteX19" fmla="*/ 3421300 w 8636594"/>
              <a:gd name="connsiteY19" fmla="*/ 6227263 h 6473849"/>
              <a:gd name="connsiteX20" fmla="*/ 3465680 w 8636594"/>
              <a:gd name="connsiteY20" fmla="*/ 6206893 h 6473849"/>
              <a:gd name="connsiteX21" fmla="*/ 3509548 w 8636594"/>
              <a:gd name="connsiteY21" fmla="*/ 6186174 h 6473849"/>
              <a:gd name="connsiteX22" fmla="*/ 3552910 w 8636594"/>
              <a:gd name="connsiteY22" fmla="*/ 6165110 h 6473849"/>
              <a:gd name="connsiteX23" fmla="*/ 3595773 w 8636594"/>
              <a:gd name="connsiteY23" fmla="*/ 6143704 h 6473849"/>
              <a:gd name="connsiteX24" fmla="*/ 3638142 w 8636594"/>
              <a:gd name="connsiteY24" fmla="*/ 6121960 h 6473849"/>
              <a:gd name="connsiteX25" fmla="*/ 3680024 w 8636594"/>
              <a:gd name="connsiteY25" fmla="*/ 6099881 h 6473849"/>
              <a:gd name="connsiteX26" fmla="*/ 3721426 w 8636594"/>
              <a:gd name="connsiteY26" fmla="*/ 6077471 h 6473849"/>
              <a:gd name="connsiteX27" fmla="*/ 3762353 w 8636594"/>
              <a:gd name="connsiteY27" fmla="*/ 6054733 h 6473849"/>
              <a:gd name="connsiteX28" fmla="*/ 3802812 w 8636594"/>
              <a:gd name="connsiteY28" fmla="*/ 6031671 h 6473849"/>
              <a:gd name="connsiteX29" fmla="*/ 3842810 w 8636594"/>
              <a:gd name="connsiteY29" fmla="*/ 6008288 h 6473849"/>
              <a:gd name="connsiteX30" fmla="*/ 3882352 w 8636594"/>
              <a:gd name="connsiteY30" fmla="*/ 5984588 h 6473849"/>
              <a:gd name="connsiteX31" fmla="*/ 3921445 w 8636594"/>
              <a:gd name="connsiteY31" fmla="*/ 5960574 h 6473849"/>
              <a:gd name="connsiteX32" fmla="*/ 3960096 w 8636594"/>
              <a:gd name="connsiteY32" fmla="*/ 5936250 h 6473849"/>
              <a:gd name="connsiteX33" fmla="*/ 3998311 w 8636594"/>
              <a:gd name="connsiteY33" fmla="*/ 5911619 h 6473849"/>
              <a:gd name="connsiteX34" fmla="*/ 4036095 w 8636594"/>
              <a:gd name="connsiteY34" fmla="*/ 5886685 h 6473849"/>
              <a:gd name="connsiteX35" fmla="*/ 4073456 w 8636594"/>
              <a:gd name="connsiteY35" fmla="*/ 5861452 h 6473849"/>
              <a:gd name="connsiteX36" fmla="*/ 4110400 w 8636594"/>
              <a:gd name="connsiteY36" fmla="*/ 5835922 h 6473849"/>
              <a:gd name="connsiteX37" fmla="*/ 4146933 w 8636594"/>
              <a:gd name="connsiteY37" fmla="*/ 5810100 h 6473849"/>
              <a:gd name="connsiteX38" fmla="*/ 4183061 w 8636594"/>
              <a:gd name="connsiteY38" fmla="*/ 5783988 h 6473849"/>
              <a:gd name="connsiteX39" fmla="*/ 4218791 w 8636594"/>
              <a:gd name="connsiteY39" fmla="*/ 5757591 h 6473849"/>
              <a:gd name="connsiteX40" fmla="*/ 4254129 w 8636594"/>
              <a:gd name="connsiteY40" fmla="*/ 5730912 h 6473849"/>
              <a:gd name="connsiteX41" fmla="*/ 4289081 w 8636594"/>
              <a:gd name="connsiteY41" fmla="*/ 5703955 h 6473849"/>
              <a:gd name="connsiteX42" fmla="*/ 4323654 w 8636594"/>
              <a:gd name="connsiteY42" fmla="*/ 5676722 h 6473849"/>
              <a:gd name="connsiteX43" fmla="*/ 4357854 w 8636594"/>
              <a:gd name="connsiteY43" fmla="*/ 5649218 h 6473849"/>
              <a:gd name="connsiteX44" fmla="*/ 4391688 w 8636594"/>
              <a:gd name="connsiteY44" fmla="*/ 5621446 h 6473849"/>
              <a:gd name="connsiteX45" fmla="*/ 4425162 w 8636594"/>
              <a:gd name="connsiteY45" fmla="*/ 5593409 h 6473849"/>
              <a:gd name="connsiteX46" fmla="*/ 4458281 w 8636594"/>
              <a:gd name="connsiteY46" fmla="*/ 5565111 h 6473849"/>
              <a:gd name="connsiteX47" fmla="*/ 4491053 w 8636594"/>
              <a:gd name="connsiteY47" fmla="*/ 5536556 h 6473849"/>
              <a:gd name="connsiteX48" fmla="*/ 4523484 w 8636594"/>
              <a:gd name="connsiteY48" fmla="*/ 5507747 h 6473849"/>
              <a:gd name="connsiteX49" fmla="*/ 4555580 w 8636594"/>
              <a:gd name="connsiteY49" fmla="*/ 5478687 h 6473849"/>
              <a:gd name="connsiteX50" fmla="*/ 4587347 w 8636594"/>
              <a:gd name="connsiteY50" fmla="*/ 5449380 h 6473849"/>
              <a:gd name="connsiteX51" fmla="*/ 4618793 w 8636594"/>
              <a:gd name="connsiteY51" fmla="*/ 5419830 h 6473849"/>
              <a:gd name="connsiteX52" fmla="*/ 4649922 w 8636594"/>
              <a:gd name="connsiteY52" fmla="*/ 5390040 h 6473849"/>
              <a:gd name="connsiteX53" fmla="*/ 4680742 w 8636594"/>
              <a:gd name="connsiteY53" fmla="*/ 5360014 h 6473849"/>
              <a:gd name="connsiteX54" fmla="*/ 4711259 w 8636594"/>
              <a:gd name="connsiteY54" fmla="*/ 5329755 h 6473849"/>
              <a:gd name="connsiteX55" fmla="*/ 4741478 w 8636594"/>
              <a:gd name="connsiteY55" fmla="*/ 5299266 h 6473849"/>
              <a:gd name="connsiteX56" fmla="*/ 4771408 w 8636594"/>
              <a:gd name="connsiteY56" fmla="*/ 5268551 h 6473849"/>
              <a:gd name="connsiteX57" fmla="*/ 4801053 w 8636594"/>
              <a:gd name="connsiteY57" fmla="*/ 5237614 h 6473849"/>
              <a:gd name="connsiteX58" fmla="*/ 4830420 w 8636594"/>
              <a:gd name="connsiteY58" fmla="*/ 5206458 h 6473849"/>
              <a:gd name="connsiteX59" fmla="*/ 4859516 w 8636594"/>
              <a:gd name="connsiteY59" fmla="*/ 5175087 h 6473849"/>
              <a:gd name="connsiteX60" fmla="*/ 4888347 w 8636594"/>
              <a:gd name="connsiteY60" fmla="*/ 5143504 h 6473849"/>
              <a:gd name="connsiteX61" fmla="*/ 4916919 w 8636594"/>
              <a:gd name="connsiteY61" fmla="*/ 5111713 h 6473849"/>
              <a:gd name="connsiteX62" fmla="*/ 4945238 w 8636594"/>
              <a:gd name="connsiteY62" fmla="*/ 5079717 h 6473849"/>
              <a:gd name="connsiteX63" fmla="*/ 4973311 w 8636594"/>
              <a:gd name="connsiteY63" fmla="*/ 5047519 h 6473849"/>
              <a:gd name="connsiteX64" fmla="*/ 5001145 w 8636594"/>
              <a:gd name="connsiteY64" fmla="*/ 5015124 h 6473849"/>
              <a:gd name="connsiteX65" fmla="*/ 5028745 w 8636594"/>
              <a:gd name="connsiteY65" fmla="*/ 4982535 h 6473849"/>
              <a:gd name="connsiteX66" fmla="*/ 5056117 w 8636594"/>
              <a:gd name="connsiteY66" fmla="*/ 4949755 h 6473849"/>
              <a:gd name="connsiteX67" fmla="*/ 5083269 w 8636594"/>
              <a:gd name="connsiteY67" fmla="*/ 4916787 h 6473849"/>
              <a:gd name="connsiteX68" fmla="*/ 5110207 w 8636594"/>
              <a:gd name="connsiteY68" fmla="*/ 4883636 h 6473849"/>
              <a:gd name="connsiteX69" fmla="*/ 5136937 w 8636594"/>
              <a:gd name="connsiteY69" fmla="*/ 4850305 h 6473849"/>
              <a:gd name="connsiteX70" fmla="*/ 5163464 w 8636594"/>
              <a:gd name="connsiteY70" fmla="*/ 4816797 h 6473849"/>
              <a:gd name="connsiteX71" fmla="*/ 5215940 w 8636594"/>
              <a:gd name="connsiteY71" fmla="*/ 4749265 h 6473849"/>
              <a:gd name="connsiteX72" fmla="*/ 5267684 w 8636594"/>
              <a:gd name="connsiteY72" fmla="*/ 4681068 h 6473849"/>
              <a:gd name="connsiteX73" fmla="*/ 5318748 w 8636594"/>
              <a:gd name="connsiteY73" fmla="*/ 4612234 h 6473849"/>
              <a:gd name="connsiteX74" fmla="*/ 5369182 w 8636594"/>
              <a:gd name="connsiteY74" fmla="*/ 4542793 h 6473849"/>
              <a:gd name="connsiteX75" fmla="*/ 5419038 w 8636594"/>
              <a:gd name="connsiteY75" fmla="*/ 4472771 h 6473849"/>
              <a:gd name="connsiteX76" fmla="*/ 5468365 w 8636594"/>
              <a:gd name="connsiteY76" fmla="*/ 4402196 h 6473849"/>
              <a:gd name="connsiteX77" fmla="*/ 5517215 w 8636594"/>
              <a:gd name="connsiteY77" fmla="*/ 4331098 h 6473849"/>
              <a:gd name="connsiteX78" fmla="*/ 5565637 w 8636594"/>
              <a:gd name="connsiteY78" fmla="*/ 4259503 h 6473849"/>
              <a:gd name="connsiteX79" fmla="*/ 5613684 w 8636594"/>
              <a:gd name="connsiteY79" fmla="*/ 4187441 h 6473849"/>
              <a:gd name="connsiteX80" fmla="*/ 5685160 w 8636594"/>
              <a:gd name="connsiteY80" fmla="*/ 4078531 h 6473849"/>
              <a:gd name="connsiteX81" fmla="*/ 5756074 w 8636594"/>
              <a:gd name="connsiteY81" fmla="*/ 3968727 h 6473849"/>
              <a:gd name="connsiteX82" fmla="*/ 5873483 w 8636594"/>
              <a:gd name="connsiteY82" fmla="*/ 3783989 h 6473849"/>
              <a:gd name="connsiteX83" fmla="*/ 6203209 w 8636594"/>
              <a:gd name="connsiteY83" fmla="*/ 3258640 h 6473849"/>
              <a:gd name="connsiteX84" fmla="*/ 6299430 w 8636594"/>
              <a:gd name="connsiteY84" fmla="*/ 3107321 h 6473849"/>
              <a:gd name="connsiteX85" fmla="*/ 6372650 w 8636594"/>
              <a:gd name="connsiteY85" fmla="*/ 2993735 h 6473849"/>
              <a:gd name="connsiteX86" fmla="*/ 6453197 w 8636594"/>
              <a:gd name="connsiteY86" fmla="*/ 2869788 h 6473849"/>
              <a:gd name="connsiteX87" fmla="*/ 6564167 w 8636594"/>
              <a:gd name="connsiteY87" fmla="*/ 2696807 h 6473849"/>
              <a:gd name="connsiteX88" fmla="*/ 6976233 w 8636594"/>
              <a:gd name="connsiteY88" fmla="*/ 2045274 h 6473849"/>
              <a:gd name="connsiteX89" fmla="*/ 7086755 w 8636594"/>
              <a:gd name="connsiteY89" fmla="*/ 1872743 h 6473849"/>
              <a:gd name="connsiteX90" fmla="*/ 7170279 w 8636594"/>
              <a:gd name="connsiteY90" fmla="*/ 1744202 h 6473849"/>
              <a:gd name="connsiteX91" fmla="*/ 7226351 w 8636594"/>
              <a:gd name="connsiteY91" fmla="*/ 1659017 h 6473849"/>
              <a:gd name="connsiteX92" fmla="*/ 7282789 w 8636594"/>
              <a:gd name="connsiteY92" fmla="*/ 1574303 h 6473849"/>
              <a:gd name="connsiteX93" fmla="*/ 7339643 w 8636594"/>
              <a:gd name="connsiteY93" fmla="*/ 1490113 h 6473849"/>
              <a:gd name="connsiteX94" fmla="*/ 7396957 w 8636594"/>
              <a:gd name="connsiteY94" fmla="*/ 1406503 h 6473849"/>
              <a:gd name="connsiteX95" fmla="*/ 7454781 w 8636594"/>
              <a:gd name="connsiteY95" fmla="*/ 1323526 h 6473849"/>
              <a:gd name="connsiteX96" fmla="*/ 7513161 w 8636594"/>
              <a:gd name="connsiteY96" fmla="*/ 1241237 h 6473849"/>
              <a:gd name="connsiteX97" fmla="*/ 7572144 w 8636594"/>
              <a:gd name="connsiteY97" fmla="*/ 1159689 h 6473849"/>
              <a:gd name="connsiteX98" fmla="*/ 7601877 w 8636594"/>
              <a:gd name="connsiteY98" fmla="*/ 1119210 h 6473849"/>
              <a:gd name="connsiteX99" fmla="*/ 7631779 w 8636594"/>
              <a:gd name="connsiteY99" fmla="*/ 1078937 h 6473849"/>
              <a:gd name="connsiteX100" fmla="*/ 7661855 w 8636594"/>
              <a:gd name="connsiteY100" fmla="*/ 1038876 h 6473849"/>
              <a:gd name="connsiteX101" fmla="*/ 7692111 w 8636594"/>
              <a:gd name="connsiteY101" fmla="*/ 999035 h 6473849"/>
              <a:gd name="connsiteX102" fmla="*/ 7722554 w 8636594"/>
              <a:gd name="connsiteY102" fmla="*/ 959419 h 6473849"/>
              <a:gd name="connsiteX103" fmla="*/ 7753190 w 8636594"/>
              <a:gd name="connsiteY103" fmla="*/ 920037 h 6473849"/>
              <a:gd name="connsiteX104" fmla="*/ 7784023 w 8636594"/>
              <a:gd name="connsiteY104" fmla="*/ 880894 h 6473849"/>
              <a:gd name="connsiteX105" fmla="*/ 7815061 w 8636594"/>
              <a:gd name="connsiteY105" fmla="*/ 841997 h 6473849"/>
              <a:gd name="connsiteX106" fmla="*/ 7846308 w 8636594"/>
              <a:gd name="connsiteY106" fmla="*/ 803354 h 6473849"/>
              <a:gd name="connsiteX107" fmla="*/ 7877772 w 8636594"/>
              <a:gd name="connsiteY107" fmla="*/ 764970 h 6473849"/>
              <a:gd name="connsiteX108" fmla="*/ 7909458 w 8636594"/>
              <a:gd name="connsiteY108" fmla="*/ 726853 h 6473849"/>
              <a:gd name="connsiteX109" fmla="*/ 7941371 w 8636594"/>
              <a:gd name="connsiteY109" fmla="*/ 689010 h 6473849"/>
              <a:gd name="connsiteX110" fmla="*/ 7973518 w 8636594"/>
              <a:gd name="connsiteY110" fmla="*/ 651447 h 6473849"/>
              <a:gd name="connsiteX111" fmla="*/ 8005905 w 8636594"/>
              <a:gd name="connsiteY111" fmla="*/ 614171 h 6473849"/>
              <a:gd name="connsiteX112" fmla="*/ 8038538 w 8636594"/>
              <a:gd name="connsiteY112" fmla="*/ 577189 h 6473849"/>
              <a:gd name="connsiteX113" fmla="*/ 8071421 w 8636594"/>
              <a:gd name="connsiteY113" fmla="*/ 540507 h 6473849"/>
              <a:gd name="connsiteX114" fmla="*/ 8104563 w 8636594"/>
              <a:gd name="connsiteY114" fmla="*/ 504132 h 6473849"/>
              <a:gd name="connsiteX115" fmla="*/ 8137967 w 8636594"/>
              <a:gd name="connsiteY115" fmla="*/ 468072 h 6473849"/>
              <a:gd name="connsiteX116" fmla="*/ 8171641 w 8636594"/>
              <a:gd name="connsiteY116" fmla="*/ 432332 h 6473849"/>
              <a:gd name="connsiteX117" fmla="*/ 8205590 w 8636594"/>
              <a:gd name="connsiteY117" fmla="*/ 396920 h 6473849"/>
              <a:gd name="connsiteX118" fmla="*/ 8239820 w 8636594"/>
              <a:gd name="connsiteY118" fmla="*/ 361843 h 6473849"/>
              <a:gd name="connsiteX119" fmla="*/ 8274337 w 8636594"/>
              <a:gd name="connsiteY119" fmla="*/ 327107 h 6473849"/>
              <a:gd name="connsiteX120" fmla="*/ 8309147 w 8636594"/>
              <a:gd name="connsiteY120" fmla="*/ 292718 h 6473849"/>
              <a:gd name="connsiteX121" fmla="*/ 8344256 w 8636594"/>
              <a:gd name="connsiteY121" fmla="*/ 258685 h 6473849"/>
              <a:gd name="connsiteX122" fmla="*/ 8379669 w 8636594"/>
              <a:gd name="connsiteY122" fmla="*/ 225013 h 6473849"/>
              <a:gd name="connsiteX123" fmla="*/ 8415394 w 8636594"/>
              <a:gd name="connsiteY123" fmla="*/ 191709 h 6473849"/>
              <a:gd name="connsiteX124" fmla="*/ 8451434 w 8636594"/>
              <a:gd name="connsiteY124" fmla="*/ 158780 h 6473849"/>
              <a:gd name="connsiteX125" fmla="*/ 8487798 w 8636594"/>
              <a:gd name="connsiteY125" fmla="*/ 126233 h 6473849"/>
              <a:gd name="connsiteX126" fmla="*/ 8524489 w 8636594"/>
              <a:gd name="connsiteY126" fmla="*/ 94075 h 6473849"/>
              <a:gd name="connsiteX127" fmla="*/ 8561515 w 8636594"/>
              <a:gd name="connsiteY127" fmla="*/ 62312 h 6473849"/>
              <a:gd name="connsiteX128" fmla="*/ 8598881 w 8636594"/>
              <a:gd name="connsiteY128" fmla="*/ 30951 h 6473849"/>
              <a:gd name="connsiteX129" fmla="*/ 8636594 w 8636594"/>
              <a:gd name="connsiteY129" fmla="*/ 0 h 6473849"/>
              <a:gd name="connsiteX0" fmla="*/ 8636594 w 8636594"/>
              <a:gd name="connsiteY0" fmla="*/ 0 h 6458731"/>
              <a:gd name="connsiteX1" fmla="*/ 5293 w 8636594"/>
              <a:gd name="connsiteY1" fmla="*/ 0 h 6458731"/>
              <a:gd name="connsiteX2" fmla="*/ 0 w 8636594"/>
              <a:gd name="connsiteY2" fmla="*/ 5587843 h 6458731"/>
              <a:gd name="connsiteX3" fmla="*/ 1594033 w 8636594"/>
              <a:gd name="connsiteY3" fmla="*/ 5600057 h 6458731"/>
              <a:gd name="connsiteX4" fmla="*/ 1686068 w 8636594"/>
              <a:gd name="connsiteY4" fmla="*/ 5599745 h 6458731"/>
              <a:gd name="connsiteX5" fmla="*/ 2794848 w 8636594"/>
              <a:gd name="connsiteY5" fmla="*/ 6458731 h 6458731"/>
              <a:gd name="connsiteX6" fmla="*/ 2846466 w 8636594"/>
              <a:gd name="connsiteY6" fmla="*/ 6443216 h 6458731"/>
              <a:gd name="connsiteX7" fmla="*/ 2897488 w 8636594"/>
              <a:gd name="connsiteY7" fmla="*/ 6427305 h 6458731"/>
              <a:gd name="connsiteX8" fmla="*/ 2947923 w 8636594"/>
              <a:gd name="connsiteY8" fmla="*/ 6411004 h 6458731"/>
              <a:gd name="connsiteX9" fmla="*/ 2997775 w 8636594"/>
              <a:gd name="connsiteY9" fmla="*/ 6394316 h 6458731"/>
              <a:gd name="connsiteX10" fmla="*/ 3047052 w 8636594"/>
              <a:gd name="connsiteY10" fmla="*/ 6377243 h 6458731"/>
              <a:gd name="connsiteX11" fmla="*/ 3095759 w 8636594"/>
              <a:gd name="connsiteY11" fmla="*/ 6359791 h 6458731"/>
              <a:gd name="connsiteX12" fmla="*/ 3143903 w 8636594"/>
              <a:gd name="connsiteY12" fmla="*/ 6341961 h 6458731"/>
              <a:gd name="connsiteX13" fmla="*/ 3191491 w 8636594"/>
              <a:gd name="connsiteY13" fmla="*/ 6323757 h 6458731"/>
              <a:gd name="connsiteX14" fmla="*/ 3238528 w 8636594"/>
              <a:gd name="connsiteY14" fmla="*/ 6305184 h 6458731"/>
              <a:gd name="connsiteX15" fmla="*/ 3285021 w 8636594"/>
              <a:gd name="connsiteY15" fmla="*/ 6286245 h 6458731"/>
              <a:gd name="connsiteX16" fmla="*/ 3330977 w 8636594"/>
              <a:gd name="connsiteY16" fmla="*/ 6266942 h 6458731"/>
              <a:gd name="connsiteX17" fmla="*/ 3376401 w 8636594"/>
              <a:gd name="connsiteY17" fmla="*/ 6247281 h 6458731"/>
              <a:gd name="connsiteX18" fmla="*/ 3421300 w 8636594"/>
              <a:gd name="connsiteY18" fmla="*/ 6227263 h 6458731"/>
              <a:gd name="connsiteX19" fmla="*/ 3465680 w 8636594"/>
              <a:gd name="connsiteY19" fmla="*/ 6206893 h 6458731"/>
              <a:gd name="connsiteX20" fmla="*/ 3509548 w 8636594"/>
              <a:gd name="connsiteY20" fmla="*/ 6186174 h 6458731"/>
              <a:gd name="connsiteX21" fmla="*/ 3552910 w 8636594"/>
              <a:gd name="connsiteY21" fmla="*/ 6165110 h 6458731"/>
              <a:gd name="connsiteX22" fmla="*/ 3595773 w 8636594"/>
              <a:gd name="connsiteY22" fmla="*/ 6143704 h 6458731"/>
              <a:gd name="connsiteX23" fmla="*/ 3638142 w 8636594"/>
              <a:gd name="connsiteY23" fmla="*/ 6121960 h 6458731"/>
              <a:gd name="connsiteX24" fmla="*/ 3680024 w 8636594"/>
              <a:gd name="connsiteY24" fmla="*/ 6099881 h 6458731"/>
              <a:gd name="connsiteX25" fmla="*/ 3721426 w 8636594"/>
              <a:gd name="connsiteY25" fmla="*/ 6077471 h 6458731"/>
              <a:gd name="connsiteX26" fmla="*/ 3762353 w 8636594"/>
              <a:gd name="connsiteY26" fmla="*/ 6054733 h 6458731"/>
              <a:gd name="connsiteX27" fmla="*/ 3802812 w 8636594"/>
              <a:gd name="connsiteY27" fmla="*/ 6031671 h 6458731"/>
              <a:gd name="connsiteX28" fmla="*/ 3842810 w 8636594"/>
              <a:gd name="connsiteY28" fmla="*/ 6008288 h 6458731"/>
              <a:gd name="connsiteX29" fmla="*/ 3882352 w 8636594"/>
              <a:gd name="connsiteY29" fmla="*/ 5984588 h 6458731"/>
              <a:gd name="connsiteX30" fmla="*/ 3921445 w 8636594"/>
              <a:gd name="connsiteY30" fmla="*/ 5960574 h 6458731"/>
              <a:gd name="connsiteX31" fmla="*/ 3960096 w 8636594"/>
              <a:gd name="connsiteY31" fmla="*/ 5936250 h 6458731"/>
              <a:gd name="connsiteX32" fmla="*/ 3998311 w 8636594"/>
              <a:gd name="connsiteY32" fmla="*/ 5911619 h 6458731"/>
              <a:gd name="connsiteX33" fmla="*/ 4036095 w 8636594"/>
              <a:gd name="connsiteY33" fmla="*/ 5886685 h 6458731"/>
              <a:gd name="connsiteX34" fmla="*/ 4073456 w 8636594"/>
              <a:gd name="connsiteY34" fmla="*/ 5861452 h 6458731"/>
              <a:gd name="connsiteX35" fmla="*/ 4110400 w 8636594"/>
              <a:gd name="connsiteY35" fmla="*/ 5835922 h 6458731"/>
              <a:gd name="connsiteX36" fmla="*/ 4146933 w 8636594"/>
              <a:gd name="connsiteY36" fmla="*/ 5810100 h 6458731"/>
              <a:gd name="connsiteX37" fmla="*/ 4183061 w 8636594"/>
              <a:gd name="connsiteY37" fmla="*/ 5783988 h 6458731"/>
              <a:gd name="connsiteX38" fmla="*/ 4218791 w 8636594"/>
              <a:gd name="connsiteY38" fmla="*/ 5757591 h 6458731"/>
              <a:gd name="connsiteX39" fmla="*/ 4254129 w 8636594"/>
              <a:gd name="connsiteY39" fmla="*/ 5730912 h 6458731"/>
              <a:gd name="connsiteX40" fmla="*/ 4289081 w 8636594"/>
              <a:gd name="connsiteY40" fmla="*/ 5703955 h 6458731"/>
              <a:gd name="connsiteX41" fmla="*/ 4323654 w 8636594"/>
              <a:gd name="connsiteY41" fmla="*/ 5676722 h 6458731"/>
              <a:gd name="connsiteX42" fmla="*/ 4357854 w 8636594"/>
              <a:gd name="connsiteY42" fmla="*/ 5649218 h 6458731"/>
              <a:gd name="connsiteX43" fmla="*/ 4391688 w 8636594"/>
              <a:gd name="connsiteY43" fmla="*/ 5621446 h 6458731"/>
              <a:gd name="connsiteX44" fmla="*/ 4425162 w 8636594"/>
              <a:gd name="connsiteY44" fmla="*/ 5593409 h 6458731"/>
              <a:gd name="connsiteX45" fmla="*/ 4458281 w 8636594"/>
              <a:gd name="connsiteY45" fmla="*/ 5565111 h 6458731"/>
              <a:gd name="connsiteX46" fmla="*/ 4491053 w 8636594"/>
              <a:gd name="connsiteY46" fmla="*/ 5536556 h 6458731"/>
              <a:gd name="connsiteX47" fmla="*/ 4523484 w 8636594"/>
              <a:gd name="connsiteY47" fmla="*/ 5507747 h 6458731"/>
              <a:gd name="connsiteX48" fmla="*/ 4555580 w 8636594"/>
              <a:gd name="connsiteY48" fmla="*/ 5478687 h 6458731"/>
              <a:gd name="connsiteX49" fmla="*/ 4587347 w 8636594"/>
              <a:gd name="connsiteY49" fmla="*/ 5449380 h 6458731"/>
              <a:gd name="connsiteX50" fmla="*/ 4618793 w 8636594"/>
              <a:gd name="connsiteY50" fmla="*/ 5419830 h 6458731"/>
              <a:gd name="connsiteX51" fmla="*/ 4649922 w 8636594"/>
              <a:gd name="connsiteY51" fmla="*/ 5390040 h 6458731"/>
              <a:gd name="connsiteX52" fmla="*/ 4680742 w 8636594"/>
              <a:gd name="connsiteY52" fmla="*/ 5360014 h 6458731"/>
              <a:gd name="connsiteX53" fmla="*/ 4711259 w 8636594"/>
              <a:gd name="connsiteY53" fmla="*/ 5329755 h 6458731"/>
              <a:gd name="connsiteX54" fmla="*/ 4741478 w 8636594"/>
              <a:gd name="connsiteY54" fmla="*/ 5299266 h 6458731"/>
              <a:gd name="connsiteX55" fmla="*/ 4771408 w 8636594"/>
              <a:gd name="connsiteY55" fmla="*/ 5268551 h 6458731"/>
              <a:gd name="connsiteX56" fmla="*/ 4801053 w 8636594"/>
              <a:gd name="connsiteY56" fmla="*/ 5237614 h 6458731"/>
              <a:gd name="connsiteX57" fmla="*/ 4830420 w 8636594"/>
              <a:gd name="connsiteY57" fmla="*/ 5206458 h 6458731"/>
              <a:gd name="connsiteX58" fmla="*/ 4859516 w 8636594"/>
              <a:gd name="connsiteY58" fmla="*/ 5175087 h 6458731"/>
              <a:gd name="connsiteX59" fmla="*/ 4888347 w 8636594"/>
              <a:gd name="connsiteY59" fmla="*/ 5143504 h 6458731"/>
              <a:gd name="connsiteX60" fmla="*/ 4916919 w 8636594"/>
              <a:gd name="connsiteY60" fmla="*/ 5111713 h 6458731"/>
              <a:gd name="connsiteX61" fmla="*/ 4945238 w 8636594"/>
              <a:gd name="connsiteY61" fmla="*/ 5079717 h 6458731"/>
              <a:gd name="connsiteX62" fmla="*/ 4973311 w 8636594"/>
              <a:gd name="connsiteY62" fmla="*/ 5047519 h 6458731"/>
              <a:gd name="connsiteX63" fmla="*/ 5001145 w 8636594"/>
              <a:gd name="connsiteY63" fmla="*/ 5015124 h 6458731"/>
              <a:gd name="connsiteX64" fmla="*/ 5028745 w 8636594"/>
              <a:gd name="connsiteY64" fmla="*/ 4982535 h 6458731"/>
              <a:gd name="connsiteX65" fmla="*/ 5056117 w 8636594"/>
              <a:gd name="connsiteY65" fmla="*/ 4949755 h 6458731"/>
              <a:gd name="connsiteX66" fmla="*/ 5083269 w 8636594"/>
              <a:gd name="connsiteY66" fmla="*/ 4916787 h 6458731"/>
              <a:gd name="connsiteX67" fmla="*/ 5110207 w 8636594"/>
              <a:gd name="connsiteY67" fmla="*/ 4883636 h 6458731"/>
              <a:gd name="connsiteX68" fmla="*/ 5136937 w 8636594"/>
              <a:gd name="connsiteY68" fmla="*/ 4850305 h 6458731"/>
              <a:gd name="connsiteX69" fmla="*/ 5163464 w 8636594"/>
              <a:gd name="connsiteY69" fmla="*/ 4816797 h 6458731"/>
              <a:gd name="connsiteX70" fmla="*/ 5215940 w 8636594"/>
              <a:gd name="connsiteY70" fmla="*/ 4749265 h 6458731"/>
              <a:gd name="connsiteX71" fmla="*/ 5267684 w 8636594"/>
              <a:gd name="connsiteY71" fmla="*/ 4681068 h 6458731"/>
              <a:gd name="connsiteX72" fmla="*/ 5318748 w 8636594"/>
              <a:gd name="connsiteY72" fmla="*/ 4612234 h 6458731"/>
              <a:gd name="connsiteX73" fmla="*/ 5369182 w 8636594"/>
              <a:gd name="connsiteY73" fmla="*/ 4542793 h 6458731"/>
              <a:gd name="connsiteX74" fmla="*/ 5419038 w 8636594"/>
              <a:gd name="connsiteY74" fmla="*/ 4472771 h 6458731"/>
              <a:gd name="connsiteX75" fmla="*/ 5468365 w 8636594"/>
              <a:gd name="connsiteY75" fmla="*/ 4402196 h 6458731"/>
              <a:gd name="connsiteX76" fmla="*/ 5517215 w 8636594"/>
              <a:gd name="connsiteY76" fmla="*/ 4331098 h 6458731"/>
              <a:gd name="connsiteX77" fmla="*/ 5565637 w 8636594"/>
              <a:gd name="connsiteY77" fmla="*/ 4259503 h 6458731"/>
              <a:gd name="connsiteX78" fmla="*/ 5613684 w 8636594"/>
              <a:gd name="connsiteY78" fmla="*/ 4187441 h 6458731"/>
              <a:gd name="connsiteX79" fmla="*/ 5685160 w 8636594"/>
              <a:gd name="connsiteY79" fmla="*/ 4078531 h 6458731"/>
              <a:gd name="connsiteX80" fmla="*/ 5756074 w 8636594"/>
              <a:gd name="connsiteY80" fmla="*/ 3968727 h 6458731"/>
              <a:gd name="connsiteX81" fmla="*/ 5873483 w 8636594"/>
              <a:gd name="connsiteY81" fmla="*/ 3783989 h 6458731"/>
              <a:gd name="connsiteX82" fmla="*/ 6203209 w 8636594"/>
              <a:gd name="connsiteY82" fmla="*/ 3258640 h 6458731"/>
              <a:gd name="connsiteX83" fmla="*/ 6299430 w 8636594"/>
              <a:gd name="connsiteY83" fmla="*/ 3107321 h 6458731"/>
              <a:gd name="connsiteX84" fmla="*/ 6372650 w 8636594"/>
              <a:gd name="connsiteY84" fmla="*/ 2993735 h 6458731"/>
              <a:gd name="connsiteX85" fmla="*/ 6453197 w 8636594"/>
              <a:gd name="connsiteY85" fmla="*/ 2869788 h 6458731"/>
              <a:gd name="connsiteX86" fmla="*/ 6564167 w 8636594"/>
              <a:gd name="connsiteY86" fmla="*/ 2696807 h 6458731"/>
              <a:gd name="connsiteX87" fmla="*/ 6976233 w 8636594"/>
              <a:gd name="connsiteY87" fmla="*/ 2045274 h 6458731"/>
              <a:gd name="connsiteX88" fmla="*/ 7086755 w 8636594"/>
              <a:gd name="connsiteY88" fmla="*/ 1872743 h 6458731"/>
              <a:gd name="connsiteX89" fmla="*/ 7170279 w 8636594"/>
              <a:gd name="connsiteY89" fmla="*/ 1744202 h 6458731"/>
              <a:gd name="connsiteX90" fmla="*/ 7226351 w 8636594"/>
              <a:gd name="connsiteY90" fmla="*/ 1659017 h 6458731"/>
              <a:gd name="connsiteX91" fmla="*/ 7282789 w 8636594"/>
              <a:gd name="connsiteY91" fmla="*/ 1574303 h 6458731"/>
              <a:gd name="connsiteX92" fmla="*/ 7339643 w 8636594"/>
              <a:gd name="connsiteY92" fmla="*/ 1490113 h 6458731"/>
              <a:gd name="connsiteX93" fmla="*/ 7396957 w 8636594"/>
              <a:gd name="connsiteY93" fmla="*/ 1406503 h 6458731"/>
              <a:gd name="connsiteX94" fmla="*/ 7454781 w 8636594"/>
              <a:gd name="connsiteY94" fmla="*/ 1323526 h 6458731"/>
              <a:gd name="connsiteX95" fmla="*/ 7513161 w 8636594"/>
              <a:gd name="connsiteY95" fmla="*/ 1241237 h 6458731"/>
              <a:gd name="connsiteX96" fmla="*/ 7572144 w 8636594"/>
              <a:gd name="connsiteY96" fmla="*/ 1159689 h 6458731"/>
              <a:gd name="connsiteX97" fmla="*/ 7601877 w 8636594"/>
              <a:gd name="connsiteY97" fmla="*/ 1119210 h 6458731"/>
              <a:gd name="connsiteX98" fmla="*/ 7631779 w 8636594"/>
              <a:gd name="connsiteY98" fmla="*/ 1078937 h 6458731"/>
              <a:gd name="connsiteX99" fmla="*/ 7661855 w 8636594"/>
              <a:gd name="connsiteY99" fmla="*/ 1038876 h 6458731"/>
              <a:gd name="connsiteX100" fmla="*/ 7692111 w 8636594"/>
              <a:gd name="connsiteY100" fmla="*/ 999035 h 6458731"/>
              <a:gd name="connsiteX101" fmla="*/ 7722554 w 8636594"/>
              <a:gd name="connsiteY101" fmla="*/ 959419 h 6458731"/>
              <a:gd name="connsiteX102" fmla="*/ 7753190 w 8636594"/>
              <a:gd name="connsiteY102" fmla="*/ 920037 h 6458731"/>
              <a:gd name="connsiteX103" fmla="*/ 7784023 w 8636594"/>
              <a:gd name="connsiteY103" fmla="*/ 880894 h 6458731"/>
              <a:gd name="connsiteX104" fmla="*/ 7815061 w 8636594"/>
              <a:gd name="connsiteY104" fmla="*/ 841997 h 6458731"/>
              <a:gd name="connsiteX105" fmla="*/ 7846308 w 8636594"/>
              <a:gd name="connsiteY105" fmla="*/ 803354 h 6458731"/>
              <a:gd name="connsiteX106" fmla="*/ 7877772 w 8636594"/>
              <a:gd name="connsiteY106" fmla="*/ 764970 h 6458731"/>
              <a:gd name="connsiteX107" fmla="*/ 7909458 w 8636594"/>
              <a:gd name="connsiteY107" fmla="*/ 726853 h 6458731"/>
              <a:gd name="connsiteX108" fmla="*/ 7941371 w 8636594"/>
              <a:gd name="connsiteY108" fmla="*/ 689010 h 6458731"/>
              <a:gd name="connsiteX109" fmla="*/ 7973518 w 8636594"/>
              <a:gd name="connsiteY109" fmla="*/ 651447 h 6458731"/>
              <a:gd name="connsiteX110" fmla="*/ 8005905 w 8636594"/>
              <a:gd name="connsiteY110" fmla="*/ 614171 h 6458731"/>
              <a:gd name="connsiteX111" fmla="*/ 8038538 w 8636594"/>
              <a:gd name="connsiteY111" fmla="*/ 577189 h 6458731"/>
              <a:gd name="connsiteX112" fmla="*/ 8071421 w 8636594"/>
              <a:gd name="connsiteY112" fmla="*/ 540507 h 6458731"/>
              <a:gd name="connsiteX113" fmla="*/ 8104563 w 8636594"/>
              <a:gd name="connsiteY113" fmla="*/ 504132 h 6458731"/>
              <a:gd name="connsiteX114" fmla="*/ 8137967 w 8636594"/>
              <a:gd name="connsiteY114" fmla="*/ 468072 h 6458731"/>
              <a:gd name="connsiteX115" fmla="*/ 8171641 w 8636594"/>
              <a:gd name="connsiteY115" fmla="*/ 432332 h 6458731"/>
              <a:gd name="connsiteX116" fmla="*/ 8205590 w 8636594"/>
              <a:gd name="connsiteY116" fmla="*/ 396920 h 6458731"/>
              <a:gd name="connsiteX117" fmla="*/ 8239820 w 8636594"/>
              <a:gd name="connsiteY117" fmla="*/ 361843 h 6458731"/>
              <a:gd name="connsiteX118" fmla="*/ 8274337 w 8636594"/>
              <a:gd name="connsiteY118" fmla="*/ 327107 h 6458731"/>
              <a:gd name="connsiteX119" fmla="*/ 8309147 w 8636594"/>
              <a:gd name="connsiteY119" fmla="*/ 292718 h 6458731"/>
              <a:gd name="connsiteX120" fmla="*/ 8344256 w 8636594"/>
              <a:gd name="connsiteY120" fmla="*/ 258685 h 6458731"/>
              <a:gd name="connsiteX121" fmla="*/ 8379669 w 8636594"/>
              <a:gd name="connsiteY121" fmla="*/ 225013 h 6458731"/>
              <a:gd name="connsiteX122" fmla="*/ 8415394 w 8636594"/>
              <a:gd name="connsiteY122" fmla="*/ 191709 h 6458731"/>
              <a:gd name="connsiteX123" fmla="*/ 8451434 w 8636594"/>
              <a:gd name="connsiteY123" fmla="*/ 158780 h 6458731"/>
              <a:gd name="connsiteX124" fmla="*/ 8487798 w 8636594"/>
              <a:gd name="connsiteY124" fmla="*/ 126233 h 6458731"/>
              <a:gd name="connsiteX125" fmla="*/ 8524489 w 8636594"/>
              <a:gd name="connsiteY125" fmla="*/ 94075 h 6458731"/>
              <a:gd name="connsiteX126" fmla="*/ 8561515 w 8636594"/>
              <a:gd name="connsiteY126" fmla="*/ 62312 h 6458731"/>
              <a:gd name="connsiteX127" fmla="*/ 8598881 w 8636594"/>
              <a:gd name="connsiteY127" fmla="*/ 30951 h 6458731"/>
              <a:gd name="connsiteX128" fmla="*/ 8636594 w 8636594"/>
              <a:gd name="connsiteY128" fmla="*/ 0 h 6458731"/>
              <a:gd name="connsiteX0" fmla="*/ 8636594 w 8636594"/>
              <a:gd name="connsiteY0" fmla="*/ 0 h 6443216"/>
              <a:gd name="connsiteX1" fmla="*/ 5293 w 8636594"/>
              <a:gd name="connsiteY1" fmla="*/ 0 h 6443216"/>
              <a:gd name="connsiteX2" fmla="*/ 0 w 8636594"/>
              <a:gd name="connsiteY2" fmla="*/ 5587843 h 6443216"/>
              <a:gd name="connsiteX3" fmla="*/ 1594033 w 8636594"/>
              <a:gd name="connsiteY3" fmla="*/ 5600057 h 6443216"/>
              <a:gd name="connsiteX4" fmla="*/ 1686068 w 8636594"/>
              <a:gd name="connsiteY4" fmla="*/ 5599745 h 6443216"/>
              <a:gd name="connsiteX5" fmla="*/ 2846466 w 8636594"/>
              <a:gd name="connsiteY5" fmla="*/ 6443216 h 6443216"/>
              <a:gd name="connsiteX6" fmla="*/ 2897488 w 8636594"/>
              <a:gd name="connsiteY6" fmla="*/ 6427305 h 6443216"/>
              <a:gd name="connsiteX7" fmla="*/ 2947923 w 8636594"/>
              <a:gd name="connsiteY7" fmla="*/ 6411004 h 6443216"/>
              <a:gd name="connsiteX8" fmla="*/ 2997775 w 8636594"/>
              <a:gd name="connsiteY8" fmla="*/ 6394316 h 6443216"/>
              <a:gd name="connsiteX9" fmla="*/ 3047052 w 8636594"/>
              <a:gd name="connsiteY9" fmla="*/ 6377243 h 6443216"/>
              <a:gd name="connsiteX10" fmla="*/ 3095759 w 8636594"/>
              <a:gd name="connsiteY10" fmla="*/ 6359791 h 6443216"/>
              <a:gd name="connsiteX11" fmla="*/ 3143903 w 8636594"/>
              <a:gd name="connsiteY11" fmla="*/ 6341961 h 6443216"/>
              <a:gd name="connsiteX12" fmla="*/ 3191491 w 8636594"/>
              <a:gd name="connsiteY12" fmla="*/ 6323757 h 6443216"/>
              <a:gd name="connsiteX13" fmla="*/ 3238528 w 8636594"/>
              <a:gd name="connsiteY13" fmla="*/ 6305184 h 6443216"/>
              <a:gd name="connsiteX14" fmla="*/ 3285021 w 8636594"/>
              <a:gd name="connsiteY14" fmla="*/ 6286245 h 6443216"/>
              <a:gd name="connsiteX15" fmla="*/ 3330977 w 8636594"/>
              <a:gd name="connsiteY15" fmla="*/ 6266942 h 6443216"/>
              <a:gd name="connsiteX16" fmla="*/ 3376401 w 8636594"/>
              <a:gd name="connsiteY16" fmla="*/ 6247281 h 6443216"/>
              <a:gd name="connsiteX17" fmla="*/ 3421300 w 8636594"/>
              <a:gd name="connsiteY17" fmla="*/ 6227263 h 6443216"/>
              <a:gd name="connsiteX18" fmla="*/ 3465680 w 8636594"/>
              <a:gd name="connsiteY18" fmla="*/ 6206893 h 6443216"/>
              <a:gd name="connsiteX19" fmla="*/ 3509548 w 8636594"/>
              <a:gd name="connsiteY19" fmla="*/ 6186174 h 6443216"/>
              <a:gd name="connsiteX20" fmla="*/ 3552910 w 8636594"/>
              <a:gd name="connsiteY20" fmla="*/ 6165110 h 6443216"/>
              <a:gd name="connsiteX21" fmla="*/ 3595773 w 8636594"/>
              <a:gd name="connsiteY21" fmla="*/ 6143704 h 6443216"/>
              <a:gd name="connsiteX22" fmla="*/ 3638142 w 8636594"/>
              <a:gd name="connsiteY22" fmla="*/ 6121960 h 6443216"/>
              <a:gd name="connsiteX23" fmla="*/ 3680024 w 8636594"/>
              <a:gd name="connsiteY23" fmla="*/ 6099881 h 6443216"/>
              <a:gd name="connsiteX24" fmla="*/ 3721426 w 8636594"/>
              <a:gd name="connsiteY24" fmla="*/ 6077471 h 6443216"/>
              <a:gd name="connsiteX25" fmla="*/ 3762353 w 8636594"/>
              <a:gd name="connsiteY25" fmla="*/ 6054733 h 6443216"/>
              <a:gd name="connsiteX26" fmla="*/ 3802812 w 8636594"/>
              <a:gd name="connsiteY26" fmla="*/ 6031671 h 6443216"/>
              <a:gd name="connsiteX27" fmla="*/ 3842810 w 8636594"/>
              <a:gd name="connsiteY27" fmla="*/ 6008288 h 6443216"/>
              <a:gd name="connsiteX28" fmla="*/ 3882352 w 8636594"/>
              <a:gd name="connsiteY28" fmla="*/ 5984588 h 6443216"/>
              <a:gd name="connsiteX29" fmla="*/ 3921445 w 8636594"/>
              <a:gd name="connsiteY29" fmla="*/ 5960574 h 6443216"/>
              <a:gd name="connsiteX30" fmla="*/ 3960096 w 8636594"/>
              <a:gd name="connsiteY30" fmla="*/ 5936250 h 6443216"/>
              <a:gd name="connsiteX31" fmla="*/ 3998311 w 8636594"/>
              <a:gd name="connsiteY31" fmla="*/ 5911619 h 6443216"/>
              <a:gd name="connsiteX32" fmla="*/ 4036095 w 8636594"/>
              <a:gd name="connsiteY32" fmla="*/ 5886685 h 6443216"/>
              <a:gd name="connsiteX33" fmla="*/ 4073456 w 8636594"/>
              <a:gd name="connsiteY33" fmla="*/ 5861452 h 6443216"/>
              <a:gd name="connsiteX34" fmla="*/ 4110400 w 8636594"/>
              <a:gd name="connsiteY34" fmla="*/ 5835922 h 6443216"/>
              <a:gd name="connsiteX35" fmla="*/ 4146933 w 8636594"/>
              <a:gd name="connsiteY35" fmla="*/ 5810100 h 6443216"/>
              <a:gd name="connsiteX36" fmla="*/ 4183061 w 8636594"/>
              <a:gd name="connsiteY36" fmla="*/ 5783988 h 6443216"/>
              <a:gd name="connsiteX37" fmla="*/ 4218791 w 8636594"/>
              <a:gd name="connsiteY37" fmla="*/ 5757591 h 6443216"/>
              <a:gd name="connsiteX38" fmla="*/ 4254129 w 8636594"/>
              <a:gd name="connsiteY38" fmla="*/ 5730912 h 6443216"/>
              <a:gd name="connsiteX39" fmla="*/ 4289081 w 8636594"/>
              <a:gd name="connsiteY39" fmla="*/ 5703955 h 6443216"/>
              <a:gd name="connsiteX40" fmla="*/ 4323654 w 8636594"/>
              <a:gd name="connsiteY40" fmla="*/ 5676722 h 6443216"/>
              <a:gd name="connsiteX41" fmla="*/ 4357854 w 8636594"/>
              <a:gd name="connsiteY41" fmla="*/ 5649218 h 6443216"/>
              <a:gd name="connsiteX42" fmla="*/ 4391688 w 8636594"/>
              <a:gd name="connsiteY42" fmla="*/ 5621446 h 6443216"/>
              <a:gd name="connsiteX43" fmla="*/ 4425162 w 8636594"/>
              <a:gd name="connsiteY43" fmla="*/ 5593409 h 6443216"/>
              <a:gd name="connsiteX44" fmla="*/ 4458281 w 8636594"/>
              <a:gd name="connsiteY44" fmla="*/ 5565111 h 6443216"/>
              <a:gd name="connsiteX45" fmla="*/ 4491053 w 8636594"/>
              <a:gd name="connsiteY45" fmla="*/ 5536556 h 6443216"/>
              <a:gd name="connsiteX46" fmla="*/ 4523484 w 8636594"/>
              <a:gd name="connsiteY46" fmla="*/ 5507747 h 6443216"/>
              <a:gd name="connsiteX47" fmla="*/ 4555580 w 8636594"/>
              <a:gd name="connsiteY47" fmla="*/ 5478687 h 6443216"/>
              <a:gd name="connsiteX48" fmla="*/ 4587347 w 8636594"/>
              <a:gd name="connsiteY48" fmla="*/ 5449380 h 6443216"/>
              <a:gd name="connsiteX49" fmla="*/ 4618793 w 8636594"/>
              <a:gd name="connsiteY49" fmla="*/ 5419830 h 6443216"/>
              <a:gd name="connsiteX50" fmla="*/ 4649922 w 8636594"/>
              <a:gd name="connsiteY50" fmla="*/ 5390040 h 6443216"/>
              <a:gd name="connsiteX51" fmla="*/ 4680742 w 8636594"/>
              <a:gd name="connsiteY51" fmla="*/ 5360014 h 6443216"/>
              <a:gd name="connsiteX52" fmla="*/ 4711259 w 8636594"/>
              <a:gd name="connsiteY52" fmla="*/ 5329755 h 6443216"/>
              <a:gd name="connsiteX53" fmla="*/ 4741478 w 8636594"/>
              <a:gd name="connsiteY53" fmla="*/ 5299266 h 6443216"/>
              <a:gd name="connsiteX54" fmla="*/ 4771408 w 8636594"/>
              <a:gd name="connsiteY54" fmla="*/ 5268551 h 6443216"/>
              <a:gd name="connsiteX55" fmla="*/ 4801053 w 8636594"/>
              <a:gd name="connsiteY55" fmla="*/ 5237614 h 6443216"/>
              <a:gd name="connsiteX56" fmla="*/ 4830420 w 8636594"/>
              <a:gd name="connsiteY56" fmla="*/ 5206458 h 6443216"/>
              <a:gd name="connsiteX57" fmla="*/ 4859516 w 8636594"/>
              <a:gd name="connsiteY57" fmla="*/ 5175087 h 6443216"/>
              <a:gd name="connsiteX58" fmla="*/ 4888347 w 8636594"/>
              <a:gd name="connsiteY58" fmla="*/ 5143504 h 6443216"/>
              <a:gd name="connsiteX59" fmla="*/ 4916919 w 8636594"/>
              <a:gd name="connsiteY59" fmla="*/ 5111713 h 6443216"/>
              <a:gd name="connsiteX60" fmla="*/ 4945238 w 8636594"/>
              <a:gd name="connsiteY60" fmla="*/ 5079717 h 6443216"/>
              <a:gd name="connsiteX61" fmla="*/ 4973311 w 8636594"/>
              <a:gd name="connsiteY61" fmla="*/ 5047519 h 6443216"/>
              <a:gd name="connsiteX62" fmla="*/ 5001145 w 8636594"/>
              <a:gd name="connsiteY62" fmla="*/ 5015124 h 6443216"/>
              <a:gd name="connsiteX63" fmla="*/ 5028745 w 8636594"/>
              <a:gd name="connsiteY63" fmla="*/ 4982535 h 6443216"/>
              <a:gd name="connsiteX64" fmla="*/ 5056117 w 8636594"/>
              <a:gd name="connsiteY64" fmla="*/ 4949755 h 6443216"/>
              <a:gd name="connsiteX65" fmla="*/ 5083269 w 8636594"/>
              <a:gd name="connsiteY65" fmla="*/ 4916787 h 6443216"/>
              <a:gd name="connsiteX66" fmla="*/ 5110207 w 8636594"/>
              <a:gd name="connsiteY66" fmla="*/ 4883636 h 6443216"/>
              <a:gd name="connsiteX67" fmla="*/ 5136937 w 8636594"/>
              <a:gd name="connsiteY67" fmla="*/ 4850305 h 6443216"/>
              <a:gd name="connsiteX68" fmla="*/ 5163464 w 8636594"/>
              <a:gd name="connsiteY68" fmla="*/ 4816797 h 6443216"/>
              <a:gd name="connsiteX69" fmla="*/ 5215940 w 8636594"/>
              <a:gd name="connsiteY69" fmla="*/ 4749265 h 6443216"/>
              <a:gd name="connsiteX70" fmla="*/ 5267684 w 8636594"/>
              <a:gd name="connsiteY70" fmla="*/ 4681068 h 6443216"/>
              <a:gd name="connsiteX71" fmla="*/ 5318748 w 8636594"/>
              <a:gd name="connsiteY71" fmla="*/ 4612234 h 6443216"/>
              <a:gd name="connsiteX72" fmla="*/ 5369182 w 8636594"/>
              <a:gd name="connsiteY72" fmla="*/ 4542793 h 6443216"/>
              <a:gd name="connsiteX73" fmla="*/ 5419038 w 8636594"/>
              <a:gd name="connsiteY73" fmla="*/ 4472771 h 6443216"/>
              <a:gd name="connsiteX74" fmla="*/ 5468365 w 8636594"/>
              <a:gd name="connsiteY74" fmla="*/ 4402196 h 6443216"/>
              <a:gd name="connsiteX75" fmla="*/ 5517215 w 8636594"/>
              <a:gd name="connsiteY75" fmla="*/ 4331098 h 6443216"/>
              <a:gd name="connsiteX76" fmla="*/ 5565637 w 8636594"/>
              <a:gd name="connsiteY76" fmla="*/ 4259503 h 6443216"/>
              <a:gd name="connsiteX77" fmla="*/ 5613684 w 8636594"/>
              <a:gd name="connsiteY77" fmla="*/ 4187441 h 6443216"/>
              <a:gd name="connsiteX78" fmla="*/ 5685160 w 8636594"/>
              <a:gd name="connsiteY78" fmla="*/ 4078531 h 6443216"/>
              <a:gd name="connsiteX79" fmla="*/ 5756074 w 8636594"/>
              <a:gd name="connsiteY79" fmla="*/ 3968727 h 6443216"/>
              <a:gd name="connsiteX80" fmla="*/ 5873483 w 8636594"/>
              <a:gd name="connsiteY80" fmla="*/ 3783989 h 6443216"/>
              <a:gd name="connsiteX81" fmla="*/ 6203209 w 8636594"/>
              <a:gd name="connsiteY81" fmla="*/ 3258640 h 6443216"/>
              <a:gd name="connsiteX82" fmla="*/ 6299430 w 8636594"/>
              <a:gd name="connsiteY82" fmla="*/ 3107321 h 6443216"/>
              <a:gd name="connsiteX83" fmla="*/ 6372650 w 8636594"/>
              <a:gd name="connsiteY83" fmla="*/ 2993735 h 6443216"/>
              <a:gd name="connsiteX84" fmla="*/ 6453197 w 8636594"/>
              <a:gd name="connsiteY84" fmla="*/ 2869788 h 6443216"/>
              <a:gd name="connsiteX85" fmla="*/ 6564167 w 8636594"/>
              <a:gd name="connsiteY85" fmla="*/ 2696807 h 6443216"/>
              <a:gd name="connsiteX86" fmla="*/ 6976233 w 8636594"/>
              <a:gd name="connsiteY86" fmla="*/ 2045274 h 6443216"/>
              <a:gd name="connsiteX87" fmla="*/ 7086755 w 8636594"/>
              <a:gd name="connsiteY87" fmla="*/ 1872743 h 6443216"/>
              <a:gd name="connsiteX88" fmla="*/ 7170279 w 8636594"/>
              <a:gd name="connsiteY88" fmla="*/ 1744202 h 6443216"/>
              <a:gd name="connsiteX89" fmla="*/ 7226351 w 8636594"/>
              <a:gd name="connsiteY89" fmla="*/ 1659017 h 6443216"/>
              <a:gd name="connsiteX90" fmla="*/ 7282789 w 8636594"/>
              <a:gd name="connsiteY90" fmla="*/ 1574303 h 6443216"/>
              <a:gd name="connsiteX91" fmla="*/ 7339643 w 8636594"/>
              <a:gd name="connsiteY91" fmla="*/ 1490113 h 6443216"/>
              <a:gd name="connsiteX92" fmla="*/ 7396957 w 8636594"/>
              <a:gd name="connsiteY92" fmla="*/ 1406503 h 6443216"/>
              <a:gd name="connsiteX93" fmla="*/ 7454781 w 8636594"/>
              <a:gd name="connsiteY93" fmla="*/ 1323526 h 6443216"/>
              <a:gd name="connsiteX94" fmla="*/ 7513161 w 8636594"/>
              <a:gd name="connsiteY94" fmla="*/ 1241237 h 6443216"/>
              <a:gd name="connsiteX95" fmla="*/ 7572144 w 8636594"/>
              <a:gd name="connsiteY95" fmla="*/ 1159689 h 6443216"/>
              <a:gd name="connsiteX96" fmla="*/ 7601877 w 8636594"/>
              <a:gd name="connsiteY96" fmla="*/ 1119210 h 6443216"/>
              <a:gd name="connsiteX97" fmla="*/ 7631779 w 8636594"/>
              <a:gd name="connsiteY97" fmla="*/ 1078937 h 6443216"/>
              <a:gd name="connsiteX98" fmla="*/ 7661855 w 8636594"/>
              <a:gd name="connsiteY98" fmla="*/ 1038876 h 6443216"/>
              <a:gd name="connsiteX99" fmla="*/ 7692111 w 8636594"/>
              <a:gd name="connsiteY99" fmla="*/ 999035 h 6443216"/>
              <a:gd name="connsiteX100" fmla="*/ 7722554 w 8636594"/>
              <a:gd name="connsiteY100" fmla="*/ 959419 h 6443216"/>
              <a:gd name="connsiteX101" fmla="*/ 7753190 w 8636594"/>
              <a:gd name="connsiteY101" fmla="*/ 920037 h 6443216"/>
              <a:gd name="connsiteX102" fmla="*/ 7784023 w 8636594"/>
              <a:gd name="connsiteY102" fmla="*/ 880894 h 6443216"/>
              <a:gd name="connsiteX103" fmla="*/ 7815061 w 8636594"/>
              <a:gd name="connsiteY103" fmla="*/ 841997 h 6443216"/>
              <a:gd name="connsiteX104" fmla="*/ 7846308 w 8636594"/>
              <a:gd name="connsiteY104" fmla="*/ 803354 h 6443216"/>
              <a:gd name="connsiteX105" fmla="*/ 7877772 w 8636594"/>
              <a:gd name="connsiteY105" fmla="*/ 764970 h 6443216"/>
              <a:gd name="connsiteX106" fmla="*/ 7909458 w 8636594"/>
              <a:gd name="connsiteY106" fmla="*/ 726853 h 6443216"/>
              <a:gd name="connsiteX107" fmla="*/ 7941371 w 8636594"/>
              <a:gd name="connsiteY107" fmla="*/ 689010 h 6443216"/>
              <a:gd name="connsiteX108" fmla="*/ 7973518 w 8636594"/>
              <a:gd name="connsiteY108" fmla="*/ 651447 h 6443216"/>
              <a:gd name="connsiteX109" fmla="*/ 8005905 w 8636594"/>
              <a:gd name="connsiteY109" fmla="*/ 614171 h 6443216"/>
              <a:gd name="connsiteX110" fmla="*/ 8038538 w 8636594"/>
              <a:gd name="connsiteY110" fmla="*/ 577189 h 6443216"/>
              <a:gd name="connsiteX111" fmla="*/ 8071421 w 8636594"/>
              <a:gd name="connsiteY111" fmla="*/ 540507 h 6443216"/>
              <a:gd name="connsiteX112" fmla="*/ 8104563 w 8636594"/>
              <a:gd name="connsiteY112" fmla="*/ 504132 h 6443216"/>
              <a:gd name="connsiteX113" fmla="*/ 8137967 w 8636594"/>
              <a:gd name="connsiteY113" fmla="*/ 468072 h 6443216"/>
              <a:gd name="connsiteX114" fmla="*/ 8171641 w 8636594"/>
              <a:gd name="connsiteY114" fmla="*/ 432332 h 6443216"/>
              <a:gd name="connsiteX115" fmla="*/ 8205590 w 8636594"/>
              <a:gd name="connsiteY115" fmla="*/ 396920 h 6443216"/>
              <a:gd name="connsiteX116" fmla="*/ 8239820 w 8636594"/>
              <a:gd name="connsiteY116" fmla="*/ 361843 h 6443216"/>
              <a:gd name="connsiteX117" fmla="*/ 8274337 w 8636594"/>
              <a:gd name="connsiteY117" fmla="*/ 327107 h 6443216"/>
              <a:gd name="connsiteX118" fmla="*/ 8309147 w 8636594"/>
              <a:gd name="connsiteY118" fmla="*/ 292718 h 6443216"/>
              <a:gd name="connsiteX119" fmla="*/ 8344256 w 8636594"/>
              <a:gd name="connsiteY119" fmla="*/ 258685 h 6443216"/>
              <a:gd name="connsiteX120" fmla="*/ 8379669 w 8636594"/>
              <a:gd name="connsiteY120" fmla="*/ 225013 h 6443216"/>
              <a:gd name="connsiteX121" fmla="*/ 8415394 w 8636594"/>
              <a:gd name="connsiteY121" fmla="*/ 191709 h 6443216"/>
              <a:gd name="connsiteX122" fmla="*/ 8451434 w 8636594"/>
              <a:gd name="connsiteY122" fmla="*/ 158780 h 6443216"/>
              <a:gd name="connsiteX123" fmla="*/ 8487798 w 8636594"/>
              <a:gd name="connsiteY123" fmla="*/ 126233 h 6443216"/>
              <a:gd name="connsiteX124" fmla="*/ 8524489 w 8636594"/>
              <a:gd name="connsiteY124" fmla="*/ 94075 h 6443216"/>
              <a:gd name="connsiteX125" fmla="*/ 8561515 w 8636594"/>
              <a:gd name="connsiteY125" fmla="*/ 62312 h 6443216"/>
              <a:gd name="connsiteX126" fmla="*/ 8598881 w 8636594"/>
              <a:gd name="connsiteY126" fmla="*/ 30951 h 6443216"/>
              <a:gd name="connsiteX127" fmla="*/ 8636594 w 8636594"/>
              <a:gd name="connsiteY127" fmla="*/ 0 h 6443216"/>
              <a:gd name="connsiteX0" fmla="*/ 8636594 w 8636594"/>
              <a:gd name="connsiteY0" fmla="*/ 0 h 6427305"/>
              <a:gd name="connsiteX1" fmla="*/ 5293 w 8636594"/>
              <a:gd name="connsiteY1" fmla="*/ 0 h 6427305"/>
              <a:gd name="connsiteX2" fmla="*/ 0 w 8636594"/>
              <a:gd name="connsiteY2" fmla="*/ 5587843 h 6427305"/>
              <a:gd name="connsiteX3" fmla="*/ 1594033 w 8636594"/>
              <a:gd name="connsiteY3" fmla="*/ 5600057 h 6427305"/>
              <a:gd name="connsiteX4" fmla="*/ 1686068 w 8636594"/>
              <a:gd name="connsiteY4" fmla="*/ 5599745 h 6427305"/>
              <a:gd name="connsiteX5" fmla="*/ 2897488 w 8636594"/>
              <a:gd name="connsiteY5" fmla="*/ 6427305 h 6427305"/>
              <a:gd name="connsiteX6" fmla="*/ 2947923 w 8636594"/>
              <a:gd name="connsiteY6" fmla="*/ 6411004 h 6427305"/>
              <a:gd name="connsiteX7" fmla="*/ 2997775 w 8636594"/>
              <a:gd name="connsiteY7" fmla="*/ 6394316 h 6427305"/>
              <a:gd name="connsiteX8" fmla="*/ 3047052 w 8636594"/>
              <a:gd name="connsiteY8" fmla="*/ 6377243 h 6427305"/>
              <a:gd name="connsiteX9" fmla="*/ 3095759 w 8636594"/>
              <a:gd name="connsiteY9" fmla="*/ 6359791 h 6427305"/>
              <a:gd name="connsiteX10" fmla="*/ 3143903 w 8636594"/>
              <a:gd name="connsiteY10" fmla="*/ 6341961 h 6427305"/>
              <a:gd name="connsiteX11" fmla="*/ 3191491 w 8636594"/>
              <a:gd name="connsiteY11" fmla="*/ 6323757 h 6427305"/>
              <a:gd name="connsiteX12" fmla="*/ 3238528 w 8636594"/>
              <a:gd name="connsiteY12" fmla="*/ 6305184 h 6427305"/>
              <a:gd name="connsiteX13" fmla="*/ 3285021 w 8636594"/>
              <a:gd name="connsiteY13" fmla="*/ 6286245 h 6427305"/>
              <a:gd name="connsiteX14" fmla="*/ 3330977 w 8636594"/>
              <a:gd name="connsiteY14" fmla="*/ 6266942 h 6427305"/>
              <a:gd name="connsiteX15" fmla="*/ 3376401 w 8636594"/>
              <a:gd name="connsiteY15" fmla="*/ 6247281 h 6427305"/>
              <a:gd name="connsiteX16" fmla="*/ 3421300 w 8636594"/>
              <a:gd name="connsiteY16" fmla="*/ 6227263 h 6427305"/>
              <a:gd name="connsiteX17" fmla="*/ 3465680 w 8636594"/>
              <a:gd name="connsiteY17" fmla="*/ 6206893 h 6427305"/>
              <a:gd name="connsiteX18" fmla="*/ 3509548 w 8636594"/>
              <a:gd name="connsiteY18" fmla="*/ 6186174 h 6427305"/>
              <a:gd name="connsiteX19" fmla="*/ 3552910 w 8636594"/>
              <a:gd name="connsiteY19" fmla="*/ 6165110 h 6427305"/>
              <a:gd name="connsiteX20" fmla="*/ 3595773 w 8636594"/>
              <a:gd name="connsiteY20" fmla="*/ 6143704 h 6427305"/>
              <a:gd name="connsiteX21" fmla="*/ 3638142 w 8636594"/>
              <a:gd name="connsiteY21" fmla="*/ 6121960 h 6427305"/>
              <a:gd name="connsiteX22" fmla="*/ 3680024 w 8636594"/>
              <a:gd name="connsiteY22" fmla="*/ 6099881 h 6427305"/>
              <a:gd name="connsiteX23" fmla="*/ 3721426 w 8636594"/>
              <a:gd name="connsiteY23" fmla="*/ 6077471 h 6427305"/>
              <a:gd name="connsiteX24" fmla="*/ 3762353 w 8636594"/>
              <a:gd name="connsiteY24" fmla="*/ 6054733 h 6427305"/>
              <a:gd name="connsiteX25" fmla="*/ 3802812 w 8636594"/>
              <a:gd name="connsiteY25" fmla="*/ 6031671 h 6427305"/>
              <a:gd name="connsiteX26" fmla="*/ 3842810 w 8636594"/>
              <a:gd name="connsiteY26" fmla="*/ 6008288 h 6427305"/>
              <a:gd name="connsiteX27" fmla="*/ 3882352 w 8636594"/>
              <a:gd name="connsiteY27" fmla="*/ 5984588 h 6427305"/>
              <a:gd name="connsiteX28" fmla="*/ 3921445 w 8636594"/>
              <a:gd name="connsiteY28" fmla="*/ 5960574 h 6427305"/>
              <a:gd name="connsiteX29" fmla="*/ 3960096 w 8636594"/>
              <a:gd name="connsiteY29" fmla="*/ 5936250 h 6427305"/>
              <a:gd name="connsiteX30" fmla="*/ 3998311 w 8636594"/>
              <a:gd name="connsiteY30" fmla="*/ 5911619 h 6427305"/>
              <a:gd name="connsiteX31" fmla="*/ 4036095 w 8636594"/>
              <a:gd name="connsiteY31" fmla="*/ 5886685 h 6427305"/>
              <a:gd name="connsiteX32" fmla="*/ 4073456 w 8636594"/>
              <a:gd name="connsiteY32" fmla="*/ 5861452 h 6427305"/>
              <a:gd name="connsiteX33" fmla="*/ 4110400 w 8636594"/>
              <a:gd name="connsiteY33" fmla="*/ 5835922 h 6427305"/>
              <a:gd name="connsiteX34" fmla="*/ 4146933 w 8636594"/>
              <a:gd name="connsiteY34" fmla="*/ 5810100 h 6427305"/>
              <a:gd name="connsiteX35" fmla="*/ 4183061 w 8636594"/>
              <a:gd name="connsiteY35" fmla="*/ 5783988 h 6427305"/>
              <a:gd name="connsiteX36" fmla="*/ 4218791 w 8636594"/>
              <a:gd name="connsiteY36" fmla="*/ 5757591 h 6427305"/>
              <a:gd name="connsiteX37" fmla="*/ 4254129 w 8636594"/>
              <a:gd name="connsiteY37" fmla="*/ 5730912 h 6427305"/>
              <a:gd name="connsiteX38" fmla="*/ 4289081 w 8636594"/>
              <a:gd name="connsiteY38" fmla="*/ 5703955 h 6427305"/>
              <a:gd name="connsiteX39" fmla="*/ 4323654 w 8636594"/>
              <a:gd name="connsiteY39" fmla="*/ 5676722 h 6427305"/>
              <a:gd name="connsiteX40" fmla="*/ 4357854 w 8636594"/>
              <a:gd name="connsiteY40" fmla="*/ 5649218 h 6427305"/>
              <a:gd name="connsiteX41" fmla="*/ 4391688 w 8636594"/>
              <a:gd name="connsiteY41" fmla="*/ 5621446 h 6427305"/>
              <a:gd name="connsiteX42" fmla="*/ 4425162 w 8636594"/>
              <a:gd name="connsiteY42" fmla="*/ 5593409 h 6427305"/>
              <a:gd name="connsiteX43" fmla="*/ 4458281 w 8636594"/>
              <a:gd name="connsiteY43" fmla="*/ 5565111 h 6427305"/>
              <a:gd name="connsiteX44" fmla="*/ 4491053 w 8636594"/>
              <a:gd name="connsiteY44" fmla="*/ 5536556 h 6427305"/>
              <a:gd name="connsiteX45" fmla="*/ 4523484 w 8636594"/>
              <a:gd name="connsiteY45" fmla="*/ 5507747 h 6427305"/>
              <a:gd name="connsiteX46" fmla="*/ 4555580 w 8636594"/>
              <a:gd name="connsiteY46" fmla="*/ 5478687 h 6427305"/>
              <a:gd name="connsiteX47" fmla="*/ 4587347 w 8636594"/>
              <a:gd name="connsiteY47" fmla="*/ 5449380 h 6427305"/>
              <a:gd name="connsiteX48" fmla="*/ 4618793 w 8636594"/>
              <a:gd name="connsiteY48" fmla="*/ 5419830 h 6427305"/>
              <a:gd name="connsiteX49" fmla="*/ 4649922 w 8636594"/>
              <a:gd name="connsiteY49" fmla="*/ 5390040 h 6427305"/>
              <a:gd name="connsiteX50" fmla="*/ 4680742 w 8636594"/>
              <a:gd name="connsiteY50" fmla="*/ 5360014 h 6427305"/>
              <a:gd name="connsiteX51" fmla="*/ 4711259 w 8636594"/>
              <a:gd name="connsiteY51" fmla="*/ 5329755 h 6427305"/>
              <a:gd name="connsiteX52" fmla="*/ 4741478 w 8636594"/>
              <a:gd name="connsiteY52" fmla="*/ 5299266 h 6427305"/>
              <a:gd name="connsiteX53" fmla="*/ 4771408 w 8636594"/>
              <a:gd name="connsiteY53" fmla="*/ 5268551 h 6427305"/>
              <a:gd name="connsiteX54" fmla="*/ 4801053 w 8636594"/>
              <a:gd name="connsiteY54" fmla="*/ 5237614 h 6427305"/>
              <a:gd name="connsiteX55" fmla="*/ 4830420 w 8636594"/>
              <a:gd name="connsiteY55" fmla="*/ 5206458 h 6427305"/>
              <a:gd name="connsiteX56" fmla="*/ 4859516 w 8636594"/>
              <a:gd name="connsiteY56" fmla="*/ 5175087 h 6427305"/>
              <a:gd name="connsiteX57" fmla="*/ 4888347 w 8636594"/>
              <a:gd name="connsiteY57" fmla="*/ 5143504 h 6427305"/>
              <a:gd name="connsiteX58" fmla="*/ 4916919 w 8636594"/>
              <a:gd name="connsiteY58" fmla="*/ 5111713 h 6427305"/>
              <a:gd name="connsiteX59" fmla="*/ 4945238 w 8636594"/>
              <a:gd name="connsiteY59" fmla="*/ 5079717 h 6427305"/>
              <a:gd name="connsiteX60" fmla="*/ 4973311 w 8636594"/>
              <a:gd name="connsiteY60" fmla="*/ 5047519 h 6427305"/>
              <a:gd name="connsiteX61" fmla="*/ 5001145 w 8636594"/>
              <a:gd name="connsiteY61" fmla="*/ 5015124 h 6427305"/>
              <a:gd name="connsiteX62" fmla="*/ 5028745 w 8636594"/>
              <a:gd name="connsiteY62" fmla="*/ 4982535 h 6427305"/>
              <a:gd name="connsiteX63" fmla="*/ 5056117 w 8636594"/>
              <a:gd name="connsiteY63" fmla="*/ 4949755 h 6427305"/>
              <a:gd name="connsiteX64" fmla="*/ 5083269 w 8636594"/>
              <a:gd name="connsiteY64" fmla="*/ 4916787 h 6427305"/>
              <a:gd name="connsiteX65" fmla="*/ 5110207 w 8636594"/>
              <a:gd name="connsiteY65" fmla="*/ 4883636 h 6427305"/>
              <a:gd name="connsiteX66" fmla="*/ 5136937 w 8636594"/>
              <a:gd name="connsiteY66" fmla="*/ 4850305 h 6427305"/>
              <a:gd name="connsiteX67" fmla="*/ 5163464 w 8636594"/>
              <a:gd name="connsiteY67" fmla="*/ 4816797 h 6427305"/>
              <a:gd name="connsiteX68" fmla="*/ 5215940 w 8636594"/>
              <a:gd name="connsiteY68" fmla="*/ 4749265 h 6427305"/>
              <a:gd name="connsiteX69" fmla="*/ 5267684 w 8636594"/>
              <a:gd name="connsiteY69" fmla="*/ 4681068 h 6427305"/>
              <a:gd name="connsiteX70" fmla="*/ 5318748 w 8636594"/>
              <a:gd name="connsiteY70" fmla="*/ 4612234 h 6427305"/>
              <a:gd name="connsiteX71" fmla="*/ 5369182 w 8636594"/>
              <a:gd name="connsiteY71" fmla="*/ 4542793 h 6427305"/>
              <a:gd name="connsiteX72" fmla="*/ 5419038 w 8636594"/>
              <a:gd name="connsiteY72" fmla="*/ 4472771 h 6427305"/>
              <a:gd name="connsiteX73" fmla="*/ 5468365 w 8636594"/>
              <a:gd name="connsiteY73" fmla="*/ 4402196 h 6427305"/>
              <a:gd name="connsiteX74" fmla="*/ 5517215 w 8636594"/>
              <a:gd name="connsiteY74" fmla="*/ 4331098 h 6427305"/>
              <a:gd name="connsiteX75" fmla="*/ 5565637 w 8636594"/>
              <a:gd name="connsiteY75" fmla="*/ 4259503 h 6427305"/>
              <a:gd name="connsiteX76" fmla="*/ 5613684 w 8636594"/>
              <a:gd name="connsiteY76" fmla="*/ 4187441 h 6427305"/>
              <a:gd name="connsiteX77" fmla="*/ 5685160 w 8636594"/>
              <a:gd name="connsiteY77" fmla="*/ 4078531 h 6427305"/>
              <a:gd name="connsiteX78" fmla="*/ 5756074 w 8636594"/>
              <a:gd name="connsiteY78" fmla="*/ 3968727 h 6427305"/>
              <a:gd name="connsiteX79" fmla="*/ 5873483 w 8636594"/>
              <a:gd name="connsiteY79" fmla="*/ 3783989 h 6427305"/>
              <a:gd name="connsiteX80" fmla="*/ 6203209 w 8636594"/>
              <a:gd name="connsiteY80" fmla="*/ 3258640 h 6427305"/>
              <a:gd name="connsiteX81" fmla="*/ 6299430 w 8636594"/>
              <a:gd name="connsiteY81" fmla="*/ 3107321 h 6427305"/>
              <a:gd name="connsiteX82" fmla="*/ 6372650 w 8636594"/>
              <a:gd name="connsiteY82" fmla="*/ 2993735 h 6427305"/>
              <a:gd name="connsiteX83" fmla="*/ 6453197 w 8636594"/>
              <a:gd name="connsiteY83" fmla="*/ 2869788 h 6427305"/>
              <a:gd name="connsiteX84" fmla="*/ 6564167 w 8636594"/>
              <a:gd name="connsiteY84" fmla="*/ 2696807 h 6427305"/>
              <a:gd name="connsiteX85" fmla="*/ 6976233 w 8636594"/>
              <a:gd name="connsiteY85" fmla="*/ 2045274 h 6427305"/>
              <a:gd name="connsiteX86" fmla="*/ 7086755 w 8636594"/>
              <a:gd name="connsiteY86" fmla="*/ 1872743 h 6427305"/>
              <a:gd name="connsiteX87" fmla="*/ 7170279 w 8636594"/>
              <a:gd name="connsiteY87" fmla="*/ 1744202 h 6427305"/>
              <a:gd name="connsiteX88" fmla="*/ 7226351 w 8636594"/>
              <a:gd name="connsiteY88" fmla="*/ 1659017 h 6427305"/>
              <a:gd name="connsiteX89" fmla="*/ 7282789 w 8636594"/>
              <a:gd name="connsiteY89" fmla="*/ 1574303 h 6427305"/>
              <a:gd name="connsiteX90" fmla="*/ 7339643 w 8636594"/>
              <a:gd name="connsiteY90" fmla="*/ 1490113 h 6427305"/>
              <a:gd name="connsiteX91" fmla="*/ 7396957 w 8636594"/>
              <a:gd name="connsiteY91" fmla="*/ 1406503 h 6427305"/>
              <a:gd name="connsiteX92" fmla="*/ 7454781 w 8636594"/>
              <a:gd name="connsiteY92" fmla="*/ 1323526 h 6427305"/>
              <a:gd name="connsiteX93" fmla="*/ 7513161 w 8636594"/>
              <a:gd name="connsiteY93" fmla="*/ 1241237 h 6427305"/>
              <a:gd name="connsiteX94" fmla="*/ 7572144 w 8636594"/>
              <a:gd name="connsiteY94" fmla="*/ 1159689 h 6427305"/>
              <a:gd name="connsiteX95" fmla="*/ 7601877 w 8636594"/>
              <a:gd name="connsiteY95" fmla="*/ 1119210 h 6427305"/>
              <a:gd name="connsiteX96" fmla="*/ 7631779 w 8636594"/>
              <a:gd name="connsiteY96" fmla="*/ 1078937 h 6427305"/>
              <a:gd name="connsiteX97" fmla="*/ 7661855 w 8636594"/>
              <a:gd name="connsiteY97" fmla="*/ 1038876 h 6427305"/>
              <a:gd name="connsiteX98" fmla="*/ 7692111 w 8636594"/>
              <a:gd name="connsiteY98" fmla="*/ 999035 h 6427305"/>
              <a:gd name="connsiteX99" fmla="*/ 7722554 w 8636594"/>
              <a:gd name="connsiteY99" fmla="*/ 959419 h 6427305"/>
              <a:gd name="connsiteX100" fmla="*/ 7753190 w 8636594"/>
              <a:gd name="connsiteY100" fmla="*/ 920037 h 6427305"/>
              <a:gd name="connsiteX101" fmla="*/ 7784023 w 8636594"/>
              <a:gd name="connsiteY101" fmla="*/ 880894 h 6427305"/>
              <a:gd name="connsiteX102" fmla="*/ 7815061 w 8636594"/>
              <a:gd name="connsiteY102" fmla="*/ 841997 h 6427305"/>
              <a:gd name="connsiteX103" fmla="*/ 7846308 w 8636594"/>
              <a:gd name="connsiteY103" fmla="*/ 803354 h 6427305"/>
              <a:gd name="connsiteX104" fmla="*/ 7877772 w 8636594"/>
              <a:gd name="connsiteY104" fmla="*/ 764970 h 6427305"/>
              <a:gd name="connsiteX105" fmla="*/ 7909458 w 8636594"/>
              <a:gd name="connsiteY105" fmla="*/ 726853 h 6427305"/>
              <a:gd name="connsiteX106" fmla="*/ 7941371 w 8636594"/>
              <a:gd name="connsiteY106" fmla="*/ 689010 h 6427305"/>
              <a:gd name="connsiteX107" fmla="*/ 7973518 w 8636594"/>
              <a:gd name="connsiteY107" fmla="*/ 651447 h 6427305"/>
              <a:gd name="connsiteX108" fmla="*/ 8005905 w 8636594"/>
              <a:gd name="connsiteY108" fmla="*/ 614171 h 6427305"/>
              <a:gd name="connsiteX109" fmla="*/ 8038538 w 8636594"/>
              <a:gd name="connsiteY109" fmla="*/ 577189 h 6427305"/>
              <a:gd name="connsiteX110" fmla="*/ 8071421 w 8636594"/>
              <a:gd name="connsiteY110" fmla="*/ 540507 h 6427305"/>
              <a:gd name="connsiteX111" fmla="*/ 8104563 w 8636594"/>
              <a:gd name="connsiteY111" fmla="*/ 504132 h 6427305"/>
              <a:gd name="connsiteX112" fmla="*/ 8137967 w 8636594"/>
              <a:gd name="connsiteY112" fmla="*/ 468072 h 6427305"/>
              <a:gd name="connsiteX113" fmla="*/ 8171641 w 8636594"/>
              <a:gd name="connsiteY113" fmla="*/ 432332 h 6427305"/>
              <a:gd name="connsiteX114" fmla="*/ 8205590 w 8636594"/>
              <a:gd name="connsiteY114" fmla="*/ 396920 h 6427305"/>
              <a:gd name="connsiteX115" fmla="*/ 8239820 w 8636594"/>
              <a:gd name="connsiteY115" fmla="*/ 361843 h 6427305"/>
              <a:gd name="connsiteX116" fmla="*/ 8274337 w 8636594"/>
              <a:gd name="connsiteY116" fmla="*/ 327107 h 6427305"/>
              <a:gd name="connsiteX117" fmla="*/ 8309147 w 8636594"/>
              <a:gd name="connsiteY117" fmla="*/ 292718 h 6427305"/>
              <a:gd name="connsiteX118" fmla="*/ 8344256 w 8636594"/>
              <a:gd name="connsiteY118" fmla="*/ 258685 h 6427305"/>
              <a:gd name="connsiteX119" fmla="*/ 8379669 w 8636594"/>
              <a:gd name="connsiteY119" fmla="*/ 225013 h 6427305"/>
              <a:gd name="connsiteX120" fmla="*/ 8415394 w 8636594"/>
              <a:gd name="connsiteY120" fmla="*/ 191709 h 6427305"/>
              <a:gd name="connsiteX121" fmla="*/ 8451434 w 8636594"/>
              <a:gd name="connsiteY121" fmla="*/ 158780 h 6427305"/>
              <a:gd name="connsiteX122" fmla="*/ 8487798 w 8636594"/>
              <a:gd name="connsiteY122" fmla="*/ 126233 h 6427305"/>
              <a:gd name="connsiteX123" fmla="*/ 8524489 w 8636594"/>
              <a:gd name="connsiteY123" fmla="*/ 94075 h 6427305"/>
              <a:gd name="connsiteX124" fmla="*/ 8561515 w 8636594"/>
              <a:gd name="connsiteY124" fmla="*/ 62312 h 6427305"/>
              <a:gd name="connsiteX125" fmla="*/ 8598881 w 8636594"/>
              <a:gd name="connsiteY125" fmla="*/ 30951 h 6427305"/>
              <a:gd name="connsiteX126" fmla="*/ 8636594 w 8636594"/>
              <a:gd name="connsiteY126" fmla="*/ 0 h 6427305"/>
              <a:gd name="connsiteX0" fmla="*/ 8636594 w 8636594"/>
              <a:gd name="connsiteY0" fmla="*/ 0 h 6411004"/>
              <a:gd name="connsiteX1" fmla="*/ 5293 w 8636594"/>
              <a:gd name="connsiteY1" fmla="*/ 0 h 6411004"/>
              <a:gd name="connsiteX2" fmla="*/ 0 w 8636594"/>
              <a:gd name="connsiteY2" fmla="*/ 5587843 h 6411004"/>
              <a:gd name="connsiteX3" fmla="*/ 1594033 w 8636594"/>
              <a:gd name="connsiteY3" fmla="*/ 5600057 h 6411004"/>
              <a:gd name="connsiteX4" fmla="*/ 1686068 w 8636594"/>
              <a:gd name="connsiteY4" fmla="*/ 5599745 h 6411004"/>
              <a:gd name="connsiteX5" fmla="*/ 2947923 w 8636594"/>
              <a:gd name="connsiteY5" fmla="*/ 6411004 h 6411004"/>
              <a:gd name="connsiteX6" fmla="*/ 2997775 w 8636594"/>
              <a:gd name="connsiteY6" fmla="*/ 6394316 h 6411004"/>
              <a:gd name="connsiteX7" fmla="*/ 3047052 w 8636594"/>
              <a:gd name="connsiteY7" fmla="*/ 6377243 h 6411004"/>
              <a:gd name="connsiteX8" fmla="*/ 3095759 w 8636594"/>
              <a:gd name="connsiteY8" fmla="*/ 6359791 h 6411004"/>
              <a:gd name="connsiteX9" fmla="*/ 3143903 w 8636594"/>
              <a:gd name="connsiteY9" fmla="*/ 6341961 h 6411004"/>
              <a:gd name="connsiteX10" fmla="*/ 3191491 w 8636594"/>
              <a:gd name="connsiteY10" fmla="*/ 6323757 h 6411004"/>
              <a:gd name="connsiteX11" fmla="*/ 3238528 w 8636594"/>
              <a:gd name="connsiteY11" fmla="*/ 6305184 h 6411004"/>
              <a:gd name="connsiteX12" fmla="*/ 3285021 w 8636594"/>
              <a:gd name="connsiteY12" fmla="*/ 6286245 h 6411004"/>
              <a:gd name="connsiteX13" fmla="*/ 3330977 w 8636594"/>
              <a:gd name="connsiteY13" fmla="*/ 6266942 h 6411004"/>
              <a:gd name="connsiteX14" fmla="*/ 3376401 w 8636594"/>
              <a:gd name="connsiteY14" fmla="*/ 6247281 h 6411004"/>
              <a:gd name="connsiteX15" fmla="*/ 3421300 w 8636594"/>
              <a:gd name="connsiteY15" fmla="*/ 6227263 h 6411004"/>
              <a:gd name="connsiteX16" fmla="*/ 3465680 w 8636594"/>
              <a:gd name="connsiteY16" fmla="*/ 6206893 h 6411004"/>
              <a:gd name="connsiteX17" fmla="*/ 3509548 w 8636594"/>
              <a:gd name="connsiteY17" fmla="*/ 6186174 h 6411004"/>
              <a:gd name="connsiteX18" fmla="*/ 3552910 w 8636594"/>
              <a:gd name="connsiteY18" fmla="*/ 6165110 h 6411004"/>
              <a:gd name="connsiteX19" fmla="*/ 3595773 w 8636594"/>
              <a:gd name="connsiteY19" fmla="*/ 6143704 h 6411004"/>
              <a:gd name="connsiteX20" fmla="*/ 3638142 w 8636594"/>
              <a:gd name="connsiteY20" fmla="*/ 6121960 h 6411004"/>
              <a:gd name="connsiteX21" fmla="*/ 3680024 w 8636594"/>
              <a:gd name="connsiteY21" fmla="*/ 6099881 h 6411004"/>
              <a:gd name="connsiteX22" fmla="*/ 3721426 w 8636594"/>
              <a:gd name="connsiteY22" fmla="*/ 6077471 h 6411004"/>
              <a:gd name="connsiteX23" fmla="*/ 3762353 w 8636594"/>
              <a:gd name="connsiteY23" fmla="*/ 6054733 h 6411004"/>
              <a:gd name="connsiteX24" fmla="*/ 3802812 w 8636594"/>
              <a:gd name="connsiteY24" fmla="*/ 6031671 h 6411004"/>
              <a:gd name="connsiteX25" fmla="*/ 3842810 w 8636594"/>
              <a:gd name="connsiteY25" fmla="*/ 6008288 h 6411004"/>
              <a:gd name="connsiteX26" fmla="*/ 3882352 w 8636594"/>
              <a:gd name="connsiteY26" fmla="*/ 5984588 h 6411004"/>
              <a:gd name="connsiteX27" fmla="*/ 3921445 w 8636594"/>
              <a:gd name="connsiteY27" fmla="*/ 5960574 h 6411004"/>
              <a:gd name="connsiteX28" fmla="*/ 3960096 w 8636594"/>
              <a:gd name="connsiteY28" fmla="*/ 5936250 h 6411004"/>
              <a:gd name="connsiteX29" fmla="*/ 3998311 w 8636594"/>
              <a:gd name="connsiteY29" fmla="*/ 5911619 h 6411004"/>
              <a:gd name="connsiteX30" fmla="*/ 4036095 w 8636594"/>
              <a:gd name="connsiteY30" fmla="*/ 5886685 h 6411004"/>
              <a:gd name="connsiteX31" fmla="*/ 4073456 w 8636594"/>
              <a:gd name="connsiteY31" fmla="*/ 5861452 h 6411004"/>
              <a:gd name="connsiteX32" fmla="*/ 4110400 w 8636594"/>
              <a:gd name="connsiteY32" fmla="*/ 5835922 h 6411004"/>
              <a:gd name="connsiteX33" fmla="*/ 4146933 w 8636594"/>
              <a:gd name="connsiteY33" fmla="*/ 5810100 h 6411004"/>
              <a:gd name="connsiteX34" fmla="*/ 4183061 w 8636594"/>
              <a:gd name="connsiteY34" fmla="*/ 5783988 h 6411004"/>
              <a:gd name="connsiteX35" fmla="*/ 4218791 w 8636594"/>
              <a:gd name="connsiteY35" fmla="*/ 5757591 h 6411004"/>
              <a:gd name="connsiteX36" fmla="*/ 4254129 w 8636594"/>
              <a:gd name="connsiteY36" fmla="*/ 5730912 h 6411004"/>
              <a:gd name="connsiteX37" fmla="*/ 4289081 w 8636594"/>
              <a:gd name="connsiteY37" fmla="*/ 5703955 h 6411004"/>
              <a:gd name="connsiteX38" fmla="*/ 4323654 w 8636594"/>
              <a:gd name="connsiteY38" fmla="*/ 5676722 h 6411004"/>
              <a:gd name="connsiteX39" fmla="*/ 4357854 w 8636594"/>
              <a:gd name="connsiteY39" fmla="*/ 5649218 h 6411004"/>
              <a:gd name="connsiteX40" fmla="*/ 4391688 w 8636594"/>
              <a:gd name="connsiteY40" fmla="*/ 5621446 h 6411004"/>
              <a:gd name="connsiteX41" fmla="*/ 4425162 w 8636594"/>
              <a:gd name="connsiteY41" fmla="*/ 5593409 h 6411004"/>
              <a:gd name="connsiteX42" fmla="*/ 4458281 w 8636594"/>
              <a:gd name="connsiteY42" fmla="*/ 5565111 h 6411004"/>
              <a:gd name="connsiteX43" fmla="*/ 4491053 w 8636594"/>
              <a:gd name="connsiteY43" fmla="*/ 5536556 h 6411004"/>
              <a:gd name="connsiteX44" fmla="*/ 4523484 w 8636594"/>
              <a:gd name="connsiteY44" fmla="*/ 5507747 h 6411004"/>
              <a:gd name="connsiteX45" fmla="*/ 4555580 w 8636594"/>
              <a:gd name="connsiteY45" fmla="*/ 5478687 h 6411004"/>
              <a:gd name="connsiteX46" fmla="*/ 4587347 w 8636594"/>
              <a:gd name="connsiteY46" fmla="*/ 5449380 h 6411004"/>
              <a:gd name="connsiteX47" fmla="*/ 4618793 w 8636594"/>
              <a:gd name="connsiteY47" fmla="*/ 5419830 h 6411004"/>
              <a:gd name="connsiteX48" fmla="*/ 4649922 w 8636594"/>
              <a:gd name="connsiteY48" fmla="*/ 5390040 h 6411004"/>
              <a:gd name="connsiteX49" fmla="*/ 4680742 w 8636594"/>
              <a:gd name="connsiteY49" fmla="*/ 5360014 h 6411004"/>
              <a:gd name="connsiteX50" fmla="*/ 4711259 w 8636594"/>
              <a:gd name="connsiteY50" fmla="*/ 5329755 h 6411004"/>
              <a:gd name="connsiteX51" fmla="*/ 4741478 w 8636594"/>
              <a:gd name="connsiteY51" fmla="*/ 5299266 h 6411004"/>
              <a:gd name="connsiteX52" fmla="*/ 4771408 w 8636594"/>
              <a:gd name="connsiteY52" fmla="*/ 5268551 h 6411004"/>
              <a:gd name="connsiteX53" fmla="*/ 4801053 w 8636594"/>
              <a:gd name="connsiteY53" fmla="*/ 5237614 h 6411004"/>
              <a:gd name="connsiteX54" fmla="*/ 4830420 w 8636594"/>
              <a:gd name="connsiteY54" fmla="*/ 5206458 h 6411004"/>
              <a:gd name="connsiteX55" fmla="*/ 4859516 w 8636594"/>
              <a:gd name="connsiteY55" fmla="*/ 5175087 h 6411004"/>
              <a:gd name="connsiteX56" fmla="*/ 4888347 w 8636594"/>
              <a:gd name="connsiteY56" fmla="*/ 5143504 h 6411004"/>
              <a:gd name="connsiteX57" fmla="*/ 4916919 w 8636594"/>
              <a:gd name="connsiteY57" fmla="*/ 5111713 h 6411004"/>
              <a:gd name="connsiteX58" fmla="*/ 4945238 w 8636594"/>
              <a:gd name="connsiteY58" fmla="*/ 5079717 h 6411004"/>
              <a:gd name="connsiteX59" fmla="*/ 4973311 w 8636594"/>
              <a:gd name="connsiteY59" fmla="*/ 5047519 h 6411004"/>
              <a:gd name="connsiteX60" fmla="*/ 5001145 w 8636594"/>
              <a:gd name="connsiteY60" fmla="*/ 5015124 h 6411004"/>
              <a:gd name="connsiteX61" fmla="*/ 5028745 w 8636594"/>
              <a:gd name="connsiteY61" fmla="*/ 4982535 h 6411004"/>
              <a:gd name="connsiteX62" fmla="*/ 5056117 w 8636594"/>
              <a:gd name="connsiteY62" fmla="*/ 4949755 h 6411004"/>
              <a:gd name="connsiteX63" fmla="*/ 5083269 w 8636594"/>
              <a:gd name="connsiteY63" fmla="*/ 4916787 h 6411004"/>
              <a:gd name="connsiteX64" fmla="*/ 5110207 w 8636594"/>
              <a:gd name="connsiteY64" fmla="*/ 4883636 h 6411004"/>
              <a:gd name="connsiteX65" fmla="*/ 5136937 w 8636594"/>
              <a:gd name="connsiteY65" fmla="*/ 4850305 h 6411004"/>
              <a:gd name="connsiteX66" fmla="*/ 5163464 w 8636594"/>
              <a:gd name="connsiteY66" fmla="*/ 4816797 h 6411004"/>
              <a:gd name="connsiteX67" fmla="*/ 5215940 w 8636594"/>
              <a:gd name="connsiteY67" fmla="*/ 4749265 h 6411004"/>
              <a:gd name="connsiteX68" fmla="*/ 5267684 w 8636594"/>
              <a:gd name="connsiteY68" fmla="*/ 4681068 h 6411004"/>
              <a:gd name="connsiteX69" fmla="*/ 5318748 w 8636594"/>
              <a:gd name="connsiteY69" fmla="*/ 4612234 h 6411004"/>
              <a:gd name="connsiteX70" fmla="*/ 5369182 w 8636594"/>
              <a:gd name="connsiteY70" fmla="*/ 4542793 h 6411004"/>
              <a:gd name="connsiteX71" fmla="*/ 5419038 w 8636594"/>
              <a:gd name="connsiteY71" fmla="*/ 4472771 h 6411004"/>
              <a:gd name="connsiteX72" fmla="*/ 5468365 w 8636594"/>
              <a:gd name="connsiteY72" fmla="*/ 4402196 h 6411004"/>
              <a:gd name="connsiteX73" fmla="*/ 5517215 w 8636594"/>
              <a:gd name="connsiteY73" fmla="*/ 4331098 h 6411004"/>
              <a:gd name="connsiteX74" fmla="*/ 5565637 w 8636594"/>
              <a:gd name="connsiteY74" fmla="*/ 4259503 h 6411004"/>
              <a:gd name="connsiteX75" fmla="*/ 5613684 w 8636594"/>
              <a:gd name="connsiteY75" fmla="*/ 4187441 h 6411004"/>
              <a:gd name="connsiteX76" fmla="*/ 5685160 w 8636594"/>
              <a:gd name="connsiteY76" fmla="*/ 4078531 h 6411004"/>
              <a:gd name="connsiteX77" fmla="*/ 5756074 w 8636594"/>
              <a:gd name="connsiteY77" fmla="*/ 3968727 h 6411004"/>
              <a:gd name="connsiteX78" fmla="*/ 5873483 w 8636594"/>
              <a:gd name="connsiteY78" fmla="*/ 3783989 h 6411004"/>
              <a:gd name="connsiteX79" fmla="*/ 6203209 w 8636594"/>
              <a:gd name="connsiteY79" fmla="*/ 3258640 h 6411004"/>
              <a:gd name="connsiteX80" fmla="*/ 6299430 w 8636594"/>
              <a:gd name="connsiteY80" fmla="*/ 3107321 h 6411004"/>
              <a:gd name="connsiteX81" fmla="*/ 6372650 w 8636594"/>
              <a:gd name="connsiteY81" fmla="*/ 2993735 h 6411004"/>
              <a:gd name="connsiteX82" fmla="*/ 6453197 w 8636594"/>
              <a:gd name="connsiteY82" fmla="*/ 2869788 h 6411004"/>
              <a:gd name="connsiteX83" fmla="*/ 6564167 w 8636594"/>
              <a:gd name="connsiteY83" fmla="*/ 2696807 h 6411004"/>
              <a:gd name="connsiteX84" fmla="*/ 6976233 w 8636594"/>
              <a:gd name="connsiteY84" fmla="*/ 2045274 h 6411004"/>
              <a:gd name="connsiteX85" fmla="*/ 7086755 w 8636594"/>
              <a:gd name="connsiteY85" fmla="*/ 1872743 h 6411004"/>
              <a:gd name="connsiteX86" fmla="*/ 7170279 w 8636594"/>
              <a:gd name="connsiteY86" fmla="*/ 1744202 h 6411004"/>
              <a:gd name="connsiteX87" fmla="*/ 7226351 w 8636594"/>
              <a:gd name="connsiteY87" fmla="*/ 1659017 h 6411004"/>
              <a:gd name="connsiteX88" fmla="*/ 7282789 w 8636594"/>
              <a:gd name="connsiteY88" fmla="*/ 1574303 h 6411004"/>
              <a:gd name="connsiteX89" fmla="*/ 7339643 w 8636594"/>
              <a:gd name="connsiteY89" fmla="*/ 1490113 h 6411004"/>
              <a:gd name="connsiteX90" fmla="*/ 7396957 w 8636594"/>
              <a:gd name="connsiteY90" fmla="*/ 1406503 h 6411004"/>
              <a:gd name="connsiteX91" fmla="*/ 7454781 w 8636594"/>
              <a:gd name="connsiteY91" fmla="*/ 1323526 h 6411004"/>
              <a:gd name="connsiteX92" fmla="*/ 7513161 w 8636594"/>
              <a:gd name="connsiteY92" fmla="*/ 1241237 h 6411004"/>
              <a:gd name="connsiteX93" fmla="*/ 7572144 w 8636594"/>
              <a:gd name="connsiteY93" fmla="*/ 1159689 h 6411004"/>
              <a:gd name="connsiteX94" fmla="*/ 7601877 w 8636594"/>
              <a:gd name="connsiteY94" fmla="*/ 1119210 h 6411004"/>
              <a:gd name="connsiteX95" fmla="*/ 7631779 w 8636594"/>
              <a:gd name="connsiteY95" fmla="*/ 1078937 h 6411004"/>
              <a:gd name="connsiteX96" fmla="*/ 7661855 w 8636594"/>
              <a:gd name="connsiteY96" fmla="*/ 1038876 h 6411004"/>
              <a:gd name="connsiteX97" fmla="*/ 7692111 w 8636594"/>
              <a:gd name="connsiteY97" fmla="*/ 999035 h 6411004"/>
              <a:gd name="connsiteX98" fmla="*/ 7722554 w 8636594"/>
              <a:gd name="connsiteY98" fmla="*/ 959419 h 6411004"/>
              <a:gd name="connsiteX99" fmla="*/ 7753190 w 8636594"/>
              <a:gd name="connsiteY99" fmla="*/ 920037 h 6411004"/>
              <a:gd name="connsiteX100" fmla="*/ 7784023 w 8636594"/>
              <a:gd name="connsiteY100" fmla="*/ 880894 h 6411004"/>
              <a:gd name="connsiteX101" fmla="*/ 7815061 w 8636594"/>
              <a:gd name="connsiteY101" fmla="*/ 841997 h 6411004"/>
              <a:gd name="connsiteX102" fmla="*/ 7846308 w 8636594"/>
              <a:gd name="connsiteY102" fmla="*/ 803354 h 6411004"/>
              <a:gd name="connsiteX103" fmla="*/ 7877772 w 8636594"/>
              <a:gd name="connsiteY103" fmla="*/ 764970 h 6411004"/>
              <a:gd name="connsiteX104" fmla="*/ 7909458 w 8636594"/>
              <a:gd name="connsiteY104" fmla="*/ 726853 h 6411004"/>
              <a:gd name="connsiteX105" fmla="*/ 7941371 w 8636594"/>
              <a:gd name="connsiteY105" fmla="*/ 689010 h 6411004"/>
              <a:gd name="connsiteX106" fmla="*/ 7973518 w 8636594"/>
              <a:gd name="connsiteY106" fmla="*/ 651447 h 6411004"/>
              <a:gd name="connsiteX107" fmla="*/ 8005905 w 8636594"/>
              <a:gd name="connsiteY107" fmla="*/ 614171 h 6411004"/>
              <a:gd name="connsiteX108" fmla="*/ 8038538 w 8636594"/>
              <a:gd name="connsiteY108" fmla="*/ 577189 h 6411004"/>
              <a:gd name="connsiteX109" fmla="*/ 8071421 w 8636594"/>
              <a:gd name="connsiteY109" fmla="*/ 540507 h 6411004"/>
              <a:gd name="connsiteX110" fmla="*/ 8104563 w 8636594"/>
              <a:gd name="connsiteY110" fmla="*/ 504132 h 6411004"/>
              <a:gd name="connsiteX111" fmla="*/ 8137967 w 8636594"/>
              <a:gd name="connsiteY111" fmla="*/ 468072 h 6411004"/>
              <a:gd name="connsiteX112" fmla="*/ 8171641 w 8636594"/>
              <a:gd name="connsiteY112" fmla="*/ 432332 h 6411004"/>
              <a:gd name="connsiteX113" fmla="*/ 8205590 w 8636594"/>
              <a:gd name="connsiteY113" fmla="*/ 396920 h 6411004"/>
              <a:gd name="connsiteX114" fmla="*/ 8239820 w 8636594"/>
              <a:gd name="connsiteY114" fmla="*/ 361843 h 6411004"/>
              <a:gd name="connsiteX115" fmla="*/ 8274337 w 8636594"/>
              <a:gd name="connsiteY115" fmla="*/ 327107 h 6411004"/>
              <a:gd name="connsiteX116" fmla="*/ 8309147 w 8636594"/>
              <a:gd name="connsiteY116" fmla="*/ 292718 h 6411004"/>
              <a:gd name="connsiteX117" fmla="*/ 8344256 w 8636594"/>
              <a:gd name="connsiteY117" fmla="*/ 258685 h 6411004"/>
              <a:gd name="connsiteX118" fmla="*/ 8379669 w 8636594"/>
              <a:gd name="connsiteY118" fmla="*/ 225013 h 6411004"/>
              <a:gd name="connsiteX119" fmla="*/ 8415394 w 8636594"/>
              <a:gd name="connsiteY119" fmla="*/ 191709 h 6411004"/>
              <a:gd name="connsiteX120" fmla="*/ 8451434 w 8636594"/>
              <a:gd name="connsiteY120" fmla="*/ 158780 h 6411004"/>
              <a:gd name="connsiteX121" fmla="*/ 8487798 w 8636594"/>
              <a:gd name="connsiteY121" fmla="*/ 126233 h 6411004"/>
              <a:gd name="connsiteX122" fmla="*/ 8524489 w 8636594"/>
              <a:gd name="connsiteY122" fmla="*/ 94075 h 6411004"/>
              <a:gd name="connsiteX123" fmla="*/ 8561515 w 8636594"/>
              <a:gd name="connsiteY123" fmla="*/ 62312 h 6411004"/>
              <a:gd name="connsiteX124" fmla="*/ 8598881 w 8636594"/>
              <a:gd name="connsiteY124" fmla="*/ 30951 h 6411004"/>
              <a:gd name="connsiteX125" fmla="*/ 8636594 w 8636594"/>
              <a:gd name="connsiteY125" fmla="*/ 0 h 6411004"/>
              <a:gd name="connsiteX0" fmla="*/ 8636594 w 8636594"/>
              <a:gd name="connsiteY0" fmla="*/ 0 h 6394316"/>
              <a:gd name="connsiteX1" fmla="*/ 5293 w 8636594"/>
              <a:gd name="connsiteY1" fmla="*/ 0 h 6394316"/>
              <a:gd name="connsiteX2" fmla="*/ 0 w 8636594"/>
              <a:gd name="connsiteY2" fmla="*/ 5587843 h 6394316"/>
              <a:gd name="connsiteX3" fmla="*/ 1594033 w 8636594"/>
              <a:gd name="connsiteY3" fmla="*/ 5600057 h 6394316"/>
              <a:gd name="connsiteX4" fmla="*/ 1686068 w 8636594"/>
              <a:gd name="connsiteY4" fmla="*/ 5599745 h 6394316"/>
              <a:gd name="connsiteX5" fmla="*/ 2997775 w 8636594"/>
              <a:gd name="connsiteY5" fmla="*/ 6394316 h 6394316"/>
              <a:gd name="connsiteX6" fmla="*/ 3047052 w 8636594"/>
              <a:gd name="connsiteY6" fmla="*/ 6377243 h 6394316"/>
              <a:gd name="connsiteX7" fmla="*/ 3095759 w 8636594"/>
              <a:gd name="connsiteY7" fmla="*/ 6359791 h 6394316"/>
              <a:gd name="connsiteX8" fmla="*/ 3143903 w 8636594"/>
              <a:gd name="connsiteY8" fmla="*/ 6341961 h 6394316"/>
              <a:gd name="connsiteX9" fmla="*/ 3191491 w 8636594"/>
              <a:gd name="connsiteY9" fmla="*/ 6323757 h 6394316"/>
              <a:gd name="connsiteX10" fmla="*/ 3238528 w 8636594"/>
              <a:gd name="connsiteY10" fmla="*/ 6305184 h 6394316"/>
              <a:gd name="connsiteX11" fmla="*/ 3285021 w 8636594"/>
              <a:gd name="connsiteY11" fmla="*/ 6286245 h 6394316"/>
              <a:gd name="connsiteX12" fmla="*/ 3330977 w 8636594"/>
              <a:gd name="connsiteY12" fmla="*/ 6266942 h 6394316"/>
              <a:gd name="connsiteX13" fmla="*/ 3376401 w 8636594"/>
              <a:gd name="connsiteY13" fmla="*/ 6247281 h 6394316"/>
              <a:gd name="connsiteX14" fmla="*/ 3421300 w 8636594"/>
              <a:gd name="connsiteY14" fmla="*/ 6227263 h 6394316"/>
              <a:gd name="connsiteX15" fmla="*/ 3465680 w 8636594"/>
              <a:gd name="connsiteY15" fmla="*/ 6206893 h 6394316"/>
              <a:gd name="connsiteX16" fmla="*/ 3509548 w 8636594"/>
              <a:gd name="connsiteY16" fmla="*/ 6186174 h 6394316"/>
              <a:gd name="connsiteX17" fmla="*/ 3552910 w 8636594"/>
              <a:gd name="connsiteY17" fmla="*/ 6165110 h 6394316"/>
              <a:gd name="connsiteX18" fmla="*/ 3595773 w 8636594"/>
              <a:gd name="connsiteY18" fmla="*/ 6143704 h 6394316"/>
              <a:gd name="connsiteX19" fmla="*/ 3638142 w 8636594"/>
              <a:gd name="connsiteY19" fmla="*/ 6121960 h 6394316"/>
              <a:gd name="connsiteX20" fmla="*/ 3680024 w 8636594"/>
              <a:gd name="connsiteY20" fmla="*/ 6099881 h 6394316"/>
              <a:gd name="connsiteX21" fmla="*/ 3721426 w 8636594"/>
              <a:gd name="connsiteY21" fmla="*/ 6077471 h 6394316"/>
              <a:gd name="connsiteX22" fmla="*/ 3762353 w 8636594"/>
              <a:gd name="connsiteY22" fmla="*/ 6054733 h 6394316"/>
              <a:gd name="connsiteX23" fmla="*/ 3802812 w 8636594"/>
              <a:gd name="connsiteY23" fmla="*/ 6031671 h 6394316"/>
              <a:gd name="connsiteX24" fmla="*/ 3842810 w 8636594"/>
              <a:gd name="connsiteY24" fmla="*/ 6008288 h 6394316"/>
              <a:gd name="connsiteX25" fmla="*/ 3882352 w 8636594"/>
              <a:gd name="connsiteY25" fmla="*/ 5984588 h 6394316"/>
              <a:gd name="connsiteX26" fmla="*/ 3921445 w 8636594"/>
              <a:gd name="connsiteY26" fmla="*/ 5960574 h 6394316"/>
              <a:gd name="connsiteX27" fmla="*/ 3960096 w 8636594"/>
              <a:gd name="connsiteY27" fmla="*/ 5936250 h 6394316"/>
              <a:gd name="connsiteX28" fmla="*/ 3998311 w 8636594"/>
              <a:gd name="connsiteY28" fmla="*/ 5911619 h 6394316"/>
              <a:gd name="connsiteX29" fmla="*/ 4036095 w 8636594"/>
              <a:gd name="connsiteY29" fmla="*/ 5886685 h 6394316"/>
              <a:gd name="connsiteX30" fmla="*/ 4073456 w 8636594"/>
              <a:gd name="connsiteY30" fmla="*/ 5861452 h 6394316"/>
              <a:gd name="connsiteX31" fmla="*/ 4110400 w 8636594"/>
              <a:gd name="connsiteY31" fmla="*/ 5835922 h 6394316"/>
              <a:gd name="connsiteX32" fmla="*/ 4146933 w 8636594"/>
              <a:gd name="connsiteY32" fmla="*/ 5810100 h 6394316"/>
              <a:gd name="connsiteX33" fmla="*/ 4183061 w 8636594"/>
              <a:gd name="connsiteY33" fmla="*/ 5783988 h 6394316"/>
              <a:gd name="connsiteX34" fmla="*/ 4218791 w 8636594"/>
              <a:gd name="connsiteY34" fmla="*/ 5757591 h 6394316"/>
              <a:gd name="connsiteX35" fmla="*/ 4254129 w 8636594"/>
              <a:gd name="connsiteY35" fmla="*/ 5730912 h 6394316"/>
              <a:gd name="connsiteX36" fmla="*/ 4289081 w 8636594"/>
              <a:gd name="connsiteY36" fmla="*/ 5703955 h 6394316"/>
              <a:gd name="connsiteX37" fmla="*/ 4323654 w 8636594"/>
              <a:gd name="connsiteY37" fmla="*/ 5676722 h 6394316"/>
              <a:gd name="connsiteX38" fmla="*/ 4357854 w 8636594"/>
              <a:gd name="connsiteY38" fmla="*/ 5649218 h 6394316"/>
              <a:gd name="connsiteX39" fmla="*/ 4391688 w 8636594"/>
              <a:gd name="connsiteY39" fmla="*/ 5621446 h 6394316"/>
              <a:gd name="connsiteX40" fmla="*/ 4425162 w 8636594"/>
              <a:gd name="connsiteY40" fmla="*/ 5593409 h 6394316"/>
              <a:gd name="connsiteX41" fmla="*/ 4458281 w 8636594"/>
              <a:gd name="connsiteY41" fmla="*/ 5565111 h 6394316"/>
              <a:gd name="connsiteX42" fmla="*/ 4491053 w 8636594"/>
              <a:gd name="connsiteY42" fmla="*/ 5536556 h 6394316"/>
              <a:gd name="connsiteX43" fmla="*/ 4523484 w 8636594"/>
              <a:gd name="connsiteY43" fmla="*/ 5507747 h 6394316"/>
              <a:gd name="connsiteX44" fmla="*/ 4555580 w 8636594"/>
              <a:gd name="connsiteY44" fmla="*/ 5478687 h 6394316"/>
              <a:gd name="connsiteX45" fmla="*/ 4587347 w 8636594"/>
              <a:gd name="connsiteY45" fmla="*/ 5449380 h 6394316"/>
              <a:gd name="connsiteX46" fmla="*/ 4618793 w 8636594"/>
              <a:gd name="connsiteY46" fmla="*/ 5419830 h 6394316"/>
              <a:gd name="connsiteX47" fmla="*/ 4649922 w 8636594"/>
              <a:gd name="connsiteY47" fmla="*/ 5390040 h 6394316"/>
              <a:gd name="connsiteX48" fmla="*/ 4680742 w 8636594"/>
              <a:gd name="connsiteY48" fmla="*/ 5360014 h 6394316"/>
              <a:gd name="connsiteX49" fmla="*/ 4711259 w 8636594"/>
              <a:gd name="connsiteY49" fmla="*/ 5329755 h 6394316"/>
              <a:gd name="connsiteX50" fmla="*/ 4741478 w 8636594"/>
              <a:gd name="connsiteY50" fmla="*/ 5299266 h 6394316"/>
              <a:gd name="connsiteX51" fmla="*/ 4771408 w 8636594"/>
              <a:gd name="connsiteY51" fmla="*/ 5268551 h 6394316"/>
              <a:gd name="connsiteX52" fmla="*/ 4801053 w 8636594"/>
              <a:gd name="connsiteY52" fmla="*/ 5237614 h 6394316"/>
              <a:gd name="connsiteX53" fmla="*/ 4830420 w 8636594"/>
              <a:gd name="connsiteY53" fmla="*/ 5206458 h 6394316"/>
              <a:gd name="connsiteX54" fmla="*/ 4859516 w 8636594"/>
              <a:gd name="connsiteY54" fmla="*/ 5175087 h 6394316"/>
              <a:gd name="connsiteX55" fmla="*/ 4888347 w 8636594"/>
              <a:gd name="connsiteY55" fmla="*/ 5143504 h 6394316"/>
              <a:gd name="connsiteX56" fmla="*/ 4916919 w 8636594"/>
              <a:gd name="connsiteY56" fmla="*/ 5111713 h 6394316"/>
              <a:gd name="connsiteX57" fmla="*/ 4945238 w 8636594"/>
              <a:gd name="connsiteY57" fmla="*/ 5079717 h 6394316"/>
              <a:gd name="connsiteX58" fmla="*/ 4973311 w 8636594"/>
              <a:gd name="connsiteY58" fmla="*/ 5047519 h 6394316"/>
              <a:gd name="connsiteX59" fmla="*/ 5001145 w 8636594"/>
              <a:gd name="connsiteY59" fmla="*/ 5015124 h 6394316"/>
              <a:gd name="connsiteX60" fmla="*/ 5028745 w 8636594"/>
              <a:gd name="connsiteY60" fmla="*/ 4982535 h 6394316"/>
              <a:gd name="connsiteX61" fmla="*/ 5056117 w 8636594"/>
              <a:gd name="connsiteY61" fmla="*/ 4949755 h 6394316"/>
              <a:gd name="connsiteX62" fmla="*/ 5083269 w 8636594"/>
              <a:gd name="connsiteY62" fmla="*/ 4916787 h 6394316"/>
              <a:gd name="connsiteX63" fmla="*/ 5110207 w 8636594"/>
              <a:gd name="connsiteY63" fmla="*/ 4883636 h 6394316"/>
              <a:gd name="connsiteX64" fmla="*/ 5136937 w 8636594"/>
              <a:gd name="connsiteY64" fmla="*/ 4850305 h 6394316"/>
              <a:gd name="connsiteX65" fmla="*/ 5163464 w 8636594"/>
              <a:gd name="connsiteY65" fmla="*/ 4816797 h 6394316"/>
              <a:gd name="connsiteX66" fmla="*/ 5215940 w 8636594"/>
              <a:gd name="connsiteY66" fmla="*/ 4749265 h 6394316"/>
              <a:gd name="connsiteX67" fmla="*/ 5267684 w 8636594"/>
              <a:gd name="connsiteY67" fmla="*/ 4681068 h 6394316"/>
              <a:gd name="connsiteX68" fmla="*/ 5318748 w 8636594"/>
              <a:gd name="connsiteY68" fmla="*/ 4612234 h 6394316"/>
              <a:gd name="connsiteX69" fmla="*/ 5369182 w 8636594"/>
              <a:gd name="connsiteY69" fmla="*/ 4542793 h 6394316"/>
              <a:gd name="connsiteX70" fmla="*/ 5419038 w 8636594"/>
              <a:gd name="connsiteY70" fmla="*/ 4472771 h 6394316"/>
              <a:gd name="connsiteX71" fmla="*/ 5468365 w 8636594"/>
              <a:gd name="connsiteY71" fmla="*/ 4402196 h 6394316"/>
              <a:gd name="connsiteX72" fmla="*/ 5517215 w 8636594"/>
              <a:gd name="connsiteY72" fmla="*/ 4331098 h 6394316"/>
              <a:gd name="connsiteX73" fmla="*/ 5565637 w 8636594"/>
              <a:gd name="connsiteY73" fmla="*/ 4259503 h 6394316"/>
              <a:gd name="connsiteX74" fmla="*/ 5613684 w 8636594"/>
              <a:gd name="connsiteY74" fmla="*/ 4187441 h 6394316"/>
              <a:gd name="connsiteX75" fmla="*/ 5685160 w 8636594"/>
              <a:gd name="connsiteY75" fmla="*/ 4078531 h 6394316"/>
              <a:gd name="connsiteX76" fmla="*/ 5756074 w 8636594"/>
              <a:gd name="connsiteY76" fmla="*/ 3968727 h 6394316"/>
              <a:gd name="connsiteX77" fmla="*/ 5873483 w 8636594"/>
              <a:gd name="connsiteY77" fmla="*/ 3783989 h 6394316"/>
              <a:gd name="connsiteX78" fmla="*/ 6203209 w 8636594"/>
              <a:gd name="connsiteY78" fmla="*/ 3258640 h 6394316"/>
              <a:gd name="connsiteX79" fmla="*/ 6299430 w 8636594"/>
              <a:gd name="connsiteY79" fmla="*/ 3107321 h 6394316"/>
              <a:gd name="connsiteX80" fmla="*/ 6372650 w 8636594"/>
              <a:gd name="connsiteY80" fmla="*/ 2993735 h 6394316"/>
              <a:gd name="connsiteX81" fmla="*/ 6453197 w 8636594"/>
              <a:gd name="connsiteY81" fmla="*/ 2869788 h 6394316"/>
              <a:gd name="connsiteX82" fmla="*/ 6564167 w 8636594"/>
              <a:gd name="connsiteY82" fmla="*/ 2696807 h 6394316"/>
              <a:gd name="connsiteX83" fmla="*/ 6976233 w 8636594"/>
              <a:gd name="connsiteY83" fmla="*/ 2045274 h 6394316"/>
              <a:gd name="connsiteX84" fmla="*/ 7086755 w 8636594"/>
              <a:gd name="connsiteY84" fmla="*/ 1872743 h 6394316"/>
              <a:gd name="connsiteX85" fmla="*/ 7170279 w 8636594"/>
              <a:gd name="connsiteY85" fmla="*/ 1744202 h 6394316"/>
              <a:gd name="connsiteX86" fmla="*/ 7226351 w 8636594"/>
              <a:gd name="connsiteY86" fmla="*/ 1659017 h 6394316"/>
              <a:gd name="connsiteX87" fmla="*/ 7282789 w 8636594"/>
              <a:gd name="connsiteY87" fmla="*/ 1574303 h 6394316"/>
              <a:gd name="connsiteX88" fmla="*/ 7339643 w 8636594"/>
              <a:gd name="connsiteY88" fmla="*/ 1490113 h 6394316"/>
              <a:gd name="connsiteX89" fmla="*/ 7396957 w 8636594"/>
              <a:gd name="connsiteY89" fmla="*/ 1406503 h 6394316"/>
              <a:gd name="connsiteX90" fmla="*/ 7454781 w 8636594"/>
              <a:gd name="connsiteY90" fmla="*/ 1323526 h 6394316"/>
              <a:gd name="connsiteX91" fmla="*/ 7513161 w 8636594"/>
              <a:gd name="connsiteY91" fmla="*/ 1241237 h 6394316"/>
              <a:gd name="connsiteX92" fmla="*/ 7572144 w 8636594"/>
              <a:gd name="connsiteY92" fmla="*/ 1159689 h 6394316"/>
              <a:gd name="connsiteX93" fmla="*/ 7601877 w 8636594"/>
              <a:gd name="connsiteY93" fmla="*/ 1119210 h 6394316"/>
              <a:gd name="connsiteX94" fmla="*/ 7631779 w 8636594"/>
              <a:gd name="connsiteY94" fmla="*/ 1078937 h 6394316"/>
              <a:gd name="connsiteX95" fmla="*/ 7661855 w 8636594"/>
              <a:gd name="connsiteY95" fmla="*/ 1038876 h 6394316"/>
              <a:gd name="connsiteX96" fmla="*/ 7692111 w 8636594"/>
              <a:gd name="connsiteY96" fmla="*/ 999035 h 6394316"/>
              <a:gd name="connsiteX97" fmla="*/ 7722554 w 8636594"/>
              <a:gd name="connsiteY97" fmla="*/ 959419 h 6394316"/>
              <a:gd name="connsiteX98" fmla="*/ 7753190 w 8636594"/>
              <a:gd name="connsiteY98" fmla="*/ 920037 h 6394316"/>
              <a:gd name="connsiteX99" fmla="*/ 7784023 w 8636594"/>
              <a:gd name="connsiteY99" fmla="*/ 880894 h 6394316"/>
              <a:gd name="connsiteX100" fmla="*/ 7815061 w 8636594"/>
              <a:gd name="connsiteY100" fmla="*/ 841997 h 6394316"/>
              <a:gd name="connsiteX101" fmla="*/ 7846308 w 8636594"/>
              <a:gd name="connsiteY101" fmla="*/ 803354 h 6394316"/>
              <a:gd name="connsiteX102" fmla="*/ 7877772 w 8636594"/>
              <a:gd name="connsiteY102" fmla="*/ 764970 h 6394316"/>
              <a:gd name="connsiteX103" fmla="*/ 7909458 w 8636594"/>
              <a:gd name="connsiteY103" fmla="*/ 726853 h 6394316"/>
              <a:gd name="connsiteX104" fmla="*/ 7941371 w 8636594"/>
              <a:gd name="connsiteY104" fmla="*/ 689010 h 6394316"/>
              <a:gd name="connsiteX105" fmla="*/ 7973518 w 8636594"/>
              <a:gd name="connsiteY105" fmla="*/ 651447 h 6394316"/>
              <a:gd name="connsiteX106" fmla="*/ 8005905 w 8636594"/>
              <a:gd name="connsiteY106" fmla="*/ 614171 h 6394316"/>
              <a:gd name="connsiteX107" fmla="*/ 8038538 w 8636594"/>
              <a:gd name="connsiteY107" fmla="*/ 577189 h 6394316"/>
              <a:gd name="connsiteX108" fmla="*/ 8071421 w 8636594"/>
              <a:gd name="connsiteY108" fmla="*/ 540507 h 6394316"/>
              <a:gd name="connsiteX109" fmla="*/ 8104563 w 8636594"/>
              <a:gd name="connsiteY109" fmla="*/ 504132 h 6394316"/>
              <a:gd name="connsiteX110" fmla="*/ 8137967 w 8636594"/>
              <a:gd name="connsiteY110" fmla="*/ 468072 h 6394316"/>
              <a:gd name="connsiteX111" fmla="*/ 8171641 w 8636594"/>
              <a:gd name="connsiteY111" fmla="*/ 432332 h 6394316"/>
              <a:gd name="connsiteX112" fmla="*/ 8205590 w 8636594"/>
              <a:gd name="connsiteY112" fmla="*/ 396920 h 6394316"/>
              <a:gd name="connsiteX113" fmla="*/ 8239820 w 8636594"/>
              <a:gd name="connsiteY113" fmla="*/ 361843 h 6394316"/>
              <a:gd name="connsiteX114" fmla="*/ 8274337 w 8636594"/>
              <a:gd name="connsiteY114" fmla="*/ 327107 h 6394316"/>
              <a:gd name="connsiteX115" fmla="*/ 8309147 w 8636594"/>
              <a:gd name="connsiteY115" fmla="*/ 292718 h 6394316"/>
              <a:gd name="connsiteX116" fmla="*/ 8344256 w 8636594"/>
              <a:gd name="connsiteY116" fmla="*/ 258685 h 6394316"/>
              <a:gd name="connsiteX117" fmla="*/ 8379669 w 8636594"/>
              <a:gd name="connsiteY117" fmla="*/ 225013 h 6394316"/>
              <a:gd name="connsiteX118" fmla="*/ 8415394 w 8636594"/>
              <a:gd name="connsiteY118" fmla="*/ 191709 h 6394316"/>
              <a:gd name="connsiteX119" fmla="*/ 8451434 w 8636594"/>
              <a:gd name="connsiteY119" fmla="*/ 158780 h 6394316"/>
              <a:gd name="connsiteX120" fmla="*/ 8487798 w 8636594"/>
              <a:gd name="connsiteY120" fmla="*/ 126233 h 6394316"/>
              <a:gd name="connsiteX121" fmla="*/ 8524489 w 8636594"/>
              <a:gd name="connsiteY121" fmla="*/ 94075 h 6394316"/>
              <a:gd name="connsiteX122" fmla="*/ 8561515 w 8636594"/>
              <a:gd name="connsiteY122" fmla="*/ 62312 h 6394316"/>
              <a:gd name="connsiteX123" fmla="*/ 8598881 w 8636594"/>
              <a:gd name="connsiteY123" fmla="*/ 30951 h 6394316"/>
              <a:gd name="connsiteX124" fmla="*/ 8636594 w 8636594"/>
              <a:gd name="connsiteY124" fmla="*/ 0 h 6394316"/>
              <a:gd name="connsiteX0" fmla="*/ 8636594 w 8636594"/>
              <a:gd name="connsiteY0" fmla="*/ 0 h 6377243"/>
              <a:gd name="connsiteX1" fmla="*/ 5293 w 8636594"/>
              <a:gd name="connsiteY1" fmla="*/ 0 h 6377243"/>
              <a:gd name="connsiteX2" fmla="*/ 0 w 8636594"/>
              <a:gd name="connsiteY2" fmla="*/ 5587843 h 6377243"/>
              <a:gd name="connsiteX3" fmla="*/ 1594033 w 8636594"/>
              <a:gd name="connsiteY3" fmla="*/ 5600057 h 6377243"/>
              <a:gd name="connsiteX4" fmla="*/ 1686068 w 8636594"/>
              <a:gd name="connsiteY4" fmla="*/ 5599745 h 6377243"/>
              <a:gd name="connsiteX5" fmla="*/ 3047052 w 8636594"/>
              <a:gd name="connsiteY5" fmla="*/ 6377243 h 6377243"/>
              <a:gd name="connsiteX6" fmla="*/ 3095759 w 8636594"/>
              <a:gd name="connsiteY6" fmla="*/ 6359791 h 6377243"/>
              <a:gd name="connsiteX7" fmla="*/ 3143903 w 8636594"/>
              <a:gd name="connsiteY7" fmla="*/ 6341961 h 6377243"/>
              <a:gd name="connsiteX8" fmla="*/ 3191491 w 8636594"/>
              <a:gd name="connsiteY8" fmla="*/ 6323757 h 6377243"/>
              <a:gd name="connsiteX9" fmla="*/ 3238528 w 8636594"/>
              <a:gd name="connsiteY9" fmla="*/ 6305184 h 6377243"/>
              <a:gd name="connsiteX10" fmla="*/ 3285021 w 8636594"/>
              <a:gd name="connsiteY10" fmla="*/ 6286245 h 6377243"/>
              <a:gd name="connsiteX11" fmla="*/ 3330977 w 8636594"/>
              <a:gd name="connsiteY11" fmla="*/ 6266942 h 6377243"/>
              <a:gd name="connsiteX12" fmla="*/ 3376401 w 8636594"/>
              <a:gd name="connsiteY12" fmla="*/ 6247281 h 6377243"/>
              <a:gd name="connsiteX13" fmla="*/ 3421300 w 8636594"/>
              <a:gd name="connsiteY13" fmla="*/ 6227263 h 6377243"/>
              <a:gd name="connsiteX14" fmla="*/ 3465680 w 8636594"/>
              <a:gd name="connsiteY14" fmla="*/ 6206893 h 6377243"/>
              <a:gd name="connsiteX15" fmla="*/ 3509548 w 8636594"/>
              <a:gd name="connsiteY15" fmla="*/ 6186174 h 6377243"/>
              <a:gd name="connsiteX16" fmla="*/ 3552910 w 8636594"/>
              <a:gd name="connsiteY16" fmla="*/ 6165110 h 6377243"/>
              <a:gd name="connsiteX17" fmla="*/ 3595773 w 8636594"/>
              <a:gd name="connsiteY17" fmla="*/ 6143704 h 6377243"/>
              <a:gd name="connsiteX18" fmla="*/ 3638142 w 8636594"/>
              <a:gd name="connsiteY18" fmla="*/ 6121960 h 6377243"/>
              <a:gd name="connsiteX19" fmla="*/ 3680024 w 8636594"/>
              <a:gd name="connsiteY19" fmla="*/ 6099881 h 6377243"/>
              <a:gd name="connsiteX20" fmla="*/ 3721426 w 8636594"/>
              <a:gd name="connsiteY20" fmla="*/ 6077471 h 6377243"/>
              <a:gd name="connsiteX21" fmla="*/ 3762353 w 8636594"/>
              <a:gd name="connsiteY21" fmla="*/ 6054733 h 6377243"/>
              <a:gd name="connsiteX22" fmla="*/ 3802812 w 8636594"/>
              <a:gd name="connsiteY22" fmla="*/ 6031671 h 6377243"/>
              <a:gd name="connsiteX23" fmla="*/ 3842810 w 8636594"/>
              <a:gd name="connsiteY23" fmla="*/ 6008288 h 6377243"/>
              <a:gd name="connsiteX24" fmla="*/ 3882352 w 8636594"/>
              <a:gd name="connsiteY24" fmla="*/ 5984588 h 6377243"/>
              <a:gd name="connsiteX25" fmla="*/ 3921445 w 8636594"/>
              <a:gd name="connsiteY25" fmla="*/ 5960574 h 6377243"/>
              <a:gd name="connsiteX26" fmla="*/ 3960096 w 8636594"/>
              <a:gd name="connsiteY26" fmla="*/ 5936250 h 6377243"/>
              <a:gd name="connsiteX27" fmla="*/ 3998311 w 8636594"/>
              <a:gd name="connsiteY27" fmla="*/ 5911619 h 6377243"/>
              <a:gd name="connsiteX28" fmla="*/ 4036095 w 8636594"/>
              <a:gd name="connsiteY28" fmla="*/ 5886685 h 6377243"/>
              <a:gd name="connsiteX29" fmla="*/ 4073456 w 8636594"/>
              <a:gd name="connsiteY29" fmla="*/ 5861452 h 6377243"/>
              <a:gd name="connsiteX30" fmla="*/ 4110400 w 8636594"/>
              <a:gd name="connsiteY30" fmla="*/ 5835922 h 6377243"/>
              <a:gd name="connsiteX31" fmla="*/ 4146933 w 8636594"/>
              <a:gd name="connsiteY31" fmla="*/ 5810100 h 6377243"/>
              <a:gd name="connsiteX32" fmla="*/ 4183061 w 8636594"/>
              <a:gd name="connsiteY32" fmla="*/ 5783988 h 6377243"/>
              <a:gd name="connsiteX33" fmla="*/ 4218791 w 8636594"/>
              <a:gd name="connsiteY33" fmla="*/ 5757591 h 6377243"/>
              <a:gd name="connsiteX34" fmla="*/ 4254129 w 8636594"/>
              <a:gd name="connsiteY34" fmla="*/ 5730912 h 6377243"/>
              <a:gd name="connsiteX35" fmla="*/ 4289081 w 8636594"/>
              <a:gd name="connsiteY35" fmla="*/ 5703955 h 6377243"/>
              <a:gd name="connsiteX36" fmla="*/ 4323654 w 8636594"/>
              <a:gd name="connsiteY36" fmla="*/ 5676722 h 6377243"/>
              <a:gd name="connsiteX37" fmla="*/ 4357854 w 8636594"/>
              <a:gd name="connsiteY37" fmla="*/ 5649218 h 6377243"/>
              <a:gd name="connsiteX38" fmla="*/ 4391688 w 8636594"/>
              <a:gd name="connsiteY38" fmla="*/ 5621446 h 6377243"/>
              <a:gd name="connsiteX39" fmla="*/ 4425162 w 8636594"/>
              <a:gd name="connsiteY39" fmla="*/ 5593409 h 6377243"/>
              <a:gd name="connsiteX40" fmla="*/ 4458281 w 8636594"/>
              <a:gd name="connsiteY40" fmla="*/ 5565111 h 6377243"/>
              <a:gd name="connsiteX41" fmla="*/ 4491053 w 8636594"/>
              <a:gd name="connsiteY41" fmla="*/ 5536556 h 6377243"/>
              <a:gd name="connsiteX42" fmla="*/ 4523484 w 8636594"/>
              <a:gd name="connsiteY42" fmla="*/ 5507747 h 6377243"/>
              <a:gd name="connsiteX43" fmla="*/ 4555580 w 8636594"/>
              <a:gd name="connsiteY43" fmla="*/ 5478687 h 6377243"/>
              <a:gd name="connsiteX44" fmla="*/ 4587347 w 8636594"/>
              <a:gd name="connsiteY44" fmla="*/ 5449380 h 6377243"/>
              <a:gd name="connsiteX45" fmla="*/ 4618793 w 8636594"/>
              <a:gd name="connsiteY45" fmla="*/ 5419830 h 6377243"/>
              <a:gd name="connsiteX46" fmla="*/ 4649922 w 8636594"/>
              <a:gd name="connsiteY46" fmla="*/ 5390040 h 6377243"/>
              <a:gd name="connsiteX47" fmla="*/ 4680742 w 8636594"/>
              <a:gd name="connsiteY47" fmla="*/ 5360014 h 6377243"/>
              <a:gd name="connsiteX48" fmla="*/ 4711259 w 8636594"/>
              <a:gd name="connsiteY48" fmla="*/ 5329755 h 6377243"/>
              <a:gd name="connsiteX49" fmla="*/ 4741478 w 8636594"/>
              <a:gd name="connsiteY49" fmla="*/ 5299266 h 6377243"/>
              <a:gd name="connsiteX50" fmla="*/ 4771408 w 8636594"/>
              <a:gd name="connsiteY50" fmla="*/ 5268551 h 6377243"/>
              <a:gd name="connsiteX51" fmla="*/ 4801053 w 8636594"/>
              <a:gd name="connsiteY51" fmla="*/ 5237614 h 6377243"/>
              <a:gd name="connsiteX52" fmla="*/ 4830420 w 8636594"/>
              <a:gd name="connsiteY52" fmla="*/ 5206458 h 6377243"/>
              <a:gd name="connsiteX53" fmla="*/ 4859516 w 8636594"/>
              <a:gd name="connsiteY53" fmla="*/ 5175087 h 6377243"/>
              <a:gd name="connsiteX54" fmla="*/ 4888347 w 8636594"/>
              <a:gd name="connsiteY54" fmla="*/ 5143504 h 6377243"/>
              <a:gd name="connsiteX55" fmla="*/ 4916919 w 8636594"/>
              <a:gd name="connsiteY55" fmla="*/ 5111713 h 6377243"/>
              <a:gd name="connsiteX56" fmla="*/ 4945238 w 8636594"/>
              <a:gd name="connsiteY56" fmla="*/ 5079717 h 6377243"/>
              <a:gd name="connsiteX57" fmla="*/ 4973311 w 8636594"/>
              <a:gd name="connsiteY57" fmla="*/ 5047519 h 6377243"/>
              <a:gd name="connsiteX58" fmla="*/ 5001145 w 8636594"/>
              <a:gd name="connsiteY58" fmla="*/ 5015124 h 6377243"/>
              <a:gd name="connsiteX59" fmla="*/ 5028745 w 8636594"/>
              <a:gd name="connsiteY59" fmla="*/ 4982535 h 6377243"/>
              <a:gd name="connsiteX60" fmla="*/ 5056117 w 8636594"/>
              <a:gd name="connsiteY60" fmla="*/ 4949755 h 6377243"/>
              <a:gd name="connsiteX61" fmla="*/ 5083269 w 8636594"/>
              <a:gd name="connsiteY61" fmla="*/ 4916787 h 6377243"/>
              <a:gd name="connsiteX62" fmla="*/ 5110207 w 8636594"/>
              <a:gd name="connsiteY62" fmla="*/ 4883636 h 6377243"/>
              <a:gd name="connsiteX63" fmla="*/ 5136937 w 8636594"/>
              <a:gd name="connsiteY63" fmla="*/ 4850305 h 6377243"/>
              <a:gd name="connsiteX64" fmla="*/ 5163464 w 8636594"/>
              <a:gd name="connsiteY64" fmla="*/ 4816797 h 6377243"/>
              <a:gd name="connsiteX65" fmla="*/ 5215940 w 8636594"/>
              <a:gd name="connsiteY65" fmla="*/ 4749265 h 6377243"/>
              <a:gd name="connsiteX66" fmla="*/ 5267684 w 8636594"/>
              <a:gd name="connsiteY66" fmla="*/ 4681068 h 6377243"/>
              <a:gd name="connsiteX67" fmla="*/ 5318748 w 8636594"/>
              <a:gd name="connsiteY67" fmla="*/ 4612234 h 6377243"/>
              <a:gd name="connsiteX68" fmla="*/ 5369182 w 8636594"/>
              <a:gd name="connsiteY68" fmla="*/ 4542793 h 6377243"/>
              <a:gd name="connsiteX69" fmla="*/ 5419038 w 8636594"/>
              <a:gd name="connsiteY69" fmla="*/ 4472771 h 6377243"/>
              <a:gd name="connsiteX70" fmla="*/ 5468365 w 8636594"/>
              <a:gd name="connsiteY70" fmla="*/ 4402196 h 6377243"/>
              <a:gd name="connsiteX71" fmla="*/ 5517215 w 8636594"/>
              <a:gd name="connsiteY71" fmla="*/ 4331098 h 6377243"/>
              <a:gd name="connsiteX72" fmla="*/ 5565637 w 8636594"/>
              <a:gd name="connsiteY72" fmla="*/ 4259503 h 6377243"/>
              <a:gd name="connsiteX73" fmla="*/ 5613684 w 8636594"/>
              <a:gd name="connsiteY73" fmla="*/ 4187441 h 6377243"/>
              <a:gd name="connsiteX74" fmla="*/ 5685160 w 8636594"/>
              <a:gd name="connsiteY74" fmla="*/ 4078531 h 6377243"/>
              <a:gd name="connsiteX75" fmla="*/ 5756074 w 8636594"/>
              <a:gd name="connsiteY75" fmla="*/ 3968727 h 6377243"/>
              <a:gd name="connsiteX76" fmla="*/ 5873483 w 8636594"/>
              <a:gd name="connsiteY76" fmla="*/ 3783989 h 6377243"/>
              <a:gd name="connsiteX77" fmla="*/ 6203209 w 8636594"/>
              <a:gd name="connsiteY77" fmla="*/ 3258640 h 6377243"/>
              <a:gd name="connsiteX78" fmla="*/ 6299430 w 8636594"/>
              <a:gd name="connsiteY78" fmla="*/ 3107321 h 6377243"/>
              <a:gd name="connsiteX79" fmla="*/ 6372650 w 8636594"/>
              <a:gd name="connsiteY79" fmla="*/ 2993735 h 6377243"/>
              <a:gd name="connsiteX80" fmla="*/ 6453197 w 8636594"/>
              <a:gd name="connsiteY80" fmla="*/ 2869788 h 6377243"/>
              <a:gd name="connsiteX81" fmla="*/ 6564167 w 8636594"/>
              <a:gd name="connsiteY81" fmla="*/ 2696807 h 6377243"/>
              <a:gd name="connsiteX82" fmla="*/ 6976233 w 8636594"/>
              <a:gd name="connsiteY82" fmla="*/ 2045274 h 6377243"/>
              <a:gd name="connsiteX83" fmla="*/ 7086755 w 8636594"/>
              <a:gd name="connsiteY83" fmla="*/ 1872743 h 6377243"/>
              <a:gd name="connsiteX84" fmla="*/ 7170279 w 8636594"/>
              <a:gd name="connsiteY84" fmla="*/ 1744202 h 6377243"/>
              <a:gd name="connsiteX85" fmla="*/ 7226351 w 8636594"/>
              <a:gd name="connsiteY85" fmla="*/ 1659017 h 6377243"/>
              <a:gd name="connsiteX86" fmla="*/ 7282789 w 8636594"/>
              <a:gd name="connsiteY86" fmla="*/ 1574303 h 6377243"/>
              <a:gd name="connsiteX87" fmla="*/ 7339643 w 8636594"/>
              <a:gd name="connsiteY87" fmla="*/ 1490113 h 6377243"/>
              <a:gd name="connsiteX88" fmla="*/ 7396957 w 8636594"/>
              <a:gd name="connsiteY88" fmla="*/ 1406503 h 6377243"/>
              <a:gd name="connsiteX89" fmla="*/ 7454781 w 8636594"/>
              <a:gd name="connsiteY89" fmla="*/ 1323526 h 6377243"/>
              <a:gd name="connsiteX90" fmla="*/ 7513161 w 8636594"/>
              <a:gd name="connsiteY90" fmla="*/ 1241237 h 6377243"/>
              <a:gd name="connsiteX91" fmla="*/ 7572144 w 8636594"/>
              <a:gd name="connsiteY91" fmla="*/ 1159689 h 6377243"/>
              <a:gd name="connsiteX92" fmla="*/ 7601877 w 8636594"/>
              <a:gd name="connsiteY92" fmla="*/ 1119210 h 6377243"/>
              <a:gd name="connsiteX93" fmla="*/ 7631779 w 8636594"/>
              <a:gd name="connsiteY93" fmla="*/ 1078937 h 6377243"/>
              <a:gd name="connsiteX94" fmla="*/ 7661855 w 8636594"/>
              <a:gd name="connsiteY94" fmla="*/ 1038876 h 6377243"/>
              <a:gd name="connsiteX95" fmla="*/ 7692111 w 8636594"/>
              <a:gd name="connsiteY95" fmla="*/ 999035 h 6377243"/>
              <a:gd name="connsiteX96" fmla="*/ 7722554 w 8636594"/>
              <a:gd name="connsiteY96" fmla="*/ 959419 h 6377243"/>
              <a:gd name="connsiteX97" fmla="*/ 7753190 w 8636594"/>
              <a:gd name="connsiteY97" fmla="*/ 920037 h 6377243"/>
              <a:gd name="connsiteX98" fmla="*/ 7784023 w 8636594"/>
              <a:gd name="connsiteY98" fmla="*/ 880894 h 6377243"/>
              <a:gd name="connsiteX99" fmla="*/ 7815061 w 8636594"/>
              <a:gd name="connsiteY99" fmla="*/ 841997 h 6377243"/>
              <a:gd name="connsiteX100" fmla="*/ 7846308 w 8636594"/>
              <a:gd name="connsiteY100" fmla="*/ 803354 h 6377243"/>
              <a:gd name="connsiteX101" fmla="*/ 7877772 w 8636594"/>
              <a:gd name="connsiteY101" fmla="*/ 764970 h 6377243"/>
              <a:gd name="connsiteX102" fmla="*/ 7909458 w 8636594"/>
              <a:gd name="connsiteY102" fmla="*/ 726853 h 6377243"/>
              <a:gd name="connsiteX103" fmla="*/ 7941371 w 8636594"/>
              <a:gd name="connsiteY103" fmla="*/ 689010 h 6377243"/>
              <a:gd name="connsiteX104" fmla="*/ 7973518 w 8636594"/>
              <a:gd name="connsiteY104" fmla="*/ 651447 h 6377243"/>
              <a:gd name="connsiteX105" fmla="*/ 8005905 w 8636594"/>
              <a:gd name="connsiteY105" fmla="*/ 614171 h 6377243"/>
              <a:gd name="connsiteX106" fmla="*/ 8038538 w 8636594"/>
              <a:gd name="connsiteY106" fmla="*/ 577189 h 6377243"/>
              <a:gd name="connsiteX107" fmla="*/ 8071421 w 8636594"/>
              <a:gd name="connsiteY107" fmla="*/ 540507 h 6377243"/>
              <a:gd name="connsiteX108" fmla="*/ 8104563 w 8636594"/>
              <a:gd name="connsiteY108" fmla="*/ 504132 h 6377243"/>
              <a:gd name="connsiteX109" fmla="*/ 8137967 w 8636594"/>
              <a:gd name="connsiteY109" fmla="*/ 468072 h 6377243"/>
              <a:gd name="connsiteX110" fmla="*/ 8171641 w 8636594"/>
              <a:gd name="connsiteY110" fmla="*/ 432332 h 6377243"/>
              <a:gd name="connsiteX111" fmla="*/ 8205590 w 8636594"/>
              <a:gd name="connsiteY111" fmla="*/ 396920 h 6377243"/>
              <a:gd name="connsiteX112" fmla="*/ 8239820 w 8636594"/>
              <a:gd name="connsiteY112" fmla="*/ 361843 h 6377243"/>
              <a:gd name="connsiteX113" fmla="*/ 8274337 w 8636594"/>
              <a:gd name="connsiteY113" fmla="*/ 327107 h 6377243"/>
              <a:gd name="connsiteX114" fmla="*/ 8309147 w 8636594"/>
              <a:gd name="connsiteY114" fmla="*/ 292718 h 6377243"/>
              <a:gd name="connsiteX115" fmla="*/ 8344256 w 8636594"/>
              <a:gd name="connsiteY115" fmla="*/ 258685 h 6377243"/>
              <a:gd name="connsiteX116" fmla="*/ 8379669 w 8636594"/>
              <a:gd name="connsiteY116" fmla="*/ 225013 h 6377243"/>
              <a:gd name="connsiteX117" fmla="*/ 8415394 w 8636594"/>
              <a:gd name="connsiteY117" fmla="*/ 191709 h 6377243"/>
              <a:gd name="connsiteX118" fmla="*/ 8451434 w 8636594"/>
              <a:gd name="connsiteY118" fmla="*/ 158780 h 6377243"/>
              <a:gd name="connsiteX119" fmla="*/ 8487798 w 8636594"/>
              <a:gd name="connsiteY119" fmla="*/ 126233 h 6377243"/>
              <a:gd name="connsiteX120" fmla="*/ 8524489 w 8636594"/>
              <a:gd name="connsiteY120" fmla="*/ 94075 h 6377243"/>
              <a:gd name="connsiteX121" fmla="*/ 8561515 w 8636594"/>
              <a:gd name="connsiteY121" fmla="*/ 62312 h 6377243"/>
              <a:gd name="connsiteX122" fmla="*/ 8598881 w 8636594"/>
              <a:gd name="connsiteY122" fmla="*/ 30951 h 6377243"/>
              <a:gd name="connsiteX123" fmla="*/ 8636594 w 8636594"/>
              <a:gd name="connsiteY123" fmla="*/ 0 h 6377243"/>
              <a:gd name="connsiteX0" fmla="*/ 8636594 w 8636594"/>
              <a:gd name="connsiteY0" fmla="*/ 0 h 6359791"/>
              <a:gd name="connsiteX1" fmla="*/ 5293 w 8636594"/>
              <a:gd name="connsiteY1" fmla="*/ 0 h 6359791"/>
              <a:gd name="connsiteX2" fmla="*/ 0 w 8636594"/>
              <a:gd name="connsiteY2" fmla="*/ 5587843 h 6359791"/>
              <a:gd name="connsiteX3" fmla="*/ 1594033 w 8636594"/>
              <a:gd name="connsiteY3" fmla="*/ 5600057 h 6359791"/>
              <a:gd name="connsiteX4" fmla="*/ 1686068 w 8636594"/>
              <a:gd name="connsiteY4" fmla="*/ 5599745 h 6359791"/>
              <a:gd name="connsiteX5" fmla="*/ 3095759 w 8636594"/>
              <a:gd name="connsiteY5" fmla="*/ 6359791 h 6359791"/>
              <a:gd name="connsiteX6" fmla="*/ 3143903 w 8636594"/>
              <a:gd name="connsiteY6" fmla="*/ 6341961 h 6359791"/>
              <a:gd name="connsiteX7" fmla="*/ 3191491 w 8636594"/>
              <a:gd name="connsiteY7" fmla="*/ 6323757 h 6359791"/>
              <a:gd name="connsiteX8" fmla="*/ 3238528 w 8636594"/>
              <a:gd name="connsiteY8" fmla="*/ 6305184 h 6359791"/>
              <a:gd name="connsiteX9" fmla="*/ 3285021 w 8636594"/>
              <a:gd name="connsiteY9" fmla="*/ 6286245 h 6359791"/>
              <a:gd name="connsiteX10" fmla="*/ 3330977 w 8636594"/>
              <a:gd name="connsiteY10" fmla="*/ 6266942 h 6359791"/>
              <a:gd name="connsiteX11" fmla="*/ 3376401 w 8636594"/>
              <a:gd name="connsiteY11" fmla="*/ 6247281 h 6359791"/>
              <a:gd name="connsiteX12" fmla="*/ 3421300 w 8636594"/>
              <a:gd name="connsiteY12" fmla="*/ 6227263 h 6359791"/>
              <a:gd name="connsiteX13" fmla="*/ 3465680 w 8636594"/>
              <a:gd name="connsiteY13" fmla="*/ 6206893 h 6359791"/>
              <a:gd name="connsiteX14" fmla="*/ 3509548 w 8636594"/>
              <a:gd name="connsiteY14" fmla="*/ 6186174 h 6359791"/>
              <a:gd name="connsiteX15" fmla="*/ 3552910 w 8636594"/>
              <a:gd name="connsiteY15" fmla="*/ 6165110 h 6359791"/>
              <a:gd name="connsiteX16" fmla="*/ 3595773 w 8636594"/>
              <a:gd name="connsiteY16" fmla="*/ 6143704 h 6359791"/>
              <a:gd name="connsiteX17" fmla="*/ 3638142 w 8636594"/>
              <a:gd name="connsiteY17" fmla="*/ 6121960 h 6359791"/>
              <a:gd name="connsiteX18" fmla="*/ 3680024 w 8636594"/>
              <a:gd name="connsiteY18" fmla="*/ 6099881 h 6359791"/>
              <a:gd name="connsiteX19" fmla="*/ 3721426 w 8636594"/>
              <a:gd name="connsiteY19" fmla="*/ 6077471 h 6359791"/>
              <a:gd name="connsiteX20" fmla="*/ 3762353 w 8636594"/>
              <a:gd name="connsiteY20" fmla="*/ 6054733 h 6359791"/>
              <a:gd name="connsiteX21" fmla="*/ 3802812 w 8636594"/>
              <a:gd name="connsiteY21" fmla="*/ 6031671 h 6359791"/>
              <a:gd name="connsiteX22" fmla="*/ 3842810 w 8636594"/>
              <a:gd name="connsiteY22" fmla="*/ 6008288 h 6359791"/>
              <a:gd name="connsiteX23" fmla="*/ 3882352 w 8636594"/>
              <a:gd name="connsiteY23" fmla="*/ 5984588 h 6359791"/>
              <a:gd name="connsiteX24" fmla="*/ 3921445 w 8636594"/>
              <a:gd name="connsiteY24" fmla="*/ 5960574 h 6359791"/>
              <a:gd name="connsiteX25" fmla="*/ 3960096 w 8636594"/>
              <a:gd name="connsiteY25" fmla="*/ 5936250 h 6359791"/>
              <a:gd name="connsiteX26" fmla="*/ 3998311 w 8636594"/>
              <a:gd name="connsiteY26" fmla="*/ 5911619 h 6359791"/>
              <a:gd name="connsiteX27" fmla="*/ 4036095 w 8636594"/>
              <a:gd name="connsiteY27" fmla="*/ 5886685 h 6359791"/>
              <a:gd name="connsiteX28" fmla="*/ 4073456 w 8636594"/>
              <a:gd name="connsiteY28" fmla="*/ 5861452 h 6359791"/>
              <a:gd name="connsiteX29" fmla="*/ 4110400 w 8636594"/>
              <a:gd name="connsiteY29" fmla="*/ 5835922 h 6359791"/>
              <a:gd name="connsiteX30" fmla="*/ 4146933 w 8636594"/>
              <a:gd name="connsiteY30" fmla="*/ 5810100 h 6359791"/>
              <a:gd name="connsiteX31" fmla="*/ 4183061 w 8636594"/>
              <a:gd name="connsiteY31" fmla="*/ 5783988 h 6359791"/>
              <a:gd name="connsiteX32" fmla="*/ 4218791 w 8636594"/>
              <a:gd name="connsiteY32" fmla="*/ 5757591 h 6359791"/>
              <a:gd name="connsiteX33" fmla="*/ 4254129 w 8636594"/>
              <a:gd name="connsiteY33" fmla="*/ 5730912 h 6359791"/>
              <a:gd name="connsiteX34" fmla="*/ 4289081 w 8636594"/>
              <a:gd name="connsiteY34" fmla="*/ 5703955 h 6359791"/>
              <a:gd name="connsiteX35" fmla="*/ 4323654 w 8636594"/>
              <a:gd name="connsiteY35" fmla="*/ 5676722 h 6359791"/>
              <a:gd name="connsiteX36" fmla="*/ 4357854 w 8636594"/>
              <a:gd name="connsiteY36" fmla="*/ 5649218 h 6359791"/>
              <a:gd name="connsiteX37" fmla="*/ 4391688 w 8636594"/>
              <a:gd name="connsiteY37" fmla="*/ 5621446 h 6359791"/>
              <a:gd name="connsiteX38" fmla="*/ 4425162 w 8636594"/>
              <a:gd name="connsiteY38" fmla="*/ 5593409 h 6359791"/>
              <a:gd name="connsiteX39" fmla="*/ 4458281 w 8636594"/>
              <a:gd name="connsiteY39" fmla="*/ 5565111 h 6359791"/>
              <a:gd name="connsiteX40" fmla="*/ 4491053 w 8636594"/>
              <a:gd name="connsiteY40" fmla="*/ 5536556 h 6359791"/>
              <a:gd name="connsiteX41" fmla="*/ 4523484 w 8636594"/>
              <a:gd name="connsiteY41" fmla="*/ 5507747 h 6359791"/>
              <a:gd name="connsiteX42" fmla="*/ 4555580 w 8636594"/>
              <a:gd name="connsiteY42" fmla="*/ 5478687 h 6359791"/>
              <a:gd name="connsiteX43" fmla="*/ 4587347 w 8636594"/>
              <a:gd name="connsiteY43" fmla="*/ 5449380 h 6359791"/>
              <a:gd name="connsiteX44" fmla="*/ 4618793 w 8636594"/>
              <a:gd name="connsiteY44" fmla="*/ 5419830 h 6359791"/>
              <a:gd name="connsiteX45" fmla="*/ 4649922 w 8636594"/>
              <a:gd name="connsiteY45" fmla="*/ 5390040 h 6359791"/>
              <a:gd name="connsiteX46" fmla="*/ 4680742 w 8636594"/>
              <a:gd name="connsiteY46" fmla="*/ 5360014 h 6359791"/>
              <a:gd name="connsiteX47" fmla="*/ 4711259 w 8636594"/>
              <a:gd name="connsiteY47" fmla="*/ 5329755 h 6359791"/>
              <a:gd name="connsiteX48" fmla="*/ 4741478 w 8636594"/>
              <a:gd name="connsiteY48" fmla="*/ 5299266 h 6359791"/>
              <a:gd name="connsiteX49" fmla="*/ 4771408 w 8636594"/>
              <a:gd name="connsiteY49" fmla="*/ 5268551 h 6359791"/>
              <a:gd name="connsiteX50" fmla="*/ 4801053 w 8636594"/>
              <a:gd name="connsiteY50" fmla="*/ 5237614 h 6359791"/>
              <a:gd name="connsiteX51" fmla="*/ 4830420 w 8636594"/>
              <a:gd name="connsiteY51" fmla="*/ 5206458 h 6359791"/>
              <a:gd name="connsiteX52" fmla="*/ 4859516 w 8636594"/>
              <a:gd name="connsiteY52" fmla="*/ 5175087 h 6359791"/>
              <a:gd name="connsiteX53" fmla="*/ 4888347 w 8636594"/>
              <a:gd name="connsiteY53" fmla="*/ 5143504 h 6359791"/>
              <a:gd name="connsiteX54" fmla="*/ 4916919 w 8636594"/>
              <a:gd name="connsiteY54" fmla="*/ 5111713 h 6359791"/>
              <a:gd name="connsiteX55" fmla="*/ 4945238 w 8636594"/>
              <a:gd name="connsiteY55" fmla="*/ 5079717 h 6359791"/>
              <a:gd name="connsiteX56" fmla="*/ 4973311 w 8636594"/>
              <a:gd name="connsiteY56" fmla="*/ 5047519 h 6359791"/>
              <a:gd name="connsiteX57" fmla="*/ 5001145 w 8636594"/>
              <a:gd name="connsiteY57" fmla="*/ 5015124 h 6359791"/>
              <a:gd name="connsiteX58" fmla="*/ 5028745 w 8636594"/>
              <a:gd name="connsiteY58" fmla="*/ 4982535 h 6359791"/>
              <a:gd name="connsiteX59" fmla="*/ 5056117 w 8636594"/>
              <a:gd name="connsiteY59" fmla="*/ 4949755 h 6359791"/>
              <a:gd name="connsiteX60" fmla="*/ 5083269 w 8636594"/>
              <a:gd name="connsiteY60" fmla="*/ 4916787 h 6359791"/>
              <a:gd name="connsiteX61" fmla="*/ 5110207 w 8636594"/>
              <a:gd name="connsiteY61" fmla="*/ 4883636 h 6359791"/>
              <a:gd name="connsiteX62" fmla="*/ 5136937 w 8636594"/>
              <a:gd name="connsiteY62" fmla="*/ 4850305 h 6359791"/>
              <a:gd name="connsiteX63" fmla="*/ 5163464 w 8636594"/>
              <a:gd name="connsiteY63" fmla="*/ 4816797 h 6359791"/>
              <a:gd name="connsiteX64" fmla="*/ 5215940 w 8636594"/>
              <a:gd name="connsiteY64" fmla="*/ 4749265 h 6359791"/>
              <a:gd name="connsiteX65" fmla="*/ 5267684 w 8636594"/>
              <a:gd name="connsiteY65" fmla="*/ 4681068 h 6359791"/>
              <a:gd name="connsiteX66" fmla="*/ 5318748 w 8636594"/>
              <a:gd name="connsiteY66" fmla="*/ 4612234 h 6359791"/>
              <a:gd name="connsiteX67" fmla="*/ 5369182 w 8636594"/>
              <a:gd name="connsiteY67" fmla="*/ 4542793 h 6359791"/>
              <a:gd name="connsiteX68" fmla="*/ 5419038 w 8636594"/>
              <a:gd name="connsiteY68" fmla="*/ 4472771 h 6359791"/>
              <a:gd name="connsiteX69" fmla="*/ 5468365 w 8636594"/>
              <a:gd name="connsiteY69" fmla="*/ 4402196 h 6359791"/>
              <a:gd name="connsiteX70" fmla="*/ 5517215 w 8636594"/>
              <a:gd name="connsiteY70" fmla="*/ 4331098 h 6359791"/>
              <a:gd name="connsiteX71" fmla="*/ 5565637 w 8636594"/>
              <a:gd name="connsiteY71" fmla="*/ 4259503 h 6359791"/>
              <a:gd name="connsiteX72" fmla="*/ 5613684 w 8636594"/>
              <a:gd name="connsiteY72" fmla="*/ 4187441 h 6359791"/>
              <a:gd name="connsiteX73" fmla="*/ 5685160 w 8636594"/>
              <a:gd name="connsiteY73" fmla="*/ 4078531 h 6359791"/>
              <a:gd name="connsiteX74" fmla="*/ 5756074 w 8636594"/>
              <a:gd name="connsiteY74" fmla="*/ 3968727 h 6359791"/>
              <a:gd name="connsiteX75" fmla="*/ 5873483 w 8636594"/>
              <a:gd name="connsiteY75" fmla="*/ 3783989 h 6359791"/>
              <a:gd name="connsiteX76" fmla="*/ 6203209 w 8636594"/>
              <a:gd name="connsiteY76" fmla="*/ 3258640 h 6359791"/>
              <a:gd name="connsiteX77" fmla="*/ 6299430 w 8636594"/>
              <a:gd name="connsiteY77" fmla="*/ 3107321 h 6359791"/>
              <a:gd name="connsiteX78" fmla="*/ 6372650 w 8636594"/>
              <a:gd name="connsiteY78" fmla="*/ 2993735 h 6359791"/>
              <a:gd name="connsiteX79" fmla="*/ 6453197 w 8636594"/>
              <a:gd name="connsiteY79" fmla="*/ 2869788 h 6359791"/>
              <a:gd name="connsiteX80" fmla="*/ 6564167 w 8636594"/>
              <a:gd name="connsiteY80" fmla="*/ 2696807 h 6359791"/>
              <a:gd name="connsiteX81" fmla="*/ 6976233 w 8636594"/>
              <a:gd name="connsiteY81" fmla="*/ 2045274 h 6359791"/>
              <a:gd name="connsiteX82" fmla="*/ 7086755 w 8636594"/>
              <a:gd name="connsiteY82" fmla="*/ 1872743 h 6359791"/>
              <a:gd name="connsiteX83" fmla="*/ 7170279 w 8636594"/>
              <a:gd name="connsiteY83" fmla="*/ 1744202 h 6359791"/>
              <a:gd name="connsiteX84" fmla="*/ 7226351 w 8636594"/>
              <a:gd name="connsiteY84" fmla="*/ 1659017 h 6359791"/>
              <a:gd name="connsiteX85" fmla="*/ 7282789 w 8636594"/>
              <a:gd name="connsiteY85" fmla="*/ 1574303 h 6359791"/>
              <a:gd name="connsiteX86" fmla="*/ 7339643 w 8636594"/>
              <a:gd name="connsiteY86" fmla="*/ 1490113 h 6359791"/>
              <a:gd name="connsiteX87" fmla="*/ 7396957 w 8636594"/>
              <a:gd name="connsiteY87" fmla="*/ 1406503 h 6359791"/>
              <a:gd name="connsiteX88" fmla="*/ 7454781 w 8636594"/>
              <a:gd name="connsiteY88" fmla="*/ 1323526 h 6359791"/>
              <a:gd name="connsiteX89" fmla="*/ 7513161 w 8636594"/>
              <a:gd name="connsiteY89" fmla="*/ 1241237 h 6359791"/>
              <a:gd name="connsiteX90" fmla="*/ 7572144 w 8636594"/>
              <a:gd name="connsiteY90" fmla="*/ 1159689 h 6359791"/>
              <a:gd name="connsiteX91" fmla="*/ 7601877 w 8636594"/>
              <a:gd name="connsiteY91" fmla="*/ 1119210 h 6359791"/>
              <a:gd name="connsiteX92" fmla="*/ 7631779 w 8636594"/>
              <a:gd name="connsiteY92" fmla="*/ 1078937 h 6359791"/>
              <a:gd name="connsiteX93" fmla="*/ 7661855 w 8636594"/>
              <a:gd name="connsiteY93" fmla="*/ 1038876 h 6359791"/>
              <a:gd name="connsiteX94" fmla="*/ 7692111 w 8636594"/>
              <a:gd name="connsiteY94" fmla="*/ 999035 h 6359791"/>
              <a:gd name="connsiteX95" fmla="*/ 7722554 w 8636594"/>
              <a:gd name="connsiteY95" fmla="*/ 959419 h 6359791"/>
              <a:gd name="connsiteX96" fmla="*/ 7753190 w 8636594"/>
              <a:gd name="connsiteY96" fmla="*/ 920037 h 6359791"/>
              <a:gd name="connsiteX97" fmla="*/ 7784023 w 8636594"/>
              <a:gd name="connsiteY97" fmla="*/ 880894 h 6359791"/>
              <a:gd name="connsiteX98" fmla="*/ 7815061 w 8636594"/>
              <a:gd name="connsiteY98" fmla="*/ 841997 h 6359791"/>
              <a:gd name="connsiteX99" fmla="*/ 7846308 w 8636594"/>
              <a:gd name="connsiteY99" fmla="*/ 803354 h 6359791"/>
              <a:gd name="connsiteX100" fmla="*/ 7877772 w 8636594"/>
              <a:gd name="connsiteY100" fmla="*/ 764970 h 6359791"/>
              <a:gd name="connsiteX101" fmla="*/ 7909458 w 8636594"/>
              <a:gd name="connsiteY101" fmla="*/ 726853 h 6359791"/>
              <a:gd name="connsiteX102" fmla="*/ 7941371 w 8636594"/>
              <a:gd name="connsiteY102" fmla="*/ 689010 h 6359791"/>
              <a:gd name="connsiteX103" fmla="*/ 7973518 w 8636594"/>
              <a:gd name="connsiteY103" fmla="*/ 651447 h 6359791"/>
              <a:gd name="connsiteX104" fmla="*/ 8005905 w 8636594"/>
              <a:gd name="connsiteY104" fmla="*/ 614171 h 6359791"/>
              <a:gd name="connsiteX105" fmla="*/ 8038538 w 8636594"/>
              <a:gd name="connsiteY105" fmla="*/ 577189 h 6359791"/>
              <a:gd name="connsiteX106" fmla="*/ 8071421 w 8636594"/>
              <a:gd name="connsiteY106" fmla="*/ 540507 h 6359791"/>
              <a:gd name="connsiteX107" fmla="*/ 8104563 w 8636594"/>
              <a:gd name="connsiteY107" fmla="*/ 504132 h 6359791"/>
              <a:gd name="connsiteX108" fmla="*/ 8137967 w 8636594"/>
              <a:gd name="connsiteY108" fmla="*/ 468072 h 6359791"/>
              <a:gd name="connsiteX109" fmla="*/ 8171641 w 8636594"/>
              <a:gd name="connsiteY109" fmla="*/ 432332 h 6359791"/>
              <a:gd name="connsiteX110" fmla="*/ 8205590 w 8636594"/>
              <a:gd name="connsiteY110" fmla="*/ 396920 h 6359791"/>
              <a:gd name="connsiteX111" fmla="*/ 8239820 w 8636594"/>
              <a:gd name="connsiteY111" fmla="*/ 361843 h 6359791"/>
              <a:gd name="connsiteX112" fmla="*/ 8274337 w 8636594"/>
              <a:gd name="connsiteY112" fmla="*/ 327107 h 6359791"/>
              <a:gd name="connsiteX113" fmla="*/ 8309147 w 8636594"/>
              <a:gd name="connsiteY113" fmla="*/ 292718 h 6359791"/>
              <a:gd name="connsiteX114" fmla="*/ 8344256 w 8636594"/>
              <a:gd name="connsiteY114" fmla="*/ 258685 h 6359791"/>
              <a:gd name="connsiteX115" fmla="*/ 8379669 w 8636594"/>
              <a:gd name="connsiteY115" fmla="*/ 225013 h 6359791"/>
              <a:gd name="connsiteX116" fmla="*/ 8415394 w 8636594"/>
              <a:gd name="connsiteY116" fmla="*/ 191709 h 6359791"/>
              <a:gd name="connsiteX117" fmla="*/ 8451434 w 8636594"/>
              <a:gd name="connsiteY117" fmla="*/ 158780 h 6359791"/>
              <a:gd name="connsiteX118" fmla="*/ 8487798 w 8636594"/>
              <a:gd name="connsiteY118" fmla="*/ 126233 h 6359791"/>
              <a:gd name="connsiteX119" fmla="*/ 8524489 w 8636594"/>
              <a:gd name="connsiteY119" fmla="*/ 94075 h 6359791"/>
              <a:gd name="connsiteX120" fmla="*/ 8561515 w 8636594"/>
              <a:gd name="connsiteY120" fmla="*/ 62312 h 6359791"/>
              <a:gd name="connsiteX121" fmla="*/ 8598881 w 8636594"/>
              <a:gd name="connsiteY121" fmla="*/ 30951 h 6359791"/>
              <a:gd name="connsiteX122" fmla="*/ 8636594 w 8636594"/>
              <a:gd name="connsiteY122" fmla="*/ 0 h 6359791"/>
              <a:gd name="connsiteX0" fmla="*/ 8636594 w 8636594"/>
              <a:gd name="connsiteY0" fmla="*/ 0 h 6341961"/>
              <a:gd name="connsiteX1" fmla="*/ 5293 w 8636594"/>
              <a:gd name="connsiteY1" fmla="*/ 0 h 6341961"/>
              <a:gd name="connsiteX2" fmla="*/ 0 w 8636594"/>
              <a:gd name="connsiteY2" fmla="*/ 5587843 h 6341961"/>
              <a:gd name="connsiteX3" fmla="*/ 1594033 w 8636594"/>
              <a:gd name="connsiteY3" fmla="*/ 5600057 h 6341961"/>
              <a:gd name="connsiteX4" fmla="*/ 1686068 w 8636594"/>
              <a:gd name="connsiteY4" fmla="*/ 5599745 h 6341961"/>
              <a:gd name="connsiteX5" fmla="*/ 3143903 w 8636594"/>
              <a:gd name="connsiteY5" fmla="*/ 6341961 h 6341961"/>
              <a:gd name="connsiteX6" fmla="*/ 3191491 w 8636594"/>
              <a:gd name="connsiteY6" fmla="*/ 6323757 h 6341961"/>
              <a:gd name="connsiteX7" fmla="*/ 3238528 w 8636594"/>
              <a:gd name="connsiteY7" fmla="*/ 6305184 h 6341961"/>
              <a:gd name="connsiteX8" fmla="*/ 3285021 w 8636594"/>
              <a:gd name="connsiteY8" fmla="*/ 6286245 h 6341961"/>
              <a:gd name="connsiteX9" fmla="*/ 3330977 w 8636594"/>
              <a:gd name="connsiteY9" fmla="*/ 6266942 h 6341961"/>
              <a:gd name="connsiteX10" fmla="*/ 3376401 w 8636594"/>
              <a:gd name="connsiteY10" fmla="*/ 6247281 h 6341961"/>
              <a:gd name="connsiteX11" fmla="*/ 3421300 w 8636594"/>
              <a:gd name="connsiteY11" fmla="*/ 6227263 h 6341961"/>
              <a:gd name="connsiteX12" fmla="*/ 3465680 w 8636594"/>
              <a:gd name="connsiteY12" fmla="*/ 6206893 h 6341961"/>
              <a:gd name="connsiteX13" fmla="*/ 3509548 w 8636594"/>
              <a:gd name="connsiteY13" fmla="*/ 6186174 h 6341961"/>
              <a:gd name="connsiteX14" fmla="*/ 3552910 w 8636594"/>
              <a:gd name="connsiteY14" fmla="*/ 6165110 h 6341961"/>
              <a:gd name="connsiteX15" fmla="*/ 3595773 w 8636594"/>
              <a:gd name="connsiteY15" fmla="*/ 6143704 h 6341961"/>
              <a:gd name="connsiteX16" fmla="*/ 3638142 w 8636594"/>
              <a:gd name="connsiteY16" fmla="*/ 6121960 h 6341961"/>
              <a:gd name="connsiteX17" fmla="*/ 3680024 w 8636594"/>
              <a:gd name="connsiteY17" fmla="*/ 6099881 h 6341961"/>
              <a:gd name="connsiteX18" fmla="*/ 3721426 w 8636594"/>
              <a:gd name="connsiteY18" fmla="*/ 6077471 h 6341961"/>
              <a:gd name="connsiteX19" fmla="*/ 3762353 w 8636594"/>
              <a:gd name="connsiteY19" fmla="*/ 6054733 h 6341961"/>
              <a:gd name="connsiteX20" fmla="*/ 3802812 w 8636594"/>
              <a:gd name="connsiteY20" fmla="*/ 6031671 h 6341961"/>
              <a:gd name="connsiteX21" fmla="*/ 3842810 w 8636594"/>
              <a:gd name="connsiteY21" fmla="*/ 6008288 h 6341961"/>
              <a:gd name="connsiteX22" fmla="*/ 3882352 w 8636594"/>
              <a:gd name="connsiteY22" fmla="*/ 5984588 h 6341961"/>
              <a:gd name="connsiteX23" fmla="*/ 3921445 w 8636594"/>
              <a:gd name="connsiteY23" fmla="*/ 5960574 h 6341961"/>
              <a:gd name="connsiteX24" fmla="*/ 3960096 w 8636594"/>
              <a:gd name="connsiteY24" fmla="*/ 5936250 h 6341961"/>
              <a:gd name="connsiteX25" fmla="*/ 3998311 w 8636594"/>
              <a:gd name="connsiteY25" fmla="*/ 5911619 h 6341961"/>
              <a:gd name="connsiteX26" fmla="*/ 4036095 w 8636594"/>
              <a:gd name="connsiteY26" fmla="*/ 5886685 h 6341961"/>
              <a:gd name="connsiteX27" fmla="*/ 4073456 w 8636594"/>
              <a:gd name="connsiteY27" fmla="*/ 5861452 h 6341961"/>
              <a:gd name="connsiteX28" fmla="*/ 4110400 w 8636594"/>
              <a:gd name="connsiteY28" fmla="*/ 5835922 h 6341961"/>
              <a:gd name="connsiteX29" fmla="*/ 4146933 w 8636594"/>
              <a:gd name="connsiteY29" fmla="*/ 5810100 h 6341961"/>
              <a:gd name="connsiteX30" fmla="*/ 4183061 w 8636594"/>
              <a:gd name="connsiteY30" fmla="*/ 5783988 h 6341961"/>
              <a:gd name="connsiteX31" fmla="*/ 4218791 w 8636594"/>
              <a:gd name="connsiteY31" fmla="*/ 5757591 h 6341961"/>
              <a:gd name="connsiteX32" fmla="*/ 4254129 w 8636594"/>
              <a:gd name="connsiteY32" fmla="*/ 5730912 h 6341961"/>
              <a:gd name="connsiteX33" fmla="*/ 4289081 w 8636594"/>
              <a:gd name="connsiteY33" fmla="*/ 5703955 h 6341961"/>
              <a:gd name="connsiteX34" fmla="*/ 4323654 w 8636594"/>
              <a:gd name="connsiteY34" fmla="*/ 5676722 h 6341961"/>
              <a:gd name="connsiteX35" fmla="*/ 4357854 w 8636594"/>
              <a:gd name="connsiteY35" fmla="*/ 5649218 h 6341961"/>
              <a:gd name="connsiteX36" fmla="*/ 4391688 w 8636594"/>
              <a:gd name="connsiteY36" fmla="*/ 5621446 h 6341961"/>
              <a:gd name="connsiteX37" fmla="*/ 4425162 w 8636594"/>
              <a:gd name="connsiteY37" fmla="*/ 5593409 h 6341961"/>
              <a:gd name="connsiteX38" fmla="*/ 4458281 w 8636594"/>
              <a:gd name="connsiteY38" fmla="*/ 5565111 h 6341961"/>
              <a:gd name="connsiteX39" fmla="*/ 4491053 w 8636594"/>
              <a:gd name="connsiteY39" fmla="*/ 5536556 h 6341961"/>
              <a:gd name="connsiteX40" fmla="*/ 4523484 w 8636594"/>
              <a:gd name="connsiteY40" fmla="*/ 5507747 h 6341961"/>
              <a:gd name="connsiteX41" fmla="*/ 4555580 w 8636594"/>
              <a:gd name="connsiteY41" fmla="*/ 5478687 h 6341961"/>
              <a:gd name="connsiteX42" fmla="*/ 4587347 w 8636594"/>
              <a:gd name="connsiteY42" fmla="*/ 5449380 h 6341961"/>
              <a:gd name="connsiteX43" fmla="*/ 4618793 w 8636594"/>
              <a:gd name="connsiteY43" fmla="*/ 5419830 h 6341961"/>
              <a:gd name="connsiteX44" fmla="*/ 4649922 w 8636594"/>
              <a:gd name="connsiteY44" fmla="*/ 5390040 h 6341961"/>
              <a:gd name="connsiteX45" fmla="*/ 4680742 w 8636594"/>
              <a:gd name="connsiteY45" fmla="*/ 5360014 h 6341961"/>
              <a:gd name="connsiteX46" fmla="*/ 4711259 w 8636594"/>
              <a:gd name="connsiteY46" fmla="*/ 5329755 h 6341961"/>
              <a:gd name="connsiteX47" fmla="*/ 4741478 w 8636594"/>
              <a:gd name="connsiteY47" fmla="*/ 5299266 h 6341961"/>
              <a:gd name="connsiteX48" fmla="*/ 4771408 w 8636594"/>
              <a:gd name="connsiteY48" fmla="*/ 5268551 h 6341961"/>
              <a:gd name="connsiteX49" fmla="*/ 4801053 w 8636594"/>
              <a:gd name="connsiteY49" fmla="*/ 5237614 h 6341961"/>
              <a:gd name="connsiteX50" fmla="*/ 4830420 w 8636594"/>
              <a:gd name="connsiteY50" fmla="*/ 5206458 h 6341961"/>
              <a:gd name="connsiteX51" fmla="*/ 4859516 w 8636594"/>
              <a:gd name="connsiteY51" fmla="*/ 5175087 h 6341961"/>
              <a:gd name="connsiteX52" fmla="*/ 4888347 w 8636594"/>
              <a:gd name="connsiteY52" fmla="*/ 5143504 h 6341961"/>
              <a:gd name="connsiteX53" fmla="*/ 4916919 w 8636594"/>
              <a:gd name="connsiteY53" fmla="*/ 5111713 h 6341961"/>
              <a:gd name="connsiteX54" fmla="*/ 4945238 w 8636594"/>
              <a:gd name="connsiteY54" fmla="*/ 5079717 h 6341961"/>
              <a:gd name="connsiteX55" fmla="*/ 4973311 w 8636594"/>
              <a:gd name="connsiteY55" fmla="*/ 5047519 h 6341961"/>
              <a:gd name="connsiteX56" fmla="*/ 5001145 w 8636594"/>
              <a:gd name="connsiteY56" fmla="*/ 5015124 h 6341961"/>
              <a:gd name="connsiteX57" fmla="*/ 5028745 w 8636594"/>
              <a:gd name="connsiteY57" fmla="*/ 4982535 h 6341961"/>
              <a:gd name="connsiteX58" fmla="*/ 5056117 w 8636594"/>
              <a:gd name="connsiteY58" fmla="*/ 4949755 h 6341961"/>
              <a:gd name="connsiteX59" fmla="*/ 5083269 w 8636594"/>
              <a:gd name="connsiteY59" fmla="*/ 4916787 h 6341961"/>
              <a:gd name="connsiteX60" fmla="*/ 5110207 w 8636594"/>
              <a:gd name="connsiteY60" fmla="*/ 4883636 h 6341961"/>
              <a:gd name="connsiteX61" fmla="*/ 5136937 w 8636594"/>
              <a:gd name="connsiteY61" fmla="*/ 4850305 h 6341961"/>
              <a:gd name="connsiteX62" fmla="*/ 5163464 w 8636594"/>
              <a:gd name="connsiteY62" fmla="*/ 4816797 h 6341961"/>
              <a:gd name="connsiteX63" fmla="*/ 5215940 w 8636594"/>
              <a:gd name="connsiteY63" fmla="*/ 4749265 h 6341961"/>
              <a:gd name="connsiteX64" fmla="*/ 5267684 w 8636594"/>
              <a:gd name="connsiteY64" fmla="*/ 4681068 h 6341961"/>
              <a:gd name="connsiteX65" fmla="*/ 5318748 w 8636594"/>
              <a:gd name="connsiteY65" fmla="*/ 4612234 h 6341961"/>
              <a:gd name="connsiteX66" fmla="*/ 5369182 w 8636594"/>
              <a:gd name="connsiteY66" fmla="*/ 4542793 h 6341961"/>
              <a:gd name="connsiteX67" fmla="*/ 5419038 w 8636594"/>
              <a:gd name="connsiteY67" fmla="*/ 4472771 h 6341961"/>
              <a:gd name="connsiteX68" fmla="*/ 5468365 w 8636594"/>
              <a:gd name="connsiteY68" fmla="*/ 4402196 h 6341961"/>
              <a:gd name="connsiteX69" fmla="*/ 5517215 w 8636594"/>
              <a:gd name="connsiteY69" fmla="*/ 4331098 h 6341961"/>
              <a:gd name="connsiteX70" fmla="*/ 5565637 w 8636594"/>
              <a:gd name="connsiteY70" fmla="*/ 4259503 h 6341961"/>
              <a:gd name="connsiteX71" fmla="*/ 5613684 w 8636594"/>
              <a:gd name="connsiteY71" fmla="*/ 4187441 h 6341961"/>
              <a:gd name="connsiteX72" fmla="*/ 5685160 w 8636594"/>
              <a:gd name="connsiteY72" fmla="*/ 4078531 h 6341961"/>
              <a:gd name="connsiteX73" fmla="*/ 5756074 w 8636594"/>
              <a:gd name="connsiteY73" fmla="*/ 3968727 h 6341961"/>
              <a:gd name="connsiteX74" fmla="*/ 5873483 w 8636594"/>
              <a:gd name="connsiteY74" fmla="*/ 3783989 h 6341961"/>
              <a:gd name="connsiteX75" fmla="*/ 6203209 w 8636594"/>
              <a:gd name="connsiteY75" fmla="*/ 3258640 h 6341961"/>
              <a:gd name="connsiteX76" fmla="*/ 6299430 w 8636594"/>
              <a:gd name="connsiteY76" fmla="*/ 3107321 h 6341961"/>
              <a:gd name="connsiteX77" fmla="*/ 6372650 w 8636594"/>
              <a:gd name="connsiteY77" fmla="*/ 2993735 h 6341961"/>
              <a:gd name="connsiteX78" fmla="*/ 6453197 w 8636594"/>
              <a:gd name="connsiteY78" fmla="*/ 2869788 h 6341961"/>
              <a:gd name="connsiteX79" fmla="*/ 6564167 w 8636594"/>
              <a:gd name="connsiteY79" fmla="*/ 2696807 h 6341961"/>
              <a:gd name="connsiteX80" fmla="*/ 6976233 w 8636594"/>
              <a:gd name="connsiteY80" fmla="*/ 2045274 h 6341961"/>
              <a:gd name="connsiteX81" fmla="*/ 7086755 w 8636594"/>
              <a:gd name="connsiteY81" fmla="*/ 1872743 h 6341961"/>
              <a:gd name="connsiteX82" fmla="*/ 7170279 w 8636594"/>
              <a:gd name="connsiteY82" fmla="*/ 1744202 h 6341961"/>
              <a:gd name="connsiteX83" fmla="*/ 7226351 w 8636594"/>
              <a:gd name="connsiteY83" fmla="*/ 1659017 h 6341961"/>
              <a:gd name="connsiteX84" fmla="*/ 7282789 w 8636594"/>
              <a:gd name="connsiteY84" fmla="*/ 1574303 h 6341961"/>
              <a:gd name="connsiteX85" fmla="*/ 7339643 w 8636594"/>
              <a:gd name="connsiteY85" fmla="*/ 1490113 h 6341961"/>
              <a:gd name="connsiteX86" fmla="*/ 7396957 w 8636594"/>
              <a:gd name="connsiteY86" fmla="*/ 1406503 h 6341961"/>
              <a:gd name="connsiteX87" fmla="*/ 7454781 w 8636594"/>
              <a:gd name="connsiteY87" fmla="*/ 1323526 h 6341961"/>
              <a:gd name="connsiteX88" fmla="*/ 7513161 w 8636594"/>
              <a:gd name="connsiteY88" fmla="*/ 1241237 h 6341961"/>
              <a:gd name="connsiteX89" fmla="*/ 7572144 w 8636594"/>
              <a:gd name="connsiteY89" fmla="*/ 1159689 h 6341961"/>
              <a:gd name="connsiteX90" fmla="*/ 7601877 w 8636594"/>
              <a:gd name="connsiteY90" fmla="*/ 1119210 h 6341961"/>
              <a:gd name="connsiteX91" fmla="*/ 7631779 w 8636594"/>
              <a:gd name="connsiteY91" fmla="*/ 1078937 h 6341961"/>
              <a:gd name="connsiteX92" fmla="*/ 7661855 w 8636594"/>
              <a:gd name="connsiteY92" fmla="*/ 1038876 h 6341961"/>
              <a:gd name="connsiteX93" fmla="*/ 7692111 w 8636594"/>
              <a:gd name="connsiteY93" fmla="*/ 999035 h 6341961"/>
              <a:gd name="connsiteX94" fmla="*/ 7722554 w 8636594"/>
              <a:gd name="connsiteY94" fmla="*/ 959419 h 6341961"/>
              <a:gd name="connsiteX95" fmla="*/ 7753190 w 8636594"/>
              <a:gd name="connsiteY95" fmla="*/ 920037 h 6341961"/>
              <a:gd name="connsiteX96" fmla="*/ 7784023 w 8636594"/>
              <a:gd name="connsiteY96" fmla="*/ 880894 h 6341961"/>
              <a:gd name="connsiteX97" fmla="*/ 7815061 w 8636594"/>
              <a:gd name="connsiteY97" fmla="*/ 841997 h 6341961"/>
              <a:gd name="connsiteX98" fmla="*/ 7846308 w 8636594"/>
              <a:gd name="connsiteY98" fmla="*/ 803354 h 6341961"/>
              <a:gd name="connsiteX99" fmla="*/ 7877772 w 8636594"/>
              <a:gd name="connsiteY99" fmla="*/ 764970 h 6341961"/>
              <a:gd name="connsiteX100" fmla="*/ 7909458 w 8636594"/>
              <a:gd name="connsiteY100" fmla="*/ 726853 h 6341961"/>
              <a:gd name="connsiteX101" fmla="*/ 7941371 w 8636594"/>
              <a:gd name="connsiteY101" fmla="*/ 689010 h 6341961"/>
              <a:gd name="connsiteX102" fmla="*/ 7973518 w 8636594"/>
              <a:gd name="connsiteY102" fmla="*/ 651447 h 6341961"/>
              <a:gd name="connsiteX103" fmla="*/ 8005905 w 8636594"/>
              <a:gd name="connsiteY103" fmla="*/ 614171 h 6341961"/>
              <a:gd name="connsiteX104" fmla="*/ 8038538 w 8636594"/>
              <a:gd name="connsiteY104" fmla="*/ 577189 h 6341961"/>
              <a:gd name="connsiteX105" fmla="*/ 8071421 w 8636594"/>
              <a:gd name="connsiteY105" fmla="*/ 540507 h 6341961"/>
              <a:gd name="connsiteX106" fmla="*/ 8104563 w 8636594"/>
              <a:gd name="connsiteY106" fmla="*/ 504132 h 6341961"/>
              <a:gd name="connsiteX107" fmla="*/ 8137967 w 8636594"/>
              <a:gd name="connsiteY107" fmla="*/ 468072 h 6341961"/>
              <a:gd name="connsiteX108" fmla="*/ 8171641 w 8636594"/>
              <a:gd name="connsiteY108" fmla="*/ 432332 h 6341961"/>
              <a:gd name="connsiteX109" fmla="*/ 8205590 w 8636594"/>
              <a:gd name="connsiteY109" fmla="*/ 396920 h 6341961"/>
              <a:gd name="connsiteX110" fmla="*/ 8239820 w 8636594"/>
              <a:gd name="connsiteY110" fmla="*/ 361843 h 6341961"/>
              <a:gd name="connsiteX111" fmla="*/ 8274337 w 8636594"/>
              <a:gd name="connsiteY111" fmla="*/ 327107 h 6341961"/>
              <a:gd name="connsiteX112" fmla="*/ 8309147 w 8636594"/>
              <a:gd name="connsiteY112" fmla="*/ 292718 h 6341961"/>
              <a:gd name="connsiteX113" fmla="*/ 8344256 w 8636594"/>
              <a:gd name="connsiteY113" fmla="*/ 258685 h 6341961"/>
              <a:gd name="connsiteX114" fmla="*/ 8379669 w 8636594"/>
              <a:gd name="connsiteY114" fmla="*/ 225013 h 6341961"/>
              <a:gd name="connsiteX115" fmla="*/ 8415394 w 8636594"/>
              <a:gd name="connsiteY115" fmla="*/ 191709 h 6341961"/>
              <a:gd name="connsiteX116" fmla="*/ 8451434 w 8636594"/>
              <a:gd name="connsiteY116" fmla="*/ 158780 h 6341961"/>
              <a:gd name="connsiteX117" fmla="*/ 8487798 w 8636594"/>
              <a:gd name="connsiteY117" fmla="*/ 126233 h 6341961"/>
              <a:gd name="connsiteX118" fmla="*/ 8524489 w 8636594"/>
              <a:gd name="connsiteY118" fmla="*/ 94075 h 6341961"/>
              <a:gd name="connsiteX119" fmla="*/ 8561515 w 8636594"/>
              <a:gd name="connsiteY119" fmla="*/ 62312 h 6341961"/>
              <a:gd name="connsiteX120" fmla="*/ 8598881 w 8636594"/>
              <a:gd name="connsiteY120" fmla="*/ 30951 h 6341961"/>
              <a:gd name="connsiteX121" fmla="*/ 8636594 w 8636594"/>
              <a:gd name="connsiteY121" fmla="*/ 0 h 6341961"/>
              <a:gd name="connsiteX0" fmla="*/ 8636594 w 8636594"/>
              <a:gd name="connsiteY0" fmla="*/ 0 h 6323757"/>
              <a:gd name="connsiteX1" fmla="*/ 5293 w 8636594"/>
              <a:gd name="connsiteY1" fmla="*/ 0 h 6323757"/>
              <a:gd name="connsiteX2" fmla="*/ 0 w 8636594"/>
              <a:gd name="connsiteY2" fmla="*/ 5587843 h 6323757"/>
              <a:gd name="connsiteX3" fmla="*/ 1594033 w 8636594"/>
              <a:gd name="connsiteY3" fmla="*/ 5600057 h 6323757"/>
              <a:gd name="connsiteX4" fmla="*/ 1686068 w 8636594"/>
              <a:gd name="connsiteY4" fmla="*/ 5599745 h 6323757"/>
              <a:gd name="connsiteX5" fmla="*/ 3191491 w 8636594"/>
              <a:gd name="connsiteY5" fmla="*/ 6323757 h 6323757"/>
              <a:gd name="connsiteX6" fmla="*/ 3238528 w 8636594"/>
              <a:gd name="connsiteY6" fmla="*/ 6305184 h 6323757"/>
              <a:gd name="connsiteX7" fmla="*/ 3285021 w 8636594"/>
              <a:gd name="connsiteY7" fmla="*/ 6286245 h 6323757"/>
              <a:gd name="connsiteX8" fmla="*/ 3330977 w 8636594"/>
              <a:gd name="connsiteY8" fmla="*/ 6266942 h 6323757"/>
              <a:gd name="connsiteX9" fmla="*/ 3376401 w 8636594"/>
              <a:gd name="connsiteY9" fmla="*/ 6247281 h 6323757"/>
              <a:gd name="connsiteX10" fmla="*/ 3421300 w 8636594"/>
              <a:gd name="connsiteY10" fmla="*/ 6227263 h 6323757"/>
              <a:gd name="connsiteX11" fmla="*/ 3465680 w 8636594"/>
              <a:gd name="connsiteY11" fmla="*/ 6206893 h 6323757"/>
              <a:gd name="connsiteX12" fmla="*/ 3509548 w 8636594"/>
              <a:gd name="connsiteY12" fmla="*/ 6186174 h 6323757"/>
              <a:gd name="connsiteX13" fmla="*/ 3552910 w 8636594"/>
              <a:gd name="connsiteY13" fmla="*/ 6165110 h 6323757"/>
              <a:gd name="connsiteX14" fmla="*/ 3595773 w 8636594"/>
              <a:gd name="connsiteY14" fmla="*/ 6143704 h 6323757"/>
              <a:gd name="connsiteX15" fmla="*/ 3638142 w 8636594"/>
              <a:gd name="connsiteY15" fmla="*/ 6121960 h 6323757"/>
              <a:gd name="connsiteX16" fmla="*/ 3680024 w 8636594"/>
              <a:gd name="connsiteY16" fmla="*/ 6099881 h 6323757"/>
              <a:gd name="connsiteX17" fmla="*/ 3721426 w 8636594"/>
              <a:gd name="connsiteY17" fmla="*/ 6077471 h 6323757"/>
              <a:gd name="connsiteX18" fmla="*/ 3762353 w 8636594"/>
              <a:gd name="connsiteY18" fmla="*/ 6054733 h 6323757"/>
              <a:gd name="connsiteX19" fmla="*/ 3802812 w 8636594"/>
              <a:gd name="connsiteY19" fmla="*/ 6031671 h 6323757"/>
              <a:gd name="connsiteX20" fmla="*/ 3842810 w 8636594"/>
              <a:gd name="connsiteY20" fmla="*/ 6008288 h 6323757"/>
              <a:gd name="connsiteX21" fmla="*/ 3882352 w 8636594"/>
              <a:gd name="connsiteY21" fmla="*/ 5984588 h 6323757"/>
              <a:gd name="connsiteX22" fmla="*/ 3921445 w 8636594"/>
              <a:gd name="connsiteY22" fmla="*/ 5960574 h 6323757"/>
              <a:gd name="connsiteX23" fmla="*/ 3960096 w 8636594"/>
              <a:gd name="connsiteY23" fmla="*/ 5936250 h 6323757"/>
              <a:gd name="connsiteX24" fmla="*/ 3998311 w 8636594"/>
              <a:gd name="connsiteY24" fmla="*/ 5911619 h 6323757"/>
              <a:gd name="connsiteX25" fmla="*/ 4036095 w 8636594"/>
              <a:gd name="connsiteY25" fmla="*/ 5886685 h 6323757"/>
              <a:gd name="connsiteX26" fmla="*/ 4073456 w 8636594"/>
              <a:gd name="connsiteY26" fmla="*/ 5861452 h 6323757"/>
              <a:gd name="connsiteX27" fmla="*/ 4110400 w 8636594"/>
              <a:gd name="connsiteY27" fmla="*/ 5835922 h 6323757"/>
              <a:gd name="connsiteX28" fmla="*/ 4146933 w 8636594"/>
              <a:gd name="connsiteY28" fmla="*/ 5810100 h 6323757"/>
              <a:gd name="connsiteX29" fmla="*/ 4183061 w 8636594"/>
              <a:gd name="connsiteY29" fmla="*/ 5783988 h 6323757"/>
              <a:gd name="connsiteX30" fmla="*/ 4218791 w 8636594"/>
              <a:gd name="connsiteY30" fmla="*/ 5757591 h 6323757"/>
              <a:gd name="connsiteX31" fmla="*/ 4254129 w 8636594"/>
              <a:gd name="connsiteY31" fmla="*/ 5730912 h 6323757"/>
              <a:gd name="connsiteX32" fmla="*/ 4289081 w 8636594"/>
              <a:gd name="connsiteY32" fmla="*/ 5703955 h 6323757"/>
              <a:gd name="connsiteX33" fmla="*/ 4323654 w 8636594"/>
              <a:gd name="connsiteY33" fmla="*/ 5676722 h 6323757"/>
              <a:gd name="connsiteX34" fmla="*/ 4357854 w 8636594"/>
              <a:gd name="connsiteY34" fmla="*/ 5649218 h 6323757"/>
              <a:gd name="connsiteX35" fmla="*/ 4391688 w 8636594"/>
              <a:gd name="connsiteY35" fmla="*/ 5621446 h 6323757"/>
              <a:gd name="connsiteX36" fmla="*/ 4425162 w 8636594"/>
              <a:gd name="connsiteY36" fmla="*/ 5593409 h 6323757"/>
              <a:gd name="connsiteX37" fmla="*/ 4458281 w 8636594"/>
              <a:gd name="connsiteY37" fmla="*/ 5565111 h 6323757"/>
              <a:gd name="connsiteX38" fmla="*/ 4491053 w 8636594"/>
              <a:gd name="connsiteY38" fmla="*/ 5536556 h 6323757"/>
              <a:gd name="connsiteX39" fmla="*/ 4523484 w 8636594"/>
              <a:gd name="connsiteY39" fmla="*/ 5507747 h 6323757"/>
              <a:gd name="connsiteX40" fmla="*/ 4555580 w 8636594"/>
              <a:gd name="connsiteY40" fmla="*/ 5478687 h 6323757"/>
              <a:gd name="connsiteX41" fmla="*/ 4587347 w 8636594"/>
              <a:gd name="connsiteY41" fmla="*/ 5449380 h 6323757"/>
              <a:gd name="connsiteX42" fmla="*/ 4618793 w 8636594"/>
              <a:gd name="connsiteY42" fmla="*/ 5419830 h 6323757"/>
              <a:gd name="connsiteX43" fmla="*/ 4649922 w 8636594"/>
              <a:gd name="connsiteY43" fmla="*/ 5390040 h 6323757"/>
              <a:gd name="connsiteX44" fmla="*/ 4680742 w 8636594"/>
              <a:gd name="connsiteY44" fmla="*/ 5360014 h 6323757"/>
              <a:gd name="connsiteX45" fmla="*/ 4711259 w 8636594"/>
              <a:gd name="connsiteY45" fmla="*/ 5329755 h 6323757"/>
              <a:gd name="connsiteX46" fmla="*/ 4741478 w 8636594"/>
              <a:gd name="connsiteY46" fmla="*/ 5299266 h 6323757"/>
              <a:gd name="connsiteX47" fmla="*/ 4771408 w 8636594"/>
              <a:gd name="connsiteY47" fmla="*/ 5268551 h 6323757"/>
              <a:gd name="connsiteX48" fmla="*/ 4801053 w 8636594"/>
              <a:gd name="connsiteY48" fmla="*/ 5237614 h 6323757"/>
              <a:gd name="connsiteX49" fmla="*/ 4830420 w 8636594"/>
              <a:gd name="connsiteY49" fmla="*/ 5206458 h 6323757"/>
              <a:gd name="connsiteX50" fmla="*/ 4859516 w 8636594"/>
              <a:gd name="connsiteY50" fmla="*/ 5175087 h 6323757"/>
              <a:gd name="connsiteX51" fmla="*/ 4888347 w 8636594"/>
              <a:gd name="connsiteY51" fmla="*/ 5143504 h 6323757"/>
              <a:gd name="connsiteX52" fmla="*/ 4916919 w 8636594"/>
              <a:gd name="connsiteY52" fmla="*/ 5111713 h 6323757"/>
              <a:gd name="connsiteX53" fmla="*/ 4945238 w 8636594"/>
              <a:gd name="connsiteY53" fmla="*/ 5079717 h 6323757"/>
              <a:gd name="connsiteX54" fmla="*/ 4973311 w 8636594"/>
              <a:gd name="connsiteY54" fmla="*/ 5047519 h 6323757"/>
              <a:gd name="connsiteX55" fmla="*/ 5001145 w 8636594"/>
              <a:gd name="connsiteY55" fmla="*/ 5015124 h 6323757"/>
              <a:gd name="connsiteX56" fmla="*/ 5028745 w 8636594"/>
              <a:gd name="connsiteY56" fmla="*/ 4982535 h 6323757"/>
              <a:gd name="connsiteX57" fmla="*/ 5056117 w 8636594"/>
              <a:gd name="connsiteY57" fmla="*/ 4949755 h 6323757"/>
              <a:gd name="connsiteX58" fmla="*/ 5083269 w 8636594"/>
              <a:gd name="connsiteY58" fmla="*/ 4916787 h 6323757"/>
              <a:gd name="connsiteX59" fmla="*/ 5110207 w 8636594"/>
              <a:gd name="connsiteY59" fmla="*/ 4883636 h 6323757"/>
              <a:gd name="connsiteX60" fmla="*/ 5136937 w 8636594"/>
              <a:gd name="connsiteY60" fmla="*/ 4850305 h 6323757"/>
              <a:gd name="connsiteX61" fmla="*/ 5163464 w 8636594"/>
              <a:gd name="connsiteY61" fmla="*/ 4816797 h 6323757"/>
              <a:gd name="connsiteX62" fmla="*/ 5215940 w 8636594"/>
              <a:gd name="connsiteY62" fmla="*/ 4749265 h 6323757"/>
              <a:gd name="connsiteX63" fmla="*/ 5267684 w 8636594"/>
              <a:gd name="connsiteY63" fmla="*/ 4681068 h 6323757"/>
              <a:gd name="connsiteX64" fmla="*/ 5318748 w 8636594"/>
              <a:gd name="connsiteY64" fmla="*/ 4612234 h 6323757"/>
              <a:gd name="connsiteX65" fmla="*/ 5369182 w 8636594"/>
              <a:gd name="connsiteY65" fmla="*/ 4542793 h 6323757"/>
              <a:gd name="connsiteX66" fmla="*/ 5419038 w 8636594"/>
              <a:gd name="connsiteY66" fmla="*/ 4472771 h 6323757"/>
              <a:gd name="connsiteX67" fmla="*/ 5468365 w 8636594"/>
              <a:gd name="connsiteY67" fmla="*/ 4402196 h 6323757"/>
              <a:gd name="connsiteX68" fmla="*/ 5517215 w 8636594"/>
              <a:gd name="connsiteY68" fmla="*/ 4331098 h 6323757"/>
              <a:gd name="connsiteX69" fmla="*/ 5565637 w 8636594"/>
              <a:gd name="connsiteY69" fmla="*/ 4259503 h 6323757"/>
              <a:gd name="connsiteX70" fmla="*/ 5613684 w 8636594"/>
              <a:gd name="connsiteY70" fmla="*/ 4187441 h 6323757"/>
              <a:gd name="connsiteX71" fmla="*/ 5685160 w 8636594"/>
              <a:gd name="connsiteY71" fmla="*/ 4078531 h 6323757"/>
              <a:gd name="connsiteX72" fmla="*/ 5756074 w 8636594"/>
              <a:gd name="connsiteY72" fmla="*/ 3968727 h 6323757"/>
              <a:gd name="connsiteX73" fmla="*/ 5873483 w 8636594"/>
              <a:gd name="connsiteY73" fmla="*/ 3783989 h 6323757"/>
              <a:gd name="connsiteX74" fmla="*/ 6203209 w 8636594"/>
              <a:gd name="connsiteY74" fmla="*/ 3258640 h 6323757"/>
              <a:gd name="connsiteX75" fmla="*/ 6299430 w 8636594"/>
              <a:gd name="connsiteY75" fmla="*/ 3107321 h 6323757"/>
              <a:gd name="connsiteX76" fmla="*/ 6372650 w 8636594"/>
              <a:gd name="connsiteY76" fmla="*/ 2993735 h 6323757"/>
              <a:gd name="connsiteX77" fmla="*/ 6453197 w 8636594"/>
              <a:gd name="connsiteY77" fmla="*/ 2869788 h 6323757"/>
              <a:gd name="connsiteX78" fmla="*/ 6564167 w 8636594"/>
              <a:gd name="connsiteY78" fmla="*/ 2696807 h 6323757"/>
              <a:gd name="connsiteX79" fmla="*/ 6976233 w 8636594"/>
              <a:gd name="connsiteY79" fmla="*/ 2045274 h 6323757"/>
              <a:gd name="connsiteX80" fmla="*/ 7086755 w 8636594"/>
              <a:gd name="connsiteY80" fmla="*/ 1872743 h 6323757"/>
              <a:gd name="connsiteX81" fmla="*/ 7170279 w 8636594"/>
              <a:gd name="connsiteY81" fmla="*/ 1744202 h 6323757"/>
              <a:gd name="connsiteX82" fmla="*/ 7226351 w 8636594"/>
              <a:gd name="connsiteY82" fmla="*/ 1659017 h 6323757"/>
              <a:gd name="connsiteX83" fmla="*/ 7282789 w 8636594"/>
              <a:gd name="connsiteY83" fmla="*/ 1574303 h 6323757"/>
              <a:gd name="connsiteX84" fmla="*/ 7339643 w 8636594"/>
              <a:gd name="connsiteY84" fmla="*/ 1490113 h 6323757"/>
              <a:gd name="connsiteX85" fmla="*/ 7396957 w 8636594"/>
              <a:gd name="connsiteY85" fmla="*/ 1406503 h 6323757"/>
              <a:gd name="connsiteX86" fmla="*/ 7454781 w 8636594"/>
              <a:gd name="connsiteY86" fmla="*/ 1323526 h 6323757"/>
              <a:gd name="connsiteX87" fmla="*/ 7513161 w 8636594"/>
              <a:gd name="connsiteY87" fmla="*/ 1241237 h 6323757"/>
              <a:gd name="connsiteX88" fmla="*/ 7572144 w 8636594"/>
              <a:gd name="connsiteY88" fmla="*/ 1159689 h 6323757"/>
              <a:gd name="connsiteX89" fmla="*/ 7601877 w 8636594"/>
              <a:gd name="connsiteY89" fmla="*/ 1119210 h 6323757"/>
              <a:gd name="connsiteX90" fmla="*/ 7631779 w 8636594"/>
              <a:gd name="connsiteY90" fmla="*/ 1078937 h 6323757"/>
              <a:gd name="connsiteX91" fmla="*/ 7661855 w 8636594"/>
              <a:gd name="connsiteY91" fmla="*/ 1038876 h 6323757"/>
              <a:gd name="connsiteX92" fmla="*/ 7692111 w 8636594"/>
              <a:gd name="connsiteY92" fmla="*/ 999035 h 6323757"/>
              <a:gd name="connsiteX93" fmla="*/ 7722554 w 8636594"/>
              <a:gd name="connsiteY93" fmla="*/ 959419 h 6323757"/>
              <a:gd name="connsiteX94" fmla="*/ 7753190 w 8636594"/>
              <a:gd name="connsiteY94" fmla="*/ 920037 h 6323757"/>
              <a:gd name="connsiteX95" fmla="*/ 7784023 w 8636594"/>
              <a:gd name="connsiteY95" fmla="*/ 880894 h 6323757"/>
              <a:gd name="connsiteX96" fmla="*/ 7815061 w 8636594"/>
              <a:gd name="connsiteY96" fmla="*/ 841997 h 6323757"/>
              <a:gd name="connsiteX97" fmla="*/ 7846308 w 8636594"/>
              <a:gd name="connsiteY97" fmla="*/ 803354 h 6323757"/>
              <a:gd name="connsiteX98" fmla="*/ 7877772 w 8636594"/>
              <a:gd name="connsiteY98" fmla="*/ 764970 h 6323757"/>
              <a:gd name="connsiteX99" fmla="*/ 7909458 w 8636594"/>
              <a:gd name="connsiteY99" fmla="*/ 726853 h 6323757"/>
              <a:gd name="connsiteX100" fmla="*/ 7941371 w 8636594"/>
              <a:gd name="connsiteY100" fmla="*/ 689010 h 6323757"/>
              <a:gd name="connsiteX101" fmla="*/ 7973518 w 8636594"/>
              <a:gd name="connsiteY101" fmla="*/ 651447 h 6323757"/>
              <a:gd name="connsiteX102" fmla="*/ 8005905 w 8636594"/>
              <a:gd name="connsiteY102" fmla="*/ 614171 h 6323757"/>
              <a:gd name="connsiteX103" fmla="*/ 8038538 w 8636594"/>
              <a:gd name="connsiteY103" fmla="*/ 577189 h 6323757"/>
              <a:gd name="connsiteX104" fmla="*/ 8071421 w 8636594"/>
              <a:gd name="connsiteY104" fmla="*/ 540507 h 6323757"/>
              <a:gd name="connsiteX105" fmla="*/ 8104563 w 8636594"/>
              <a:gd name="connsiteY105" fmla="*/ 504132 h 6323757"/>
              <a:gd name="connsiteX106" fmla="*/ 8137967 w 8636594"/>
              <a:gd name="connsiteY106" fmla="*/ 468072 h 6323757"/>
              <a:gd name="connsiteX107" fmla="*/ 8171641 w 8636594"/>
              <a:gd name="connsiteY107" fmla="*/ 432332 h 6323757"/>
              <a:gd name="connsiteX108" fmla="*/ 8205590 w 8636594"/>
              <a:gd name="connsiteY108" fmla="*/ 396920 h 6323757"/>
              <a:gd name="connsiteX109" fmla="*/ 8239820 w 8636594"/>
              <a:gd name="connsiteY109" fmla="*/ 361843 h 6323757"/>
              <a:gd name="connsiteX110" fmla="*/ 8274337 w 8636594"/>
              <a:gd name="connsiteY110" fmla="*/ 327107 h 6323757"/>
              <a:gd name="connsiteX111" fmla="*/ 8309147 w 8636594"/>
              <a:gd name="connsiteY111" fmla="*/ 292718 h 6323757"/>
              <a:gd name="connsiteX112" fmla="*/ 8344256 w 8636594"/>
              <a:gd name="connsiteY112" fmla="*/ 258685 h 6323757"/>
              <a:gd name="connsiteX113" fmla="*/ 8379669 w 8636594"/>
              <a:gd name="connsiteY113" fmla="*/ 225013 h 6323757"/>
              <a:gd name="connsiteX114" fmla="*/ 8415394 w 8636594"/>
              <a:gd name="connsiteY114" fmla="*/ 191709 h 6323757"/>
              <a:gd name="connsiteX115" fmla="*/ 8451434 w 8636594"/>
              <a:gd name="connsiteY115" fmla="*/ 158780 h 6323757"/>
              <a:gd name="connsiteX116" fmla="*/ 8487798 w 8636594"/>
              <a:gd name="connsiteY116" fmla="*/ 126233 h 6323757"/>
              <a:gd name="connsiteX117" fmla="*/ 8524489 w 8636594"/>
              <a:gd name="connsiteY117" fmla="*/ 94075 h 6323757"/>
              <a:gd name="connsiteX118" fmla="*/ 8561515 w 8636594"/>
              <a:gd name="connsiteY118" fmla="*/ 62312 h 6323757"/>
              <a:gd name="connsiteX119" fmla="*/ 8598881 w 8636594"/>
              <a:gd name="connsiteY119" fmla="*/ 30951 h 6323757"/>
              <a:gd name="connsiteX120" fmla="*/ 8636594 w 8636594"/>
              <a:gd name="connsiteY120" fmla="*/ 0 h 6323757"/>
              <a:gd name="connsiteX0" fmla="*/ 8636594 w 8636594"/>
              <a:gd name="connsiteY0" fmla="*/ 0 h 6305184"/>
              <a:gd name="connsiteX1" fmla="*/ 5293 w 8636594"/>
              <a:gd name="connsiteY1" fmla="*/ 0 h 6305184"/>
              <a:gd name="connsiteX2" fmla="*/ 0 w 8636594"/>
              <a:gd name="connsiteY2" fmla="*/ 5587843 h 6305184"/>
              <a:gd name="connsiteX3" fmla="*/ 1594033 w 8636594"/>
              <a:gd name="connsiteY3" fmla="*/ 5600057 h 6305184"/>
              <a:gd name="connsiteX4" fmla="*/ 1686068 w 8636594"/>
              <a:gd name="connsiteY4" fmla="*/ 5599745 h 6305184"/>
              <a:gd name="connsiteX5" fmla="*/ 3238528 w 8636594"/>
              <a:gd name="connsiteY5" fmla="*/ 6305184 h 6305184"/>
              <a:gd name="connsiteX6" fmla="*/ 3285021 w 8636594"/>
              <a:gd name="connsiteY6" fmla="*/ 6286245 h 6305184"/>
              <a:gd name="connsiteX7" fmla="*/ 3330977 w 8636594"/>
              <a:gd name="connsiteY7" fmla="*/ 6266942 h 6305184"/>
              <a:gd name="connsiteX8" fmla="*/ 3376401 w 8636594"/>
              <a:gd name="connsiteY8" fmla="*/ 6247281 h 6305184"/>
              <a:gd name="connsiteX9" fmla="*/ 3421300 w 8636594"/>
              <a:gd name="connsiteY9" fmla="*/ 6227263 h 6305184"/>
              <a:gd name="connsiteX10" fmla="*/ 3465680 w 8636594"/>
              <a:gd name="connsiteY10" fmla="*/ 6206893 h 6305184"/>
              <a:gd name="connsiteX11" fmla="*/ 3509548 w 8636594"/>
              <a:gd name="connsiteY11" fmla="*/ 6186174 h 6305184"/>
              <a:gd name="connsiteX12" fmla="*/ 3552910 w 8636594"/>
              <a:gd name="connsiteY12" fmla="*/ 6165110 h 6305184"/>
              <a:gd name="connsiteX13" fmla="*/ 3595773 w 8636594"/>
              <a:gd name="connsiteY13" fmla="*/ 6143704 h 6305184"/>
              <a:gd name="connsiteX14" fmla="*/ 3638142 w 8636594"/>
              <a:gd name="connsiteY14" fmla="*/ 6121960 h 6305184"/>
              <a:gd name="connsiteX15" fmla="*/ 3680024 w 8636594"/>
              <a:gd name="connsiteY15" fmla="*/ 6099881 h 6305184"/>
              <a:gd name="connsiteX16" fmla="*/ 3721426 w 8636594"/>
              <a:gd name="connsiteY16" fmla="*/ 6077471 h 6305184"/>
              <a:gd name="connsiteX17" fmla="*/ 3762353 w 8636594"/>
              <a:gd name="connsiteY17" fmla="*/ 6054733 h 6305184"/>
              <a:gd name="connsiteX18" fmla="*/ 3802812 w 8636594"/>
              <a:gd name="connsiteY18" fmla="*/ 6031671 h 6305184"/>
              <a:gd name="connsiteX19" fmla="*/ 3842810 w 8636594"/>
              <a:gd name="connsiteY19" fmla="*/ 6008288 h 6305184"/>
              <a:gd name="connsiteX20" fmla="*/ 3882352 w 8636594"/>
              <a:gd name="connsiteY20" fmla="*/ 5984588 h 6305184"/>
              <a:gd name="connsiteX21" fmla="*/ 3921445 w 8636594"/>
              <a:gd name="connsiteY21" fmla="*/ 5960574 h 6305184"/>
              <a:gd name="connsiteX22" fmla="*/ 3960096 w 8636594"/>
              <a:gd name="connsiteY22" fmla="*/ 5936250 h 6305184"/>
              <a:gd name="connsiteX23" fmla="*/ 3998311 w 8636594"/>
              <a:gd name="connsiteY23" fmla="*/ 5911619 h 6305184"/>
              <a:gd name="connsiteX24" fmla="*/ 4036095 w 8636594"/>
              <a:gd name="connsiteY24" fmla="*/ 5886685 h 6305184"/>
              <a:gd name="connsiteX25" fmla="*/ 4073456 w 8636594"/>
              <a:gd name="connsiteY25" fmla="*/ 5861452 h 6305184"/>
              <a:gd name="connsiteX26" fmla="*/ 4110400 w 8636594"/>
              <a:gd name="connsiteY26" fmla="*/ 5835922 h 6305184"/>
              <a:gd name="connsiteX27" fmla="*/ 4146933 w 8636594"/>
              <a:gd name="connsiteY27" fmla="*/ 5810100 h 6305184"/>
              <a:gd name="connsiteX28" fmla="*/ 4183061 w 8636594"/>
              <a:gd name="connsiteY28" fmla="*/ 5783988 h 6305184"/>
              <a:gd name="connsiteX29" fmla="*/ 4218791 w 8636594"/>
              <a:gd name="connsiteY29" fmla="*/ 5757591 h 6305184"/>
              <a:gd name="connsiteX30" fmla="*/ 4254129 w 8636594"/>
              <a:gd name="connsiteY30" fmla="*/ 5730912 h 6305184"/>
              <a:gd name="connsiteX31" fmla="*/ 4289081 w 8636594"/>
              <a:gd name="connsiteY31" fmla="*/ 5703955 h 6305184"/>
              <a:gd name="connsiteX32" fmla="*/ 4323654 w 8636594"/>
              <a:gd name="connsiteY32" fmla="*/ 5676722 h 6305184"/>
              <a:gd name="connsiteX33" fmla="*/ 4357854 w 8636594"/>
              <a:gd name="connsiteY33" fmla="*/ 5649218 h 6305184"/>
              <a:gd name="connsiteX34" fmla="*/ 4391688 w 8636594"/>
              <a:gd name="connsiteY34" fmla="*/ 5621446 h 6305184"/>
              <a:gd name="connsiteX35" fmla="*/ 4425162 w 8636594"/>
              <a:gd name="connsiteY35" fmla="*/ 5593409 h 6305184"/>
              <a:gd name="connsiteX36" fmla="*/ 4458281 w 8636594"/>
              <a:gd name="connsiteY36" fmla="*/ 5565111 h 6305184"/>
              <a:gd name="connsiteX37" fmla="*/ 4491053 w 8636594"/>
              <a:gd name="connsiteY37" fmla="*/ 5536556 h 6305184"/>
              <a:gd name="connsiteX38" fmla="*/ 4523484 w 8636594"/>
              <a:gd name="connsiteY38" fmla="*/ 5507747 h 6305184"/>
              <a:gd name="connsiteX39" fmla="*/ 4555580 w 8636594"/>
              <a:gd name="connsiteY39" fmla="*/ 5478687 h 6305184"/>
              <a:gd name="connsiteX40" fmla="*/ 4587347 w 8636594"/>
              <a:gd name="connsiteY40" fmla="*/ 5449380 h 6305184"/>
              <a:gd name="connsiteX41" fmla="*/ 4618793 w 8636594"/>
              <a:gd name="connsiteY41" fmla="*/ 5419830 h 6305184"/>
              <a:gd name="connsiteX42" fmla="*/ 4649922 w 8636594"/>
              <a:gd name="connsiteY42" fmla="*/ 5390040 h 6305184"/>
              <a:gd name="connsiteX43" fmla="*/ 4680742 w 8636594"/>
              <a:gd name="connsiteY43" fmla="*/ 5360014 h 6305184"/>
              <a:gd name="connsiteX44" fmla="*/ 4711259 w 8636594"/>
              <a:gd name="connsiteY44" fmla="*/ 5329755 h 6305184"/>
              <a:gd name="connsiteX45" fmla="*/ 4741478 w 8636594"/>
              <a:gd name="connsiteY45" fmla="*/ 5299266 h 6305184"/>
              <a:gd name="connsiteX46" fmla="*/ 4771408 w 8636594"/>
              <a:gd name="connsiteY46" fmla="*/ 5268551 h 6305184"/>
              <a:gd name="connsiteX47" fmla="*/ 4801053 w 8636594"/>
              <a:gd name="connsiteY47" fmla="*/ 5237614 h 6305184"/>
              <a:gd name="connsiteX48" fmla="*/ 4830420 w 8636594"/>
              <a:gd name="connsiteY48" fmla="*/ 5206458 h 6305184"/>
              <a:gd name="connsiteX49" fmla="*/ 4859516 w 8636594"/>
              <a:gd name="connsiteY49" fmla="*/ 5175087 h 6305184"/>
              <a:gd name="connsiteX50" fmla="*/ 4888347 w 8636594"/>
              <a:gd name="connsiteY50" fmla="*/ 5143504 h 6305184"/>
              <a:gd name="connsiteX51" fmla="*/ 4916919 w 8636594"/>
              <a:gd name="connsiteY51" fmla="*/ 5111713 h 6305184"/>
              <a:gd name="connsiteX52" fmla="*/ 4945238 w 8636594"/>
              <a:gd name="connsiteY52" fmla="*/ 5079717 h 6305184"/>
              <a:gd name="connsiteX53" fmla="*/ 4973311 w 8636594"/>
              <a:gd name="connsiteY53" fmla="*/ 5047519 h 6305184"/>
              <a:gd name="connsiteX54" fmla="*/ 5001145 w 8636594"/>
              <a:gd name="connsiteY54" fmla="*/ 5015124 h 6305184"/>
              <a:gd name="connsiteX55" fmla="*/ 5028745 w 8636594"/>
              <a:gd name="connsiteY55" fmla="*/ 4982535 h 6305184"/>
              <a:gd name="connsiteX56" fmla="*/ 5056117 w 8636594"/>
              <a:gd name="connsiteY56" fmla="*/ 4949755 h 6305184"/>
              <a:gd name="connsiteX57" fmla="*/ 5083269 w 8636594"/>
              <a:gd name="connsiteY57" fmla="*/ 4916787 h 6305184"/>
              <a:gd name="connsiteX58" fmla="*/ 5110207 w 8636594"/>
              <a:gd name="connsiteY58" fmla="*/ 4883636 h 6305184"/>
              <a:gd name="connsiteX59" fmla="*/ 5136937 w 8636594"/>
              <a:gd name="connsiteY59" fmla="*/ 4850305 h 6305184"/>
              <a:gd name="connsiteX60" fmla="*/ 5163464 w 8636594"/>
              <a:gd name="connsiteY60" fmla="*/ 4816797 h 6305184"/>
              <a:gd name="connsiteX61" fmla="*/ 5215940 w 8636594"/>
              <a:gd name="connsiteY61" fmla="*/ 4749265 h 6305184"/>
              <a:gd name="connsiteX62" fmla="*/ 5267684 w 8636594"/>
              <a:gd name="connsiteY62" fmla="*/ 4681068 h 6305184"/>
              <a:gd name="connsiteX63" fmla="*/ 5318748 w 8636594"/>
              <a:gd name="connsiteY63" fmla="*/ 4612234 h 6305184"/>
              <a:gd name="connsiteX64" fmla="*/ 5369182 w 8636594"/>
              <a:gd name="connsiteY64" fmla="*/ 4542793 h 6305184"/>
              <a:gd name="connsiteX65" fmla="*/ 5419038 w 8636594"/>
              <a:gd name="connsiteY65" fmla="*/ 4472771 h 6305184"/>
              <a:gd name="connsiteX66" fmla="*/ 5468365 w 8636594"/>
              <a:gd name="connsiteY66" fmla="*/ 4402196 h 6305184"/>
              <a:gd name="connsiteX67" fmla="*/ 5517215 w 8636594"/>
              <a:gd name="connsiteY67" fmla="*/ 4331098 h 6305184"/>
              <a:gd name="connsiteX68" fmla="*/ 5565637 w 8636594"/>
              <a:gd name="connsiteY68" fmla="*/ 4259503 h 6305184"/>
              <a:gd name="connsiteX69" fmla="*/ 5613684 w 8636594"/>
              <a:gd name="connsiteY69" fmla="*/ 4187441 h 6305184"/>
              <a:gd name="connsiteX70" fmla="*/ 5685160 w 8636594"/>
              <a:gd name="connsiteY70" fmla="*/ 4078531 h 6305184"/>
              <a:gd name="connsiteX71" fmla="*/ 5756074 w 8636594"/>
              <a:gd name="connsiteY71" fmla="*/ 3968727 h 6305184"/>
              <a:gd name="connsiteX72" fmla="*/ 5873483 w 8636594"/>
              <a:gd name="connsiteY72" fmla="*/ 3783989 h 6305184"/>
              <a:gd name="connsiteX73" fmla="*/ 6203209 w 8636594"/>
              <a:gd name="connsiteY73" fmla="*/ 3258640 h 6305184"/>
              <a:gd name="connsiteX74" fmla="*/ 6299430 w 8636594"/>
              <a:gd name="connsiteY74" fmla="*/ 3107321 h 6305184"/>
              <a:gd name="connsiteX75" fmla="*/ 6372650 w 8636594"/>
              <a:gd name="connsiteY75" fmla="*/ 2993735 h 6305184"/>
              <a:gd name="connsiteX76" fmla="*/ 6453197 w 8636594"/>
              <a:gd name="connsiteY76" fmla="*/ 2869788 h 6305184"/>
              <a:gd name="connsiteX77" fmla="*/ 6564167 w 8636594"/>
              <a:gd name="connsiteY77" fmla="*/ 2696807 h 6305184"/>
              <a:gd name="connsiteX78" fmla="*/ 6976233 w 8636594"/>
              <a:gd name="connsiteY78" fmla="*/ 2045274 h 6305184"/>
              <a:gd name="connsiteX79" fmla="*/ 7086755 w 8636594"/>
              <a:gd name="connsiteY79" fmla="*/ 1872743 h 6305184"/>
              <a:gd name="connsiteX80" fmla="*/ 7170279 w 8636594"/>
              <a:gd name="connsiteY80" fmla="*/ 1744202 h 6305184"/>
              <a:gd name="connsiteX81" fmla="*/ 7226351 w 8636594"/>
              <a:gd name="connsiteY81" fmla="*/ 1659017 h 6305184"/>
              <a:gd name="connsiteX82" fmla="*/ 7282789 w 8636594"/>
              <a:gd name="connsiteY82" fmla="*/ 1574303 h 6305184"/>
              <a:gd name="connsiteX83" fmla="*/ 7339643 w 8636594"/>
              <a:gd name="connsiteY83" fmla="*/ 1490113 h 6305184"/>
              <a:gd name="connsiteX84" fmla="*/ 7396957 w 8636594"/>
              <a:gd name="connsiteY84" fmla="*/ 1406503 h 6305184"/>
              <a:gd name="connsiteX85" fmla="*/ 7454781 w 8636594"/>
              <a:gd name="connsiteY85" fmla="*/ 1323526 h 6305184"/>
              <a:gd name="connsiteX86" fmla="*/ 7513161 w 8636594"/>
              <a:gd name="connsiteY86" fmla="*/ 1241237 h 6305184"/>
              <a:gd name="connsiteX87" fmla="*/ 7572144 w 8636594"/>
              <a:gd name="connsiteY87" fmla="*/ 1159689 h 6305184"/>
              <a:gd name="connsiteX88" fmla="*/ 7601877 w 8636594"/>
              <a:gd name="connsiteY88" fmla="*/ 1119210 h 6305184"/>
              <a:gd name="connsiteX89" fmla="*/ 7631779 w 8636594"/>
              <a:gd name="connsiteY89" fmla="*/ 1078937 h 6305184"/>
              <a:gd name="connsiteX90" fmla="*/ 7661855 w 8636594"/>
              <a:gd name="connsiteY90" fmla="*/ 1038876 h 6305184"/>
              <a:gd name="connsiteX91" fmla="*/ 7692111 w 8636594"/>
              <a:gd name="connsiteY91" fmla="*/ 999035 h 6305184"/>
              <a:gd name="connsiteX92" fmla="*/ 7722554 w 8636594"/>
              <a:gd name="connsiteY92" fmla="*/ 959419 h 6305184"/>
              <a:gd name="connsiteX93" fmla="*/ 7753190 w 8636594"/>
              <a:gd name="connsiteY93" fmla="*/ 920037 h 6305184"/>
              <a:gd name="connsiteX94" fmla="*/ 7784023 w 8636594"/>
              <a:gd name="connsiteY94" fmla="*/ 880894 h 6305184"/>
              <a:gd name="connsiteX95" fmla="*/ 7815061 w 8636594"/>
              <a:gd name="connsiteY95" fmla="*/ 841997 h 6305184"/>
              <a:gd name="connsiteX96" fmla="*/ 7846308 w 8636594"/>
              <a:gd name="connsiteY96" fmla="*/ 803354 h 6305184"/>
              <a:gd name="connsiteX97" fmla="*/ 7877772 w 8636594"/>
              <a:gd name="connsiteY97" fmla="*/ 764970 h 6305184"/>
              <a:gd name="connsiteX98" fmla="*/ 7909458 w 8636594"/>
              <a:gd name="connsiteY98" fmla="*/ 726853 h 6305184"/>
              <a:gd name="connsiteX99" fmla="*/ 7941371 w 8636594"/>
              <a:gd name="connsiteY99" fmla="*/ 689010 h 6305184"/>
              <a:gd name="connsiteX100" fmla="*/ 7973518 w 8636594"/>
              <a:gd name="connsiteY100" fmla="*/ 651447 h 6305184"/>
              <a:gd name="connsiteX101" fmla="*/ 8005905 w 8636594"/>
              <a:gd name="connsiteY101" fmla="*/ 614171 h 6305184"/>
              <a:gd name="connsiteX102" fmla="*/ 8038538 w 8636594"/>
              <a:gd name="connsiteY102" fmla="*/ 577189 h 6305184"/>
              <a:gd name="connsiteX103" fmla="*/ 8071421 w 8636594"/>
              <a:gd name="connsiteY103" fmla="*/ 540507 h 6305184"/>
              <a:gd name="connsiteX104" fmla="*/ 8104563 w 8636594"/>
              <a:gd name="connsiteY104" fmla="*/ 504132 h 6305184"/>
              <a:gd name="connsiteX105" fmla="*/ 8137967 w 8636594"/>
              <a:gd name="connsiteY105" fmla="*/ 468072 h 6305184"/>
              <a:gd name="connsiteX106" fmla="*/ 8171641 w 8636594"/>
              <a:gd name="connsiteY106" fmla="*/ 432332 h 6305184"/>
              <a:gd name="connsiteX107" fmla="*/ 8205590 w 8636594"/>
              <a:gd name="connsiteY107" fmla="*/ 396920 h 6305184"/>
              <a:gd name="connsiteX108" fmla="*/ 8239820 w 8636594"/>
              <a:gd name="connsiteY108" fmla="*/ 361843 h 6305184"/>
              <a:gd name="connsiteX109" fmla="*/ 8274337 w 8636594"/>
              <a:gd name="connsiteY109" fmla="*/ 327107 h 6305184"/>
              <a:gd name="connsiteX110" fmla="*/ 8309147 w 8636594"/>
              <a:gd name="connsiteY110" fmla="*/ 292718 h 6305184"/>
              <a:gd name="connsiteX111" fmla="*/ 8344256 w 8636594"/>
              <a:gd name="connsiteY111" fmla="*/ 258685 h 6305184"/>
              <a:gd name="connsiteX112" fmla="*/ 8379669 w 8636594"/>
              <a:gd name="connsiteY112" fmla="*/ 225013 h 6305184"/>
              <a:gd name="connsiteX113" fmla="*/ 8415394 w 8636594"/>
              <a:gd name="connsiteY113" fmla="*/ 191709 h 6305184"/>
              <a:gd name="connsiteX114" fmla="*/ 8451434 w 8636594"/>
              <a:gd name="connsiteY114" fmla="*/ 158780 h 6305184"/>
              <a:gd name="connsiteX115" fmla="*/ 8487798 w 8636594"/>
              <a:gd name="connsiteY115" fmla="*/ 126233 h 6305184"/>
              <a:gd name="connsiteX116" fmla="*/ 8524489 w 8636594"/>
              <a:gd name="connsiteY116" fmla="*/ 94075 h 6305184"/>
              <a:gd name="connsiteX117" fmla="*/ 8561515 w 8636594"/>
              <a:gd name="connsiteY117" fmla="*/ 62312 h 6305184"/>
              <a:gd name="connsiteX118" fmla="*/ 8598881 w 8636594"/>
              <a:gd name="connsiteY118" fmla="*/ 30951 h 6305184"/>
              <a:gd name="connsiteX119" fmla="*/ 8636594 w 8636594"/>
              <a:gd name="connsiteY119" fmla="*/ 0 h 6305184"/>
              <a:gd name="connsiteX0" fmla="*/ 8636594 w 8636594"/>
              <a:gd name="connsiteY0" fmla="*/ 0 h 6286245"/>
              <a:gd name="connsiteX1" fmla="*/ 5293 w 8636594"/>
              <a:gd name="connsiteY1" fmla="*/ 0 h 6286245"/>
              <a:gd name="connsiteX2" fmla="*/ 0 w 8636594"/>
              <a:gd name="connsiteY2" fmla="*/ 5587843 h 6286245"/>
              <a:gd name="connsiteX3" fmla="*/ 1594033 w 8636594"/>
              <a:gd name="connsiteY3" fmla="*/ 5600057 h 6286245"/>
              <a:gd name="connsiteX4" fmla="*/ 1686068 w 8636594"/>
              <a:gd name="connsiteY4" fmla="*/ 5599745 h 6286245"/>
              <a:gd name="connsiteX5" fmla="*/ 3285021 w 8636594"/>
              <a:gd name="connsiteY5" fmla="*/ 6286245 h 6286245"/>
              <a:gd name="connsiteX6" fmla="*/ 3330977 w 8636594"/>
              <a:gd name="connsiteY6" fmla="*/ 6266942 h 6286245"/>
              <a:gd name="connsiteX7" fmla="*/ 3376401 w 8636594"/>
              <a:gd name="connsiteY7" fmla="*/ 6247281 h 6286245"/>
              <a:gd name="connsiteX8" fmla="*/ 3421300 w 8636594"/>
              <a:gd name="connsiteY8" fmla="*/ 6227263 h 6286245"/>
              <a:gd name="connsiteX9" fmla="*/ 3465680 w 8636594"/>
              <a:gd name="connsiteY9" fmla="*/ 6206893 h 6286245"/>
              <a:gd name="connsiteX10" fmla="*/ 3509548 w 8636594"/>
              <a:gd name="connsiteY10" fmla="*/ 6186174 h 6286245"/>
              <a:gd name="connsiteX11" fmla="*/ 3552910 w 8636594"/>
              <a:gd name="connsiteY11" fmla="*/ 6165110 h 6286245"/>
              <a:gd name="connsiteX12" fmla="*/ 3595773 w 8636594"/>
              <a:gd name="connsiteY12" fmla="*/ 6143704 h 6286245"/>
              <a:gd name="connsiteX13" fmla="*/ 3638142 w 8636594"/>
              <a:gd name="connsiteY13" fmla="*/ 6121960 h 6286245"/>
              <a:gd name="connsiteX14" fmla="*/ 3680024 w 8636594"/>
              <a:gd name="connsiteY14" fmla="*/ 6099881 h 6286245"/>
              <a:gd name="connsiteX15" fmla="*/ 3721426 w 8636594"/>
              <a:gd name="connsiteY15" fmla="*/ 6077471 h 6286245"/>
              <a:gd name="connsiteX16" fmla="*/ 3762353 w 8636594"/>
              <a:gd name="connsiteY16" fmla="*/ 6054733 h 6286245"/>
              <a:gd name="connsiteX17" fmla="*/ 3802812 w 8636594"/>
              <a:gd name="connsiteY17" fmla="*/ 6031671 h 6286245"/>
              <a:gd name="connsiteX18" fmla="*/ 3842810 w 8636594"/>
              <a:gd name="connsiteY18" fmla="*/ 6008288 h 6286245"/>
              <a:gd name="connsiteX19" fmla="*/ 3882352 w 8636594"/>
              <a:gd name="connsiteY19" fmla="*/ 5984588 h 6286245"/>
              <a:gd name="connsiteX20" fmla="*/ 3921445 w 8636594"/>
              <a:gd name="connsiteY20" fmla="*/ 5960574 h 6286245"/>
              <a:gd name="connsiteX21" fmla="*/ 3960096 w 8636594"/>
              <a:gd name="connsiteY21" fmla="*/ 5936250 h 6286245"/>
              <a:gd name="connsiteX22" fmla="*/ 3998311 w 8636594"/>
              <a:gd name="connsiteY22" fmla="*/ 5911619 h 6286245"/>
              <a:gd name="connsiteX23" fmla="*/ 4036095 w 8636594"/>
              <a:gd name="connsiteY23" fmla="*/ 5886685 h 6286245"/>
              <a:gd name="connsiteX24" fmla="*/ 4073456 w 8636594"/>
              <a:gd name="connsiteY24" fmla="*/ 5861452 h 6286245"/>
              <a:gd name="connsiteX25" fmla="*/ 4110400 w 8636594"/>
              <a:gd name="connsiteY25" fmla="*/ 5835922 h 6286245"/>
              <a:gd name="connsiteX26" fmla="*/ 4146933 w 8636594"/>
              <a:gd name="connsiteY26" fmla="*/ 5810100 h 6286245"/>
              <a:gd name="connsiteX27" fmla="*/ 4183061 w 8636594"/>
              <a:gd name="connsiteY27" fmla="*/ 5783988 h 6286245"/>
              <a:gd name="connsiteX28" fmla="*/ 4218791 w 8636594"/>
              <a:gd name="connsiteY28" fmla="*/ 5757591 h 6286245"/>
              <a:gd name="connsiteX29" fmla="*/ 4254129 w 8636594"/>
              <a:gd name="connsiteY29" fmla="*/ 5730912 h 6286245"/>
              <a:gd name="connsiteX30" fmla="*/ 4289081 w 8636594"/>
              <a:gd name="connsiteY30" fmla="*/ 5703955 h 6286245"/>
              <a:gd name="connsiteX31" fmla="*/ 4323654 w 8636594"/>
              <a:gd name="connsiteY31" fmla="*/ 5676722 h 6286245"/>
              <a:gd name="connsiteX32" fmla="*/ 4357854 w 8636594"/>
              <a:gd name="connsiteY32" fmla="*/ 5649218 h 6286245"/>
              <a:gd name="connsiteX33" fmla="*/ 4391688 w 8636594"/>
              <a:gd name="connsiteY33" fmla="*/ 5621446 h 6286245"/>
              <a:gd name="connsiteX34" fmla="*/ 4425162 w 8636594"/>
              <a:gd name="connsiteY34" fmla="*/ 5593409 h 6286245"/>
              <a:gd name="connsiteX35" fmla="*/ 4458281 w 8636594"/>
              <a:gd name="connsiteY35" fmla="*/ 5565111 h 6286245"/>
              <a:gd name="connsiteX36" fmla="*/ 4491053 w 8636594"/>
              <a:gd name="connsiteY36" fmla="*/ 5536556 h 6286245"/>
              <a:gd name="connsiteX37" fmla="*/ 4523484 w 8636594"/>
              <a:gd name="connsiteY37" fmla="*/ 5507747 h 6286245"/>
              <a:gd name="connsiteX38" fmla="*/ 4555580 w 8636594"/>
              <a:gd name="connsiteY38" fmla="*/ 5478687 h 6286245"/>
              <a:gd name="connsiteX39" fmla="*/ 4587347 w 8636594"/>
              <a:gd name="connsiteY39" fmla="*/ 5449380 h 6286245"/>
              <a:gd name="connsiteX40" fmla="*/ 4618793 w 8636594"/>
              <a:gd name="connsiteY40" fmla="*/ 5419830 h 6286245"/>
              <a:gd name="connsiteX41" fmla="*/ 4649922 w 8636594"/>
              <a:gd name="connsiteY41" fmla="*/ 5390040 h 6286245"/>
              <a:gd name="connsiteX42" fmla="*/ 4680742 w 8636594"/>
              <a:gd name="connsiteY42" fmla="*/ 5360014 h 6286245"/>
              <a:gd name="connsiteX43" fmla="*/ 4711259 w 8636594"/>
              <a:gd name="connsiteY43" fmla="*/ 5329755 h 6286245"/>
              <a:gd name="connsiteX44" fmla="*/ 4741478 w 8636594"/>
              <a:gd name="connsiteY44" fmla="*/ 5299266 h 6286245"/>
              <a:gd name="connsiteX45" fmla="*/ 4771408 w 8636594"/>
              <a:gd name="connsiteY45" fmla="*/ 5268551 h 6286245"/>
              <a:gd name="connsiteX46" fmla="*/ 4801053 w 8636594"/>
              <a:gd name="connsiteY46" fmla="*/ 5237614 h 6286245"/>
              <a:gd name="connsiteX47" fmla="*/ 4830420 w 8636594"/>
              <a:gd name="connsiteY47" fmla="*/ 5206458 h 6286245"/>
              <a:gd name="connsiteX48" fmla="*/ 4859516 w 8636594"/>
              <a:gd name="connsiteY48" fmla="*/ 5175087 h 6286245"/>
              <a:gd name="connsiteX49" fmla="*/ 4888347 w 8636594"/>
              <a:gd name="connsiteY49" fmla="*/ 5143504 h 6286245"/>
              <a:gd name="connsiteX50" fmla="*/ 4916919 w 8636594"/>
              <a:gd name="connsiteY50" fmla="*/ 5111713 h 6286245"/>
              <a:gd name="connsiteX51" fmla="*/ 4945238 w 8636594"/>
              <a:gd name="connsiteY51" fmla="*/ 5079717 h 6286245"/>
              <a:gd name="connsiteX52" fmla="*/ 4973311 w 8636594"/>
              <a:gd name="connsiteY52" fmla="*/ 5047519 h 6286245"/>
              <a:gd name="connsiteX53" fmla="*/ 5001145 w 8636594"/>
              <a:gd name="connsiteY53" fmla="*/ 5015124 h 6286245"/>
              <a:gd name="connsiteX54" fmla="*/ 5028745 w 8636594"/>
              <a:gd name="connsiteY54" fmla="*/ 4982535 h 6286245"/>
              <a:gd name="connsiteX55" fmla="*/ 5056117 w 8636594"/>
              <a:gd name="connsiteY55" fmla="*/ 4949755 h 6286245"/>
              <a:gd name="connsiteX56" fmla="*/ 5083269 w 8636594"/>
              <a:gd name="connsiteY56" fmla="*/ 4916787 h 6286245"/>
              <a:gd name="connsiteX57" fmla="*/ 5110207 w 8636594"/>
              <a:gd name="connsiteY57" fmla="*/ 4883636 h 6286245"/>
              <a:gd name="connsiteX58" fmla="*/ 5136937 w 8636594"/>
              <a:gd name="connsiteY58" fmla="*/ 4850305 h 6286245"/>
              <a:gd name="connsiteX59" fmla="*/ 5163464 w 8636594"/>
              <a:gd name="connsiteY59" fmla="*/ 4816797 h 6286245"/>
              <a:gd name="connsiteX60" fmla="*/ 5215940 w 8636594"/>
              <a:gd name="connsiteY60" fmla="*/ 4749265 h 6286245"/>
              <a:gd name="connsiteX61" fmla="*/ 5267684 w 8636594"/>
              <a:gd name="connsiteY61" fmla="*/ 4681068 h 6286245"/>
              <a:gd name="connsiteX62" fmla="*/ 5318748 w 8636594"/>
              <a:gd name="connsiteY62" fmla="*/ 4612234 h 6286245"/>
              <a:gd name="connsiteX63" fmla="*/ 5369182 w 8636594"/>
              <a:gd name="connsiteY63" fmla="*/ 4542793 h 6286245"/>
              <a:gd name="connsiteX64" fmla="*/ 5419038 w 8636594"/>
              <a:gd name="connsiteY64" fmla="*/ 4472771 h 6286245"/>
              <a:gd name="connsiteX65" fmla="*/ 5468365 w 8636594"/>
              <a:gd name="connsiteY65" fmla="*/ 4402196 h 6286245"/>
              <a:gd name="connsiteX66" fmla="*/ 5517215 w 8636594"/>
              <a:gd name="connsiteY66" fmla="*/ 4331098 h 6286245"/>
              <a:gd name="connsiteX67" fmla="*/ 5565637 w 8636594"/>
              <a:gd name="connsiteY67" fmla="*/ 4259503 h 6286245"/>
              <a:gd name="connsiteX68" fmla="*/ 5613684 w 8636594"/>
              <a:gd name="connsiteY68" fmla="*/ 4187441 h 6286245"/>
              <a:gd name="connsiteX69" fmla="*/ 5685160 w 8636594"/>
              <a:gd name="connsiteY69" fmla="*/ 4078531 h 6286245"/>
              <a:gd name="connsiteX70" fmla="*/ 5756074 w 8636594"/>
              <a:gd name="connsiteY70" fmla="*/ 3968727 h 6286245"/>
              <a:gd name="connsiteX71" fmla="*/ 5873483 w 8636594"/>
              <a:gd name="connsiteY71" fmla="*/ 3783989 h 6286245"/>
              <a:gd name="connsiteX72" fmla="*/ 6203209 w 8636594"/>
              <a:gd name="connsiteY72" fmla="*/ 3258640 h 6286245"/>
              <a:gd name="connsiteX73" fmla="*/ 6299430 w 8636594"/>
              <a:gd name="connsiteY73" fmla="*/ 3107321 h 6286245"/>
              <a:gd name="connsiteX74" fmla="*/ 6372650 w 8636594"/>
              <a:gd name="connsiteY74" fmla="*/ 2993735 h 6286245"/>
              <a:gd name="connsiteX75" fmla="*/ 6453197 w 8636594"/>
              <a:gd name="connsiteY75" fmla="*/ 2869788 h 6286245"/>
              <a:gd name="connsiteX76" fmla="*/ 6564167 w 8636594"/>
              <a:gd name="connsiteY76" fmla="*/ 2696807 h 6286245"/>
              <a:gd name="connsiteX77" fmla="*/ 6976233 w 8636594"/>
              <a:gd name="connsiteY77" fmla="*/ 2045274 h 6286245"/>
              <a:gd name="connsiteX78" fmla="*/ 7086755 w 8636594"/>
              <a:gd name="connsiteY78" fmla="*/ 1872743 h 6286245"/>
              <a:gd name="connsiteX79" fmla="*/ 7170279 w 8636594"/>
              <a:gd name="connsiteY79" fmla="*/ 1744202 h 6286245"/>
              <a:gd name="connsiteX80" fmla="*/ 7226351 w 8636594"/>
              <a:gd name="connsiteY80" fmla="*/ 1659017 h 6286245"/>
              <a:gd name="connsiteX81" fmla="*/ 7282789 w 8636594"/>
              <a:gd name="connsiteY81" fmla="*/ 1574303 h 6286245"/>
              <a:gd name="connsiteX82" fmla="*/ 7339643 w 8636594"/>
              <a:gd name="connsiteY82" fmla="*/ 1490113 h 6286245"/>
              <a:gd name="connsiteX83" fmla="*/ 7396957 w 8636594"/>
              <a:gd name="connsiteY83" fmla="*/ 1406503 h 6286245"/>
              <a:gd name="connsiteX84" fmla="*/ 7454781 w 8636594"/>
              <a:gd name="connsiteY84" fmla="*/ 1323526 h 6286245"/>
              <a:gd name="connsiteX85" fmla="*/ 7513161 w 8636594"/>
              <a:gd name="connsiteY85" fmla="*/ 1241237 h 6286245"/>
              <a:gd name="connsiteX86" fmla="*/ 7572144 w 8636594"/>
              <a:gd name="connsiteY86" fmla="*/ 1159689 h 6286245"/>
              <a:gd name="connsiteX87" fmla="*/ 7601877 w 8636594"/>
              <a:gd name="connsiteY87" fmla="*/ 1119210 h 6286245"/>
              <a:gd name="connsiteX88" fmla="*/ 7631779 w 8636594"/>
              <a:gd name="connsiteY88" fmla="*/ 1078937 h 6286245"/>
              <a:gd name="connsiteX89" fmla="*/ 7661855 w 8636594"/>
              <a:gd name="connsiteY89" fmla="*/ 1038876 h 6286245"/>
              <a:gd name="connsiteX90" fmla="*/ 7692111 w 8636594"/>
              <a:gd name="connsiteY90" fmla="*/ 999035 h 6286245"/>
              <a:gd name="connsiteX91" fmla="*/ 7722554 w 8636594"/>
              <a:gd name="connsiteY91" fmla="*/ 959419 h 6286245"/>
              <a:gd name="connsiteX92" fmla="*/ 7753190 w 8636594"/>
              <a:gd name="connsiteY92" fmla="*/ 920037 h 6286245"/>
              <a:gd name="connsiteX93" fmla="*/ 7784023 w 8636594"/>
              <a:gd name="connsiteY93" fmla="*/ 880894 h 6286245"/>
              <a:gd name="connsiteX94" fmla="*/ 7815061 w 8636594"/>
              <a:gd name="connsiteY94" fmla="*/ 841997 h 6286245"/>
              <a:gd name="connsiteX95" fmla="*/ 7846308 w 8636594"/>
              <a:gd name="connsiteY95" fmla="*/ 803354 h 6286245"/>
              <a:gd name="connsiteX96" fmla="*/ 7877772 w 8636594"/>
              <a:gd name="connsiteY96" fmla="*/ 764970 h 6286245"/>
              <a:gd name="connsiteX97" fmla="*/ 7909458 w 8636594"/>
              <a:gd name="connsiteY97" fmla="*/ 726853 h 6286245"/>
              <a:gd name="connsiteX98" fmla="*/ 7941371 w 8636594"/>
              <a:gd name="connsiteY98" fmla="*/ 689010 h 6286245"/>
              <a:gd name="connsiteX99" fmla="*/ 7973518 w 8636594"/>
              <a:gd name="connsiteY99" fmla="*/ 651447 h 6286245"/>
              <a:gd name="connsiteX100" fmla="*/ 8005905 w 8636594"/>
              <a:gd name="connsiteY100" fmla="*/ 614171 h 6286245"/>
              <a:gd name="connsiteX101" fmla="*/ 8038538 w 8636594"/>
              <a:gd name="connsiteY101" fmla="*/ 577189 h 6286245"/>
              <a:gd name="connsiteX102" fmla="*/ 8071421 w 8636594"/>
              <a:gd name="connsiteY102" fmla="*/ 540507 h 6286245"/>
              <a:gd name="connsiteX103" fmla="*/ 8104563 w 8636594"/>
              <a:gd name="connsiteY103" fmla="*/ 504132 h 6286245"/>
              <a:gd name="connsiteX104" fmla="*/ 8137967 w 8636594"/>
              <a:gd name="connsiteY104" fmla="*/ 468072 h 6286245"/>
              <a:gd name="connsiteX105" fmla="*/ 8171641 w 8636594"/>
              <a:gd name="connsiteY105" fmla="*/ 432332 h 6286245"/>
              <a:gd name="connsiteX106" fmla="*/ 8205590 w 8636594"/>
              <a:gd name="connsiteY106" fmla="*/ 396920 h 6286245"/>
              <a:gd name="connsiteX107" fmla="*/ 8239820 w 8636594"/>
              <a:gd name="connsiteY107" fmla="*/ 361843 h 6286245"/>
              <a:gd name="connsiteX108" fmla="*/ 8274337 w 8636594"/>
              <a:gd name="connsiteY108" fmla="*/ 327107 h 6286245"/>
              <a:gd name="connsiteX109" fmla="*/ 8309147 w 8636594"/>
              <a:gd name="connsiteY109" fmla="*/ 292718 h 6286245"/>
              <a:gd name="connsiteX110" fmla="*/ 8344256 w 8636594"/>
              <a:gd name="connsiteY110" fmla="*/ 258685 h 6286245"/>
              <a:gd name="connsiteX111" fmla="*/ 8379669 w 8636594"/>
              <a:gd name="connsiteY111" fmla="*/ 225013 h 6286245"/>
              <a:gd name="connsiteX112" fmla="*/ 8415394 w 8636594"/>
              <a:gd name="connsiteY112" fmla="*/ 191709 h 6286245"/>
              <a:gd name="connsiteX113" fmla="*/ 8451434 w 8636594"/>
              <a:gd name="connsiteY113" fmla="*/ 158780 h 6286245"/>
              <a:gd name="connsiteX114" fmla="*/ 8487798 w 8636594"/>
              <a:gd name="connsiteY114" fmla="*/ 126233 h 6286245"/>
              <a:gd name="connsiteX115" fmla="*/ 8524489 w 8636594"/>
              <a:gd name="connsiteY115" fmla="*/ 94075 h 6286245"/>
              <a:gd name="connsiteX116" fmla="*/ 8561515 w 8636594"/>
              <a:gd name="connsiteY116" fmla="*/ 62312 h 6286245"/>
              <a:gd name="connsiteX117" fmla="*/ 8598881 w 8636594"/>
              <a:gd name="connsiteY117" fmla="*/ 30951 h 6286245"/>
              <a:gd name="connsiteX118" fmla="*/ 8636594 w 8636594"/>
              <a:gd name="connsiteY118" fmla="*/ 0 h 6286245"/>
              <a:gd name="connsiteX0" fmla="*/ 8636594 w 8636594"/>
              <a:gd name="connsiteY0" fmla="*/ 0 h 6266942"/>
              <a:gd name="connsiteX1" fmla="*/ 5293 w 8636594"/>
              <a:gd name="connsiteY1" fmla="*/ 0 h 6266942"/>
              <a:gd name="connsiteX2" fmla="*/ 0 w 8636594"/>
              <a:gd name="connsiteY2" fmla="*/ 5587843 h 6266942"/>
              <a:gd name="connsiteX3" fmla="*/ 1594033 w 8636594"/>
              <a:gd name="connsiteY3" fmla="*/ 5600057 h 6266942"/>
              <a:gd name="connsiteX4" fmla="*/ 1686068 w 8636594"/>
              <a:gd name="connsiteY4" fmla="*/ 5599745 h 6266942"/>
              <a:gd name="connsiteX5" fmla="*/ 3330977 w 8636594"/>
              <a:gd name="connsiteY5" fmla="*/ 6266942 h 6266942"/>
              <a:gd name="connsiteX6" fmla="*/ 3376401 w 8636594"/>
              <a:gd name="connsiteY6" fmla="*/ 6247281 h 6266942"/>
              <a:gd name="connsiteX7" fmla="*/ 3421300 w 8636594"/>
              <a:gd name="connsiteY7" fmla="*/ 6227263 h 6266942"/>
              <a:gd name="connsiteX8" fmla="*/ 3465680 w 8636594"/>
              <a:gd name="connsiteY8" fmla="*/ 6206893 h 6266942"/>
              <a:gd name="connsiteX9" fmla="*/ 3509548 w 8636594"/>
              <a:gd name="connsiteY9" fmla="*/ 6186174 h 6266942"/>
              <a:gd name="connsiteX10" fmla="*/ 3552910 w 8636594"/>
              <a:gd name="connsiteY10" fmla="*/ 6165110 h 6266942"/>
              <a:gd name="connsiteX11" fmla="*/ 3595773 w 8636594"/>
              <a:gd name="connsiteY11" fmla="*/ 6143704 h 6266942"/>
              <a:gd name="connsiteX12" fmla="*/ 3638142 w 8636594"/>
              <a:gd name="connsiteY12" fmla="*/ 6121960 h 6266942"/>
              <a:gd name="connsiteX13" fmla="*/ 3680024 w 8636594"/>
              <a:gd name="connsiteY13" fmla="*/ 6099881 h 6266942"/>
              <a:gd name="connsiteX14" fmla="*/ 3721426 w 8636594"/>
              <a:gd name="connsiteY14" fmla="*/ 6077471 h 6266942"/>
              <a:gd name="connsiteX15" fmla="*/ 3762353 w 8636594"/>
              <a:gd name="connsiteY15" fmla="*/ 6054733 h 6266942"/>
              <a:gd name="connsiteX16" fmla="*/ 3802812 w 8636594"/>
              <a:gd name="connsiteY16" fmla="*/ 6031671 h 6266942"/>
              <a:gd name="connsiteX17" fmla="*/ 3842810 w 8636594"/>
              <a:gd name="connsiteY17" fmla="*/ 6008288 h 6266942"/>
              <a:gd name="connsiteX18" fmla="*/ 3882352 w 8636594"/>
              <a:gd name="connsiteY18" fmla="*/ 5984588 h 6266942"/>
              <a:gd name="connsiteX19" fmla="*/ 3921445 w 8636594"/>
              <a:gd name="connsiteY19" fmla="*/ 5960574 h 6266942"/>
              <a:gd name="connsiteX20" fmla="*/ 3960096 w 8636594"/>
              <a:gd name="connsiteY20" fmla="*/ 5936250 h 6266942"/>
              <a:gd name="connsiteX21" fmla="*/ 3998311 w 8636594"/>
              <a:gd name="connsiteY21" fmla="*/ 5911619 h 6266942"/>
              <a:gd name="connsiteX22" fmla="*/ 4036095 w 8636594"/>
              <a:gd name="connsiteY22" fmla="*/ 5886685 h 6266942"/>
              <a:gd name="connsiteX23" fmla="*/ 4073456 w 8636594"/>
              <a:gd name="connsiteY23" fmla="*/ 5861452 h 6266942"/>
              <a:gd name="connsiteX24" fmla="*/ 4110400 w 8636594"/>
              <a:gd name="connsiteY24" fmla="*/ 5835922 h 6266942"/>
              <a:gd name="connsiteX25" fmla="*/ 4146933 w 8636594"/>
              <a:gd name="connsiteY25" fmla="*/ 5810100 h 6266942"/>
              <a:gd name="connsiteX26" fmla="*/ 4183061 w 8636594"/>
              <a:gd name="connsiteY26" fmla="*/ 5783988 h 6266942"/>
              <a:gd name="connsiteX27" fmla="*/ 4218791 w 8636594"/>
              <a:gd name="connsiteY27" fmla="*/ 5757591 h 6266942"/>
              <a:gd name="connsiteX28" fmla="*/ 4254129 w 8636594"/>
              <a:gd name="connsiteY28" fmla="*/ 5730912 h 6266942"/>
              <a:gd name="connsiteX29" fmla="*/ 4289081 w 8636594"/>
              <a:gd name="connsiteY29" fmla="*/ 5703955 h 6266942"/>
              <a:gd name="connsiteX30" fmla="*/ 4323654 w 8636594"/>
              <a:gd name="connsiteY30" fmla="*/ 5676722 h 6266942"/>
              <a:gd name="connsiteX31" fmla="*/ 4357854 w 8636594"/>
              <a:gd name="connsiteY31" fmla="*/ 5649218 h 6266942"/>
              <a:gd name="connsiteX32" fmla="*/ 4391688 w 8636594"/>
              <a:gd name="connsiteY32" fmla="*/ 5621446 h 6266942"/>
              <a:gd name="connsiteX33" fmla="*/ 4425162 w 8636594"/>
              <a:gd name="connsiteY33" fmla="*/ 5593409 h 6266942"/>
              <a:gd name="connsiteX34" fmla="*/ 4458281 w 8636594"/>
              <a:gd name="connsiteY34" fmla="*/ 5565111 h 6266942"/>
              <a:gd name="connsiteX35" fmla="*/ 4491053 w 8636594"/>
              <a:gd name="connsiteY35" fmla="*/ 5536556 h 6266942"/>
              <a:gd name="connsiteX36" fmla="*/ 4523484 w 8636594"/>
              <a:gd name="connsiteY36" fmla="*/ 5507747 h 6266942"/>
              <a:gd name="connsiteX37" fmla="*/ 4555580 w 8636594"/>
              <a:gd name="connsiteY37" fmla="*/ 5478687 h 6266942"/>
              <a:gd name="connsiteX38" fmla="*/ 4587347 w 8636594"/>
              <a:gd name="connsiteY38" fmla="*/ 5449380 h 6266942"/>
              <a:gd name="connsiteX39" fmla="*/ 4618793 w 8636594"/>
              <a:gd name="connsiteY39" fmla="*/ 5419830 h 6266942"/>
              <a:gd name="connsiteX40" fmla="*/ 4649922 w 8636594"/>
              <a:gd name="connsiteY40" fmla="*/ 5390040 h 6266942"/>
              <a:gd name="connsiteX41" fmla="*/ 4680742 w 8636594"/>
              <a:gd name="connsiteY41" fmla="*/ 5360014 h 6266942"/>
              <a:gd name="connsiteX42" fmla="*/ 4711259 w 8636594"/>
              <a:gd name="connsiteY42" fmla="*/ 5329755 h 6266942"/>
              <a:gd name="connsiteX43" fmla="*/ 4741478 w 8636594"/>
              <a:gd name="connsiteY43" fmla="*/ 5299266 h 6266942"/>
              <a:gd name="connsiteX44" fmla="*/ 4771408 w 8636594"/>
              <a:gd name="connsiteY44" fmla="*/ 5268551 h 6266942"/>
              <a:gd name="connsiteX45" fmla="*/ 4801053 w 8636594"/>
              <a:gd name="connsiteY45" fmla="*/ 5237614 h 6266942"/>
              <a:gd name="connsiteX46" fmla="*/ 4830420 w 8636594"/>
              <a:gd name="connsiteY46" fmla="*/ 5206458 h 6266942"/>
              <a:gd name="connsiteX47" fmla="*/ 4859516 w 8636594"/>
              <a:gd name="connsiteY47" fmla="*/ 5175087 h 6266942"/>
              <a:gd name="connsiteX48" fmla="*/ 4888347 w 8636594"/>
              <a:gd name="connsiteY48" fmla="*/ 5143504 h 6266942"/>
              <a:gd name="connsiteX49" fmla="*/ 4916919 w 8636594"/>
              <a:gd name="connsiteY49" fmla="*/ 5111713 h 6266942"/>
              <a:gd name="connsiteX50" fmla="*/ 4945238 w 8636594"/>
              <a:gd name="connsiteY50" fmla="*/ 5079717 h 6266942"/>
              <a:gd name="connsiteX51" fmla="*/ 4973311 w 8636594"/>
              <a:gd name="connsiteY51" fmla="*/ 5047519 h 6266942"/>
              <a:gd name="connsiteX52" fmla="*/ 5001145 w 8636594"/>
              <a:gd name="connsiteY52" fmla="*/ 5015124 h 6266942"/>
              <a:gd name="connsiteX53" fmla="*/ 5028745 w 8636594"/>
              <a:gd name="connsiteY53" fmla="*/ 4982535 h 6266942"/>
              <a:gd name="connsiteX54" fmla="*/ 5056117 w 8636594"/>
              <a:gd name="connsiteY54" fmla="*/ 4949755 h 6266942"/>
              <a:gd name="connsiteX55" fmla="*/ 5083269 w 8636594"/>
              <a:gd name="connsiteY55" fmla="*/ 4916787 h 6266942"/>
              <a:gd name="connsiteX56" fmla="*/ 5110207 w 8636594"/>
              <a:gd name="connsiteY56" fmla="*/ 4883636 h 6266942"/>
              <a:gd name="connsiteX57" fmla="*/ 5136937 w 8636594"/>
              <a:gd name="connsiteY57" fmla="*/ 4850305 h 6266942"/>
              <a:gd name="connsiteX58" fmla="*/ 5163464 w 8636594"/>
              <a:gd name="connsiteY58" fmla="*/ 4816797 h 6266942"/>
              <a:gd name="connsiteX59" fmla="*/ 5215940 w 8636594"/>
              <a:gd name="connsiteY59" fmla="*/ 4749265 h 6266942"/>
              <a:gd name="connsiteX60" fmla="*/ 5267684 w 8636594"/>
              <a:gd name="connsiteY60" fmla="*/ 4681068 h 6266942"/>
              <a:gd name="connsiteX61" fmla="*/ 5318748 w 8636594"/>
              <a:gd name="connsiteY61" fmla="*/ 4612234 h 6266942"/>
              <a:gd name="connsiteX62" fmla="*/ 5369182 w 8636594"/>
              <a:gd name="connsiteY62" fmla="*/ 4542793 h 6266942"/>
              <a:gd name="connsiteX63" fmla="*/ 5419038 w 8636594"/>
              <a:gd name="connsiteY63" fmla="*/ 4472771 h 6266942"/>
              <a:gd name="connsiteX64" fmla="*/ 5468365 w 8636594"/>
              <a:gd name="connsiteY64" fmla="*/ 4402196 h 6266942"/>
              <a:gd name="connsiteX65" fmla="*/ 5517215 w 8636594"/>
              <a:gd name="connsiteY65" fmla="*/ 4331098 h 6266942"/>
              <a:gd name="connsiteX66" fmla="*/ 5565637 w 8636594"/>
              <a:gd name="connsiteY66" fmla="*/ 4259503 h 6266942"/>
              <a:gd name="connsiteX67" fmla="*/ 5613684 w 8636594"/>
              <a:gd name="connsiteY67" fmla="*/ 4187441 h 6266942"/>
              <a:gd name="connsiteX68" fmla="*/ 5685160 w 8636594"/>
              <a:gd name="connsiteY68" fmla="*/ 4078531 h 6266942"/>
              <a:gd name="connsiteX69" fmla="*/ 5756074 w 8636594"/>
              <a:gd name="connsiteY69" fmla="*/ 3968727 h 6266942"/>
              <a:gd name="connsiteX70" fmla="*/ 5873483 w 8636594"/>
              <a:gd name="connsiteY70" fmla="*/ 3783989 h 6266942"/>
              <a:gd name="connsiteX71" fmla="*/ 6203209 w 8636594"/>
              <a:gd name="connsiteY71" fmla="*/ 3258640 h 6266942"/>
              <a:gd name="connsiteX72" fmla="*/ 6299430 w 8636594"/>
              <a:gd name="connsiteY72" fmla="*/ 3107321 h 6266942"/>
              <a:gd name="connsiteX73" fmla="*/ 6372650 w 8636594"/>
              <a:gd name="connsiteY73" fmla="*/ 2993735 h 6266942"/>
              <a:gd name="connsiteX74" fmla="*/ 6453197 w 8636594"/>
              <a:gd name="connsiteY74" fmla="*/ 2869788 h 6266942"/>
              <a:gd name="connsiteX75" fmla="*/ 6564167 w 8636594"/>
              <a:gd name="connsiteY75" fmla="*/ 2696807 h 6266942"/>
              <a:gd name="connsiteX76" fmla="*/ 6976233 w 8636594"/>
              <a:gd name="connsiteY76" fmla="*/ 2045274 h 6266942"/>
              <a:gd name="connsiteX77" fmla="*/ 7086755 w 8636594"/>
              <a:gd name="connsiteY77" fmla="*/ 1872743 h 6266942"/>
              <a:gd name="connsiteX78" fmla="*/ 7170279 w 8636594"/>
              <a:gd name="connsiteY78" fmla="*/ 1744202 h 6266942"/>
              <a:gd name="connsiteX79" fmla="*/ 7226351 w 8636594"/>
              <a:gd name="connsiteY79" fmla="*/ 1659017 h 6266942"/>
              <a:gd name="connsiteX80" fmla="*/ 7282789 w 8636594"/>
              <a:gd name="connsiteY80" fmla="*/ 1574303 h 6266942"/>
              <a:gd name="connsiteX81" fmla="*/ 7339643 w 8636594"/>
              <a:gd name="connsiteY81" fmla="*/ 1490113 h 6266942"/>
              <a:gd name="connsiteX82" fmla="*/ 7396957 w 8636594"/>
              <a:gd name="connsiteY82" fmla="*/ 1406503 h 6266942"/>
              <a:gd name="connsiteX83" fmla="*/ 7454781 w 8636594"/>
              <a:gd name="connsiteY83" fmla="*/ 1323526 h 6266942"/>
              <a:gd name="connsiteX84" fmla="*/ 7513161 w 8636594"/>
              <a:gd name="connsiteY84" fmla="*/ 1241237 h 6266942"/>
              <a:gd name="connsiteX85" fmla="*/ 7572144 w 8636594"/>
              <a:gd name="connsiteY85" fmla="*/ 1159689 h 6266942"/>
              <a:gd name="connsiteX86" fmla="*/ 7601877 w 8636594"/>
              <a:gd name="connsiteY86" fmla="*/ 1119210 h 6266942"/>
              <a:gd name="connsiteX87" fmla="*/ 7631779 w 8636594"/>
              <a:gd name="connsiteY87" fmla="*/ 1078937 h 6266942"/>
              <a:gd name="connsiteX88" fmla="*/ 7661855 w 8636594"/>
              <a:gd name="connsiteY88" fmla="*/ 1038876 h 6266942"/>
              <a:gd name="connsiteX89" fmla="*/ 7692111 w 8636594"/>
              <a:gd name="connsiteY89" fmla="*/ 999035 h 6266942"/>
              <a:gd name="connsiteX90" fmla="*/ 7722554 w 8636594"/>
              <a:gd name="connsiteY90" fmla="*/ 959419 h 6266942"/>
              <a:gd name="connsiteX91" fmla="*/ 7753190 w 8636594"/>
              <a:gd name="connsiteY91" fmla="*/ 920037 h 6266942"/>
              <a:gd name="connsiteX92" fmla="*/ 7784023 w 8636594"/>
              <a:gd name="connsiteY92" fmla="*/ 880894 h 6266942"/>
              <a:gd name="connsiteX93" fmla="*/ 7815061 w 8636594"/>
              <a:gd name="connsiteY93" fmla="*/ 841997 h 6266942"/>
              <a:gd name="connsiteX94" fmla="*/ 7846308 w 8636594"/>
              <a:gd name="connsiteY94" fmla="*/ 803354 h 6266942"/>
              <a:gd name="connsiteX95" fmla="*/ 7877772 w 8636594"/>
              <a:gd name="connsiteY95" fmla="*/ 764970 h 6266942"/>
              <a:gd name="connsiteX96" fmla="*/ 7909458 w 8636594"/>
              <a:gd name="connsiteY96" fmla="*/ 726853 h 6266942"/>
              <a:gd name="connsiteX97" fmla="*/ 7941371 w 8636594"/>
              <a:gd name="connsiteY97" fmla="*/ 689010 h 6266942"/>
              <a:gd name="connsiteX98" fmla="*/ 7973518 w 8636594"/>
              <a:gd name="connsiteY98" fmla="*/ 651447 h 6266942"/>
              <a:gd name="connsiteX99" fmla="*/ 8005905 w 8636594"/>
              <a:gd name="connsiteY99" fmla="*/ 614171 h 6266942"/>
              <a:gd name="connsiteX100" fmla="*/ 8038538 w 8636594"/>
              <a:gd name="connsiteY100" fmla="*/ 577189 h 6266942"/>
              <a:gd name="connsiteX101" fmla="*/ 8071421 w 8636594"/>
              <a:gd name="connsiteY101" fmla="*/ 540507 h 6266942"/>
              <a:gd name="connsiteX102" fmla="*/ 8104563 w 8636594"/>
              <a:gd name="connsiteY102" fmla="*/ 504132 h 6266942"/>
              <a:gd name="connsiteX103" fmla="*/ 8137967 w 8636594"/>
              <a:gd name="connsiteY103" fmla="*/ 468072 h 6266942"/>
              <a:gd name="connsiteX104" fmla="*/ 8171641 w 8636594"/>
              <a:gd name="connsiteY104" fmla="*/ 432332 h 6266942"/>
              <a:gd name="connsiteX105" fmla="*/ 8205590 w 8636594"/>
              <a:gd name="connsiteY105" fmla="*/ 396920 h 6266942"/>
              <a:gd name="connsiteX106" fmla="*/ 8239820 w 8636594"/>
              <a:gd name="connsiteY106" fmla="*/ 361843 h 6266942"/>
              <a:gd name="connsiteX107" fmla="*/ 8274337 w 8636594"/>
              <a:gd name="connsiteY107" fmla="*/ 327107 h 6266942"/>
              <a:gd name="connsiteX108" fmla="*/ 8309147 w 8636594"/>
              <a:gd name="connsiteY108" fmla="*/ 292718 h 6266942"/>
              <a:gd name="connsiteX109" fmla="*/ 8344256 w 8636594"/>
              <a:gd name="connsiteY109" fmla="*/ 258685 h 6266942"/>
              <a:gd name="connsiteX110" fmla="*/ 8379669 w 8636594"/>
              <a:gd name="connsiteY110" fmla="*/ 225013 h 6266942"/>
              <a:gd name="connsiteX111" fmla="*/ 8415394 w 8636594"/>
              <a:gd name="connsiteY111" fmla="*/ 191709 h 6266942"/>
              <a:gd name="connsiteX112" fmla="*/ 8451434 w 8636594"/>
              <a:gd name="connsiteY112" fmla="*/ 158780 h 6266942"/>
              <a:gd name="connsiteX113" fmla="*/ 8487798 w 8636594"/>
              <a:gd name="connsiteY113" fmla="*/ 126233 h 6266942"/>
              <a:gd name="connsiteX114" fmla="*/ 8524489 w 8636594"/>
              <a:gd name="connsiteY114" fmla="*/ 94075 h 6266942"/>
              <a:gd name="connsiteX115" fmla="*/ 8561515 w 8636594"/>
              <a:gd name="connsiteY115" fmla="*/ 62312 h 6266942"/>
              <a:gd name="connsiteX116" fmla="*/ 8598881 w 8636594"/>
              <a:gd name="connsiteY116" fmla="*/ 30951 h 6266942"/>
              <a:gd name="connsiteX117" fmla="*/ 8636594 w 8636594"/>
              <a:gd name="connsiteY117" fmla="*/ 0 h 6266942"/>
              <a:gd name="connsiteX0" fmla="*/ 8636594 w 8636594"/>
              <a:gd name="connsiteY0" fmla="*/ 0 h 6247281"/>
              <a:gd name="connsiteX1" fmla="*/ 5293 w 8636594"/>
              <a:gd name="connsiteY1" fmla="*/ 0 h 6247281"/>
              <a:gd name="connsiteX2" fmla="*/ 0 w 8636594"/>
              <a:gd name="connsiteY2" fmla="*/ 5587843 h 6247281"/>
              <a:gd name="connsiteX3" fmla="*/ 1594033 w 8636594"/>
              <a:gd name="connsiteY3" fmla="*/ 5600057 h 6247281"/>
              <a:gd name="connsiteX4" fmla="*/ 1686068 w 8636594"/>
              <a:gd name="connsiteY4" fmla="*/ 5599745 h 6247281"/>
              <a:gd name="connsiteX5" fmla="*/ 3376401 w 8636594"/>
              <a:gd name="connsiteY5" fmla="*/ 6247281 h 6247281"/>
              <a:gd name="connsiteX6" fmla="*/ 3421300 w 8636594"/>
              <a:gd name="connsiteY6" fmla="*/ 6227263 h 6247281"/>
              <a:gd name="connsiteX7" fmla="*/ 3465680 w 8636594"/>
              <a:gd name="connsiteY7" fmla="*/ 6206893 h 6247281"/>
              <a:gd name="connsiteX8" fmla="*/ 3509548 w 8636594"/>
              <a:gd name="connsiteY8" fmla="*/ 6186174 h 6247281"/>
              <a:gd name="connsiteX9" fmla="*/ 3552910 w 8636594"/>
              <a:gd name="connsiteY9" fmla="*/ 6165110 h 6247281"/>
              <a:gd name="connsiteX10" fmla="*/ 3595773 w 8636594"/>
              <a:gd name="connsiteY10" fmla="*/ 6143704 h 6247281"/>
              <a:gd name="connsiteX11" fmla="*/ 3638142 w 8636594"/>
              <a:gd name="connsiteY11" fmla="*/ 6121960 h 6247281"/>
              <a:gd name="connsiteX12" fmla="*/ 3680024 w 8636594"/>
              <a:gd name="connsiteY12" fmla="*/ 6099881 h 6247281"/>
              <a:gd name="connsiteX13" fmla="*/ 3721426 w 8636594"/>
              <a:gd name="connsiteY13" fmla="*/ 6077471 h 6247281"/>
              <a:gd name="connsiteX14" fmla="*/ 3762353 w 8636594"/>
              <a:gd name="connsiteY14" fmla="*/ 6054733 h 6247281"/>
              <a:gd name="connsiteX15" fmla="*/ 3802812 w 8636594"/>
              <a:gd name="connsiteY15" fmla="*/ 6031671 h 6247281"/>
              <a:gd name="connsiteX16" fmla="*/ 3842810 w 8636594"/>
              <a:gd name="connsiteY16" fmla="*/ 6008288 h 6247281"/>
              <a:gd name="connsiteX17" fmla="*/ 3882352 w 8636594"/>
              <a:gd name="connsiteY17" fmla="*/ 5984588 h 6247281"/>
              <a:gd name="connsiteX18" fmla="*/ 3921445 w 8636594"/>
              <a:gd name="connsiteY18" fmla="*/ 5960574 h 6247281"/>
              <a:gd name="connsiteX19" fmla="*/ 3960096 w 8636594"/>
              <a:gd name="connsiteY19" fmla="*/ 5936250 h 6247281"/>
              <a:gd name="connsiteX20" fmla="*/ 3998311 w 8636594"/>
              <a:gd name="connsiteY20" fmla="*/ 5911619 h 6247281"/>
              <a:gd name="connsiteX21" fmla="*/ 4036095 w 8636594"/>
              <a:gd name="connsiteY21" fmla="*/ 5886685 h 6247281"/>
              <a:gd name="connsiteX22" fmla="*/ 4073456 w 8636594"/>
              <a:gd name="connsiteY22" fmla="*/ 5861452 h 6247281"/>
              <a:gd name="connsiteX23" fmla="*/ 4110400 w 8636594"/>
              <a:gd name="connsiteY23" fmla="*/ 5835922 h 6247281"/>
              <a:gd name="connsiteX24" fmla="*/ 4146933 w 8636594"/>
              <a:gd name="connsiteY24" fmla="*/ 5810100 h 6247281"/>
              <a:gd name="connsiteX25" fmla="*/ 4183061 w 8636594"/>
              <a:gd name="connsiteY25" fmla="*/ 5783988 h 6247281"/>
              <a:gd name="connsiteX26" fmla="*/ 4218791 w 8636594"/>
              <a:gd name="connsiteY26" fmla="*/ 5757591 h 6247281"/>
              <a:gd name="connsiteX27" fmla="*/ 4254129 w 8636594"/>
              <a:gd name="connsiteY27" fmla="*/ 5730912 h 6247281"/>
              <a:gd name="connsiteX28" fmla="*/ 4289081 w 8636594"/>
              <a:gd name="connsiteY28" fmla="*/ 5703955 h 6247281"/>
              <a:gd name="connsiteX29" fmla="*/ 4323654 w 8636594"/>
              <a:gd name="connsiteY29" fmla="*/ 5676722 h 6247281"/>
              <a:gd name="connsiteX30" fmla="*/ 4357854 w 8636594"/>
              <a:gd name="connsiteY30" fmla="*/ 5649218 h 6247281"/>
              <a:gd name="connsiteX31" fmla="*/ 4391688 w 8636594"/>
              <a:gd name="connsiteY31" fmla="*/ 5621446 h 6247281"/>
              <a:gd name="connsiteX32" fmla="*/ 4425162 w 8636594"/>
              <a:gd name="connsiteY32" fmla="*/ 5593409 h 6247281"/>
              <a:gd name="connsiteX33" fmla="*/ 4458281 w 8636594"/>
              <a:gd name="connsiteY33" fmla="*/ 5565111 h 6247281"/>
              <a:gd name="connsiteX34" fmla="*/ 4491053 w 8636594"/>
              <a:gd name="connsiteY34" fmla="*/ 5536556 h 6247281"/>
              <a:gd name="connsiteX35" fmla="*/ 4523484 w 8636594"/>
              <a:gd name="connsiteY35" fmla="*/ 5507747 h 6247281"/>
              <a:gd name="connsiteX36" fmla="*/ 4555580 w 8636594"/>
              <a:gd name="connsiteY36" fmla="*/ 5478687 h 6247281"/>
              <a:gd name="connsiteX37" fmla="*/ 4587347 w 8636594"/>
              <a:gd name="connsiteY37" fmla="*/ 5449380 h 6247281"/>
              <a:gd name="connsiteX38" fmla="*/ 4618793 w 8636594"/>
              <a:gd name="connsiteY38" fmla="*/ 5419830 h 6247281"/>
              <a:gd name="connsiteX39" fmla="*/ 4649922 w 8636594"/>
              <a:gd name="connsiteY39" fmla="*/ 5390040 h 6247281"/>
              <a:gd name="connsiteX40" fmla="*/ 4680742 w 8636594"/>
              <a:gd name="connsiteY40" fmla="*/ 5360014 h 6247281"/>
              <a:gd name="connsiteX41" fmla="*/ 4711259 w 8636594"/>
              <a:gd name="connsiteY41" fmla="*/ 5329755 h 6247281"/>
              <a:gd name="connsiteX42" fmla="*/ 4741478 w 8636594"/>
              <a:gd name="connsiteY42" fmla="*/ 5299266 h 6247281"/>
              <a:gd name="connsiteX43" fmla="*/ 4771408 w 8636594"/>
              <a:gd name="connsiteY43" fmla="*/ 5268551 h 6247281"/>
              <a:gd name="connsiteX44" fmla="*/ 4801053 w 8636594"/>
              <a:gd name="connsiteY44" fmla="*/ 5237614 h 6247281"/>
              <a:gd name="connsiteX45" fmla="*/ 4830420 w 8636594"/>
              <a:gd name="connsiteY45" fmla="*/ 5206458 h 6247281"/>
              <a:gd name="connsiteX46" fmla="*/ 4859516 w 8636594"/>
              <a:gd name="connsiteY46" fmla="*/ 5175087 h 6247281"/>
              <a:gd name="connsiteX47" fmla="*/ 4888347 w 8636594"/>
              <a:gd name="connsiteY47" fmla="*/ 5143504 h 6247281"/>
              <a:gd name="connsiteX48" fmla="*/ 4916919 w 8636594"/>
              <a:gd name="connsiteY48" fmla="*/ 5111713 h 6247281"/>
              <a:gd name="connsiteX49" fmla="*/ 4945238 w 8636594"/>
              <a:gd name="connsiteY49" fmla="*/ 5079717 h 6247281"/>
              <a:gd name="connsiteX50" fmla="*/ 4973311 w 8636594"/>
              <a:gd name="connsiteY50" fmla="*/ 5047519 h 6247281"/>
              <a:gd name="connsiteX51" fmla="*/ 5001145 w 8636594"/>
              <a:gd name="connsiteY51" fmla="*/ 5015124 h 6247281"/>
              <a:gd name="connsiteX52" fmla="*/ 5028745 w 8636594"/>
              <a:gd name="connsiteY52" fmla="*/ 4982535 h 6247281"/>
              <a:gd name="connsiteX53" fmla="*/ 5056117 w 8636594"/>
              <a:gd name="connsiteY53" fmla="*/ 4949755 h 6247281"/>
              <a:gd name="connsiteX54" fmla="*/ 5083269 w 8636594"/>
              <a:gd name="connsiteY54" fmla="*/ 4916787 h 6247281"/>
              <a:gd name="connsiteX55" fmla="*/ 5110207 w 8636594"/>
              <a:gd name="connsiteY55" fmla="*/ 4883636 h 6247281"/>
              <a:gd name="connsiteX56" fmla="*/ 5136937 w 8636594"/>
              <a:gd name="connsiteY56" fmla="*/ 4850305 h 6247281"/>
              <a:gd name="connsiteX57" fmla="*/ 5163464 w 8636594"/>
              <a:gd name="connsiteY57" fmla="*/ 4816797 h 6247281"/>
              <a:gd name="connsiteX58" fmla="*/ 5215940 w 8636594"/>
              <a:gd name="connsiteY58" fmla="*/ 4749265 h 6247281"/>
              <a:gd name="connsiteX59" fmla="*/ 5267684 w 8636594"/>
              <a:gd name="connsiteY59" fmla="*/ 4681068 h 6247281"/>
              <a:gd name="connsiteX60" fmla="*/ 5318748 w 8636594"/>
              <a:gd name="connsiteY60" fmla="*/ 4612234 h 6247281"/>
              <a:gd name="connsiteX61" fmla="*/ 5369182 w 8636594"/>
              <a:gd name="connsiteY61" fmla="*/ 4542793 h 6247281"/>
              <a:gd name="connsiteX62" fmla="*/ 5419038 w 8636594"/>
              <a:gd name="connsiteY62" fmla="*/ 4472771 h 6247281"/>
              <a:gd name="connsiteX63" fmla="*/ 5468365 w 8636594"/>
              <a:gd name="connsiteY63" fmla="*/ 4402196 h 6247281"/>
              <a:gd name="connsiteX64" fmla="*/ 5517215 w 8636594"/>
              <a:gd name="connsiteY64" fmla="*/ 4331098 h 6247281"/>
              <a:gd name="connsiteX65" fmla="*/ 5565637 w 8636594"/>
              <a:gd name="connsiteY65" fmla="*/ 4259503 h 6247281"/>
              <a:gd name="connsiteX66" fmla="*/ 5613684 w 8636594"/>
              <a:gd name="connsiteY66" fmla="*/ 4187441 h 6247281"/>
              <a:gd name="connsiteX67" fmla="*/ 5685160 w 8636594"/>
              <a:gd name="connsiteY67" fmla="*/ 4078531 h 6247281"/>
              <a:gd name="connsiteX68" fmla="*/ 5756074 w 8636594"/>
              <a:gd name="connsiteY68" fmla="*/ 3968727 h 6247281"/>
              <a:gd name="connsiteX69" fmla="*/ 5873483 w 8636594"/>
              <a:gd name="connsiteY69" fmla="*/ 3783989 h 6247281"/>
              <a:gd name="connsiteX70" fmla="*/ 6203209 w 8636594"/>
              <a:gd name="connsiteY70" fmla="*/ 3258640 h 6247281"/>
              <a:gd name="connsiteX71" fmla="*/ 6299430 w 8636594"/>
              <a:gd name="connsiteY71" fmla="*/ 3107321 h 6247281"/>
              <a:gd name="connsiteX72" fmla="*/ 6372650 w 8636594"/>
              <a:gd name="connsiteY72" fmla="*/ 2993735 h 6247281"/>
              <a:gd name="connsiteX73" fmla="*/ 6453197 w 8636594"/>
              <a:gd name="connsiteY73" fmla="*/ 2869788 h 6247281"/>
              <a:gd name="connsiteX74" fmla="*/ 6564167 w 8636594"/>
              <a:gd name="connsiteY74" fmla="*/ 2696807 h 6247281"/>
              <a:gd name="connsiteX75" fmla="*/ 6976233 w 8636594"/>
              <a:gd name="connsiteY75" fmla="*/ 2045274 h 6247281"/>
              <a:gd name="connsiteX76" fmla="*/ 7086755 w 8636594"/>
              <a:gd name="connsiteY76" fmla="*/ 1872743 h 6247281"/>
              <a:gd name="connsiteX77" fmla="*/ 7170279 w 8636594"/>
              <a:gd name="connsiteY77" fmla="*/ 1744202 h 6247281"/>
              <a:gd name="connsiteX78" fmla="*/ 7226351 w 8636594"/>
              <a:gd name="connsiteY78" fmla="*/ 1659017 h 6247281"/>
              <a:gd name="connsiteX79" fmla="*/ 7282789 w 8636594"/>
              <a:gd name="connsiteY79" fmla="*/ 1574303 h 6247281"/>
              <a:gd name="connsiteX80" fmla="*/ 7339643 w 8636594"/>
              <a:gd name="connsiteY80" fmla="*/ 1490113 h 6247281"/>
              <a:gd name="connsiteX81" fmla="*/ 7396957 w 8636594"/>
              <a:gd name="connsiteY81" fmla="*/ 1406503 h 6247281"/>
              <a:gd name="connsiteX82" fmla="*/ 7454781 w 8636594"/>
              <a:gd name="connsiteY82" fmla="*/ 1323526 h 6247281"/>
              <a:gd name="connsiteX83" fmla="*/ 7513161 w 8636594"/>
              <a:gd name="connsiteY83" fmla="*/ 1241237 h 6247281"/>
              <a:gd name="connsiteX84" fmla="*/ 7572144 w 8636594"/>
              <a:gd name="connsiteY84" fmla="*/ 1159689 h 6247281"/>
              <a:gd name="connsiteX85" fmla="*/ 7601877 w 8636594"/>
              <a:gd name="connsiteY85" fmla="*/ 1119210 h 6247281"/>
              <a:gd name="connsiteX86" fmla="*/ 7631779 w 8636594"/>
              <a:gd name="connsiteY86" fmla="*/ 1078937 h 6247281"/>
              <a:gd name="connsiteX87" fmla="*/ 7661855 w 8636594"/>
              <a:gd name="connsiteY87" fmla="*/ 1038876 h 6247281"/>
              <a:gd name="connsiteX88" fmla="*/ 7692111 w 8636594"/>
              <a:gd name="connsiteY88" fmla="*/ 999035 h 6247281"/>
              <a:gd name="connsiteX89" fmla="*/ 7722554 w 8636594"/>
              <a:gd name="connsiteY89" fmla="*/ 959419 h 6247281"/>
              <a:gd name="connsiteX90" fmla="*/ 7753190 w 8636594"/>
              <a:gd name="connsiteY90" fmla="*/ 920037 h 6247281"/>
              <a:gd name="connsiteX91" fmla="*/ 7784023 w 8636594"/>
              <a:gd name="connsiteY91" fmla="*/ 880894 h 6247281"/>
              <a:gd name="connsiteX92" fmla="*/ 7815061 w 8636594"/>
              <a:gd name="connsiteY92" fmla="*/ 841997 h 6247281"/>
              <a:gd name="connsiteX93" fmla="*/ 7846308 w 8636594"/>
              <a:gd name="connsiteY93" fmla="*/ 803354 h 6247281"/>
              <a:gd name="connsiteX94" fmla="*/ 7877772 w 8636594"/>
              <a:gd name="connsiteY94" fmla="*/ 764970 h 6247281"/>
              <a:gd name="connsiteX95" fmla="*/ 7909458 w 8636594"/>
              <a:gd name="connsiteY95" fmla="*/ 726853 h 6247281"/>
              <a:gd name="connsiteX96" fmla="*/ 7941371 w 8636594"/>
              <a:gd name="connsiteY96" fmla="*/ 689010 h 6247281"/>
              <a:gd name="connsiteX97" fmla="*/ 7973518 w 8636594"/>
              <a:gd name="connsiteY97" fmla="*/ 651447 h 6247281"/>
              <a:gd name="connsiteX98" fmla="*/ 8005905 w 8636594"/>
              <a:gd name="connsiteY98" fmla="*/ 614171 h 6247281"/>
              <a:gd name="connsiteX99" fmla="*/ 8038538 w 8636594"/>
              <a:gd name="connsiteY99" fmla="*/ 577189 h 6247281"/>
              <a:gd name="connsiteX100" fmla="*/ 8071421 w 8636594"/>
              <a:gd name="connsiteY100" fmla="*/ 540507 h 6247281"/>
              <a:gd name="connsiteX101" fmla="*/ 8104563 w 8636594"/>
              <a:gd name="connsiteY101" fmla="*/ 504132 h 6247281"/>
              <a:gd name="connsiteX102" fmla="*/ 8137967 w 8636594"/>
              <a:gd name="connsiteY102" fmla="*/ 468072 h 6247281"/>
              <a:gd name="connsiteX103" fmla="*/ 8171641 w 8636594"/>
              <a:gd name="connsiteY103" fmla="*/ 432332 h 6247281"/>
              <a:gd name="connsiteX104" fmla="*/ 8205590 w 8636594"/>
              <a:gd name="connsiteY104" fmla="*/ 396920 h 6247281"/>
              <a:gd name="connsiteX105" fmla="*/ 8239820 w 8636594"/>
              <a:gd name="connsiteY105" fmla="*/ 361843 h 6247281"/>
              <a:gd name="connsiteX106" fmla="*/ 8274337 w 8636594"/>
              <a:gd name="connsiteY106" fmla="*/ 327107 h 6247281"/>
              <a:gd name="connsiteX107" fmla="*/ 8309147 w 8636594"/>
              <a:gd name="connsiteY107" fmla="*/ 292718 h 6247281"/>
              <a:gd name="connsiteX108" fmla="*/ 8344256 w 8636594"/>
              <a:gd name="connsiteY108" fmla="*/ 258685 h 6247281"/>
              <a:gd name="connsiteX109" fmla="*/ 8379669 w 8636594"/>
              <a:gd name="connsiteY109" fmla="*/ 225013 h 6247281"/>
              <a:gd name="connsiteX110" fmla="*/ 8415394 w 8636594"/>
              <a:gd name="connsiteY110" fmla="*/ 191709 h 6247281"/>
              <a:gd name="connsiteX111" fmla="*/ 8451434 w 8636594"/>
              <a:gd name="connsiteY111" fmla="*/ 158780 h 6247281"/>
              <a:gd name="connsiteX112" fmla="*/ 8487798 w 8636594"/>
              <a:gd name="connsiteY112" fmla="*/ 126233 h 6247281"/>
              <a:gd name="connsiteX113" fmla="*/ 8524489 w 8636594"/>
              <a:gd name="connsiteY113" fmla="*/ 94075 h 6247281"/>
              <a:gd name="connsiteX114" fmla="*/ 8561515 w 8636594"/>
              <a:gd name="connsiteY114" fmla="*/ 62312 h 6247281"/>
              <a:gd name="connsiteX115" fmla="*/ 8598881 w 8636594"/>
              <a:gd name="connsiteY115" fmla="*/ 30951 h 6247281"/>
              <a:gd name="connsiteX116" fmla="*/ 8636594 w 8636594"/>
              <a:gd name="connsiteY116" fmla="*/ 0 h 6247281"/>
              <a:gd name="connsiteX0" fmla="*/ 8636594 w 8636594"/>
              <a:gd name="connsiteY0" fmla="*/ 0 h 6227263"/>
              <a:gd name="connsiteX1" fmla="*/ 5293 w 8636594"/>
              <a:gd name="connsiteY1" fmla="*/ 0 h 6227263"/>
              <a:gd name="connsiteX2" fmla="*/ 0 w 8636594"/>
              <a:gd name="connsiteY2" fmla="*/ 5587843 h 6227263"/>
              <a:gd name="connsiteX3" fmla="*/ 1594033 w 8636594"/>
              <a:gd name="connsiteY3" fmla="*/ 5600057 h 6227263"/>
              <a:gd name="connsiteX4" fmla="*/ 1686068 w 8636594"/>
              <a:gd name="connsiteY4" fmla="*/ 5599745 h 6227263"/>
              <a:gd name="connsiteX5" fmla="*/ 3421300 w 8636594"/>
              <a:gd name="connsiteY5" fmla="*/ 6227263 h 6227263"/>
              <a:gd name="connsiteX6" fmla="*/ 3465680 w 8636594"/>
              <a:gd name="connsiteY6" fmla="*/ 6206893 h 6227263"/>
              <a:gd name="connsiteX7" fmla="*/ 3509548 w 8636594"/>
              <a:gd name="connsiteY7" fmla="*/ 6186174 h 6227263"/>
              <a:gd name="connsiteX8" fmla="*/ 3552910 w 8636594"/>
              <a:gd name="connsiteY8" fmla="*/ 6165110 h 6227263"/>
              <a:gd name="connsiteX9" fmla="*/ 3595773 w 8636594"/>
              <a:gd name="connsiteY9" fmla="*/ 6143704 h 6227263"/>
              <a:gd name="connsiteX10" fmla="*/ 3638142 w 8636594"/>
              <a:gd name="connsiteY10" fmla="*/ 6121960 h 6227263"/>
              <a:gd name="connsiteX11" fmla="*/ 3680024 w 8636594"/>
              <a:gd name="connsiteY11" fmla="*/ 6099881 h 6227263"/>
              <a:gd name="connsiteX12" fmla="*/ 3721426 w 8636594"/>
              <a:gd name="connsiteY12" fmla="*/ 6077471 h 6227263"/>
              <a:gd name="connsiteX13" fmla="*/ 3762353 w 8636594"/>
              <a:gd name="connsiteY13" fmla="*/ 6054733 h 6227263"/>
              <a:gd name="connsiteX14" fmla="*/ 3802812 w 8636594"/>
              <a:gd name="connsiteY14" fmla="*/ 6031671 h 6227263"/>
              <a:gd name="connsiteX15" fmla="*/ 3842810 w 8636594"/>
              <a:gd name="connsiteY15" fmla="*/ 6008288 h 6227263"/>
              <a:gd name="connsiteX16" fmla="*/ 3882352 w 8636594"/>
              <a:gd name="connsiteY16" fmla="*/ 5984588 h 6227263"/>
              <a:gd name="connsiteX17" fmla="*/ 3921445 w 8636594"/>
              <a:gd name="connsiteY17" fmla="*/ 5960574 h 6227263"/>
              <a:gd name="connsiteX18" fmla="*/ 3960096 w 8636594"/>
              <a:gd name="connsiteY18" fmla="*/ 5936250 h 6227263"/>
              <a:gd name="connsiteX19" fmla="*/ 3998311 w 8636594"/>
              <a:gd name="connsiteY19" fmla="*/ 5911619 h 6227263"/>
              <a:gd name="connsiteX20" fmla="*/ 4036095 w 8636594"/>
              <a:gd name="connsiteY20" fmla="*/ 5886685 h 6227263"/>
              <a:gd name="connsiteX21" fmla="*/ 4073456 w 8636594"/>
              <a:gd name="connsiteY21" fmla="*/ 5861452 h 6227263"/>
              <a:gd name="connsiteX22" fmla="*/ 4110400 w 8636594"/>
              <a:gd name="connsiteY22" fmla="*/ 5835922 h 6227263"/>
              <a:gd name="connsiteX23" fmla="*/ 4146933 w 8636594"/>
              <a:gd name="connsiteY23" fmla="*/ 5810100 h 6227263"/>
              <a:gd name="connsiteX24" fmla="*/ 4183061 w 8636594"/>
              <a:gd name="connsiteY24" fmla="*/ 5783988 h 6227263"/>
              <a:gd name="connsiteX25" fmla="*/ 4218791 w 8636594"/>
              <a:gd name="connsiteY25" fmla="*/ 5757591 h 6227263"/>
              <a:gd name="connsiteX26" fmla="*/ 4254129 w 8636594"/>
              <a:gd name="connsiteY26" fmla="*/ 5730912 h 6227263"/>
              <a:gd name="connsiteX27" fmla="*/ 4289081 w 8636594"/>
              <a:gd name="connsiteY27" fmla="*/ 5703955 h 6227263"/>
              <a:gd name="connsiteX28" fmla="*/ 4323654 w 8636594"/>
              <a:gd name="connsiteY28" fmla="*/ 5676722 h 6227263"/>
              <a:gd name="connsiteX29" fmla="*/ 4357854 w 8636594"/>
              <a:gd name="connsiteY29" fmla="*/ 5649218 h 6227263"/>
              <a:gd name="connsiteX30" fmla="*/ 4391688 w 8636594"/>
              <a:gd name="connsiteY30" fmla="*/ 5621446 h 6227263"/>
              <a:gd name="connsiteX31" fmla="*/ 4425162 w 8636594"/>
              <a:gd name="connsiteY31" fmla="*/ 5593409 h 6227263"/>
              <a:gd name="connsiteX32" fmla="*/ 4458281 w 8636594"/>
              <a:gd name="connsiteY32" fmla="*/ 5565111 h 6227263"/>
              <a:gd name="connsiteX33" fmla="*/ 4491053 w 8636594"/>
              <a:gd name="connsiteY33" fmla="*/ 5536556 h 6227263"/>
              <a:gd name="connsiteX34" fmla="*/ 4523484 w 8636594"/>
              <a:gd name="connsiteY34" fmla="*/ 5507747 h 6227263"/>
              <a:gd name="connsiteX35" fmla="*/ 4555580 w 8636594"/>
              <a:gd name="connsiteY35" fmla="*/ 5478687 h 6227263"/>
              <a:gd name="connsiteX36" fmla="*/ 4587347 w 8636594"/>
              <a:gd name="connsiteY36" fmla="*/ 5449380 h 6227263"/>
              <a:gd name="connsiteX37" fmla="*/ 4618793 w 8636594"/>
              <a:gd name="connsiteY37" fmla="*/ 5419830 h 6227263"/>
              <a:gd name="connsiteX38" fmla="*/ 4649922 w 8636594"/>
              <a:gd name="connsiteY38" fmla="*/ 5390040 h 6227263"/>
              <a:gd name="connsiteX39" fmla="*/ 4680742 w 8636594"/>
              <a:gd name="connsiteY39" fmla="*/ 5360014 h 6227263"/>
              <a:gd name="connsiteX40" fmla="*/ 4711259 w 8636594"/>
              <a:gd name="connsiteY40" fmla="*/ 5329755 h 6227263"/>
              <a:gd name="connsiteX41" fmla="*/ 4741478 w 8636594"/>
              <a:gd name="connsiteY41" fmla="*/ 5299266 h 6227263"/>
              <a:gd name="connsiteX42" fmla="*/ 4771408 w 8636594"/>
              <a:gd name="connsiteY42" fmla="*/ 5268551 h 6227263"/>
              <a:gd name="connsiteX43" fmla="*/ 4801053 w 8636594"/>
              <a:gd name="connsiteY43" fmla="*/ 5237614 h 6227263"/>
              <a:gd name="connsiteX44" fmla="*/ 4830420 w 8636594"/>
              <a:gd name="connsiteY44" fmla="*/ 5206458 h 6227263"/>
              <a:gd name="connsiteX45" fmla="*/ 4859516 w 8636594"/>
              <a:gd name="connsiteY45" fmla="*/ 5175087 h 6227263"/>
              <a:gd name="connsiteX46" fmla="*/ 4888347 w 8636594"/>
              <a:gd name="connsiteY46" fmla="*/ 5143504 h 6227263"/>
              <a:gd name="connsiteX47" fmla="*/ 4916919 w 8636594"/>
              <a:gd name="connsiteY47" fmla="*/ 5111713 h 6227263"/>
              <a:gd name="connsiteX48" fmla="*/ 4945238 w 8636594"/>
              <a:gd name="connsiteY48" fmla="*/ 5079717 h 6227263"/>
              <a:gd name="connsiteX49" fmla="*/ 4973311 w 8636594"/>
              <a:gd name="connsiteY49" fmla="*/ 5047519 h 6227263"/>
              <a:gd name="connsiteX50" fmla="*/ 5001145 w 8636594"/>
              <a:gd name="connsiteY50" fmla="*/ 5015124 h 6227263"/>
              <a:gd name="connsiteX51" fmla="*/ 5028745 w 8636594"/>
              <a:gd name="connsiteY51" fmla="*/ 4982535 h 6227263"/>
              <a:gd name="connsiteX52" fmla="*/ 5056117 w 8636594"/>
              <a:gd name="connsiteY52" fmla="*/ 4949755 h 6227263"/>
              <a:gd name="connsiteX53" fmla="*/ 5083269 w 8636594"/>
              <a:gd name="connsiteY53" fmla="*/ 4916787 h 6227263"/>
              <a:gd name="connsiteX54" fmla="*/ 5110207 w 8636594"/>
              <a:gd name="connsiteY54" fmla="*/ 4883636 h 6227263"/>
              <a:gd name="connsiteX55" fmla="*/ 5136937 w 8636594"/>
              <a:gd name="connsiteY55" fmla="*/ 4850305 h 6227263"/>
              <a:gd name="connsiteX56" fmla="*/ 5163464 w 8636594"/>
              <a:gd name="connsiteY56" fmla="*/ 4816797 h 6227263"/>
              <a:gd name="connsiteX57" fmla="*/ 5215940 w 8636594"/>
              <a:gd name="connsiteY57" fmla="*/ 4749265 h 6227263"/>
              <a:gd name="connsiteX58" fmla="*/ 5267684 w 8636594"/>
              <a:gd name="connsiteY58" fmla="*/ 4681068 h 6227263"/>
              <a:gd name="connsiteX59" fmla="*/ 5318748 w 8636594"/>
              <a:gd name="connsiteY59" fmla="*/ 4612234 h 6227263"/>
              <a:gd name="connsiteX60" fmla="*/ 5369182 w 8636594"/>
              <a:gd name="connsiteY60" fmla="*/ 4542793 h 6227263"/>
              <a:gd name="connsiteX61" fmla="*/ 5419038 w 8636594"/>
              <a:gd name="connsiteY61" fmla="*/ 4472771 h 6227263"/>
              <a:gd name="connsiteX62" fmla="*/ 5468365 w 8636594"/>
              <a:gd name="connsiteY62" fmla="*/ 4402196 h 6227263"/>
              <a:gd name="connsiteX63" fmla="*/ 5517215 w 8636594"/>
              <a:gd name="connsiteY63" fmla="*/ 4331098 h 6227263"/>
              <a:gd name="connsiteX64" fmla="*/ 5565637 w 8636594"/>
              <a:gd name="connsiteY64" fmla="*/ 4259503 h 6227263"/>
              <a:gd name="connsiteX65" fmla="*/ 5613684 w 8636594"/>
              <a:gd name="connsiteY65" fmla="*/ 4187441 h 6227263"/>
              <a:gd name="connsiteX66" fmla="*/ 5685160 w 8636594"/>
              <a:gd name="connsiteY66" fmla="*/ 4078531 h 6227263"/>
              <a:gd name="connsiteX67" fmla="*/ 5756074 w 8636594"/>
              <a:gd name="connsiteY67" fmla="*/ 3968727 h 6227263"/>
              <a:gd name="connsiteX68" fmla="*/ 5873483 w 8636594"/>
              <a:gd name="connsiteY68" fmla="*/ 3783989 h 6227263"/>
              <a:gd name="connsiteX69" fmla="*/ 6203209 w 8636594"/>
              <a:gd name="connsiteY69" fmla="*/ 3258640 h 6227263"/>
              <a:gd name="connsiteX70" fmla="*/ 6299430 w 8636594"/>
              <a:gd name="connsiteY70" fmla="*/ 3107321 h 6227263"/>
              <a:gd name="connsiteX71" fmla="*/ 6372650 w 8636594"/>
              <a:gd name="connsiteY71" fmla="*/ 2993735 h 6227263"/>
              <a:gd name="connsiteX72" fmla="*/ 6453197 w 8636594"/>
              <a:gd name="connsiteY72" fmla="*/ 2869788 h 6227263"/>
              <a:gd name="connsiteX73" fmla="*/ 6564167 w 8636594"/>
              <a:gd name="connsiteY73" fmla="*/ 2696807 h 6227263"/>
              <a:gd name="connsiteX74" fmla="*/ 6976233 w 8636594"/>
              <a:gd name="connsiteY74" fmla="*/ 2045274 h 6227263"/>
              <a:gd name="connsiteX75" fmla="*/ 7086755 w 8636594"/>
              <a:gd name="connsiteY75" fmla="*/ 1872743 h 6227263"/>
              <a:gd name="connsiteX76" fmla="*/ 7170279 w 8636594"/>
              <a:gd name="connsiteY76" fmla="*/ 1744202 h 6227263"/>
              <a:gd name="connsiteX77" fmla="*/ 7226351 w 8636594"/>
              <a:gd name="connsiteY77" fmla="*/ 1659017 h 6227263"/>
              <a:gd name="connsiteX78" fmla="*/ 7282789 w 8636594"/>
              <a:gd name="connsiteY78" fmla="*/ 1574303 h 6227263"/>
              <a:gd name="connsiteX79" fmla="*/ 7339643 w 8636594"/>
              <a:gd name="connsiteY79" fmla="*/ 1490113 h 6227263"/>
              <a:gd name="connsiteX80" fmla="*/ 7396957 w 8636594"/>
              <a:gd name="connsiteY80" fmla="*/ 1406503 h 6227263"/>
              <a:gd name="connsiteX81" fmla="*/ 7454781 w 8636594"/>
              <a:gd name="connsiteY81" fmla="*/ 1323526 h 6227263"/>
              <a:gd name="connsiteX82" fmla="*/ 7513161 w 8636594"/>
              <a:gd name="connsiteY82" fmla="*/ 1241237 h 6227263"/>
              <a:gd name="connsiteX83" fmla="*/ 7572144 w 8636594"/>
              <a:gd name="connsiteY83" fmla="*/ 1159689 h 6227263"/>
              <a:gd name="connsiteX84" fmla="*/ 7601877 w 8636594"/>
              <a:gd name="connsiteY84" fmla="*/ 1119210 h 6227263"/>
              <a:gd name="connsiteX85" fmla="*/ 7631779 w 8636594"/>
              <a:gd name="connsiteY85" fmla="*/ 1078937 h 6227263"/>
              <a:gd name="connsiteX86" fmla="*/ 7661855 w 8636594"/>
              <a:gd name="connsiteY86" fmla="*/ 1038876 h 6227263"/>
              <a:gd name="connsiteX87" fmla="*/ 7692111 w 8636594"/>
              <a:gd name="connsiteY87" fmla="*/ 999035 h 6227263"/>
              <a:gd name="connsiteX88" fmla="*/ 7722554 w 8636594"/>
              <a:gd name="connsiteY88" fmla="*/ 959419 h 6227263"/>
              <a:gd name="connsiteX89" fmla="*/ 7753190 w 8636594"/>
              <a:gd name="connsiteY89" fmla="*/ 920037 h 6227263"/>
              <a:gd name="connsiteX90" fmla="*/ 7784023 w 8636594"/>
              <a:gd name="connsiteY90" fmla="*/ 880894 h 6227263"/>
              <a:gd name="connsiteX91" fmla="*/ 7815061 w 8636594"/>
              <a:gd name="connsiteY91" fmla="*/ 841997 h 6227263"/>
              <a:gd name="connsiteX92" fmla="*/ 7846308 w 8636594"/>
              <a:gd name="connsiteY92" fmla="*/ 803354 h 6227263"/>
              <a:gd name="connsiteX93" fmla="*/ 7877772 w 8636594"/>
              <a:gd name="connsiteY93" fmla="*/ 764970 h 6227263"/>
              <a:gd name="connsiteX94" fmla="*/ 7909458 w 8636594"/>
              <a:gd name="connsiteY94" fmla="*/ 726853 h 6227263"/>
              <a:gd name="connsiteX95" fmla="*/ 7941371 w 8636594"/>
              <a:gd name="connsiteY95" fmla="*/ 689010 h 6227263"/>
              <a:gd name="connsiteX96" fmla="*/ 7973518 w 8636594"/>
              <a:gd name="connsiteY96" fmla="*/ 651447 h 6227263"/>
              <a:gd name="connsiteX97" fmla="*/ 8005905 w 8636594"/>
              <a:gd name="connsiteY97" fmla="*/ 614171 h 6227263"/>
              <a:gd name="connsiteX98" fmla="*/ 8038538 w 8636594"/>
              <a:gd name="connsiteY98" fmla="*/ 577189 h 6227263"/>
              <a:gd name="connsiteX99" fmla="*/ 8071421 w 8636594"/>
              <a:gd name="connsiteY99" fmla="*/ 540507 h 6227263"/>
              <a:gd name="connsiteX100" fmla="*/ 8104563 w 8636594"/>
              <a:gd name="connsiteY100" fmla="*/ 504132 h 6227263"/>
              <a:gd name="connsiteX101" fmla="*/ 8137967 w 8636594"/>
              <a:gd name="connsiteY101" fmla="*/ 468072 h 6227263"/>
              <a:gd name="connsiteX102" fmla="*/ 8171641 w 8636594"/>
              <a:gd name="connsiteY102" fmla="*/ 432332 h 6227263"/>
              <a:gd name="connsiteX103" fmla="*/ 8205590 w 8636594"/>
              <a:gd name="connsiteY103" fmla="*/ 396920 h 6227263"/>
              <a:gd name="connsiteX104" fmla="*/ 8239820 w 8636594"/>
              <a:gd name="connsiteY104" fmla="*/ 361843 h 6227263"/>
              <a:gd name="connsiteX105" fmla="*/ 8274337 w 8636594"/>
              <a:gd name="connsiteY105" fmla="*/ 327107 h 6227263"/>
              <a:gd name="connsiteX106" fmla="*/ 8309147 w 8636594"/>
              <a:gd name="connsiteY106" fmla="*/ 292718 h 6227263"/>
              <a:gd name="connsiteX107" fmla="*/ 8344256 w 8636594"/>
              <a:gd name="connsiteY107" fmla="*/ 258685 h 6227263"/>
              <a:gd name="connsiteX108" fmla="*/ 8379669 w 8636594"/>
              <a:gd name="connsiteY108" fmla="*/ 225013 h 6227263"/>
              <a:gd name="connsiteX109" fmla="*/ 8415394 w 8636594"/>
              <a:gd name="connsiteY109" fmla="*/ 191709 h 6227263"/>
              <a:gd name="connsiteX110" fmla="*/ 8451434 w 8636594"/>
              <a:gd name="connsiteY110" fmla="*/ 158780 h 6227263"/>
              <a:gd name="connsiteX111" fmla="*/ 8487798 w 8636594"/>
              <a:gd name="connsiteY111" fmla="*/ 126233 h 6227263"/>
              <a:gd name="connsiteX112" fmla="*/ 8524489 w 8636594"/>
              <a:gd name="connsiteY112" fmla="*/ 94075 h 6227263"/>
              <a:gd name="connsiteX113" fmla="*/ 8561515 w 8636594"/>
              <a:gd name="connsiteY113" fmla="*/ 62312 h 6227263"/>
              <a:gd name="connsiteX114" fmla="*/ 8598881 w 8636594"/>
              <a:gd name="connsiteY114" fmla="*/ 30951 h 6227263"/>
              <a:gd name="connsiteX115" fmla="*/ 8636594 w 8636594"/>
              <a:gd name="connsiteY115" fmla="*/ 0 h 6227263"/>
              <a:gd name="connsiteX0" fmla="*/ 8636594 w 8636594"/>
              <a:gd name="connsiteY0" fmla="*/ 0 h 6206893"/>
              <a:gd name="connsiteX1" fmla="*/ 5293 w 8636594"/>
              <a:gd name="connsiteY1" fmla="*/ 0 h 6206893"/>
              <a:gd name="connsiteX2" fmla="*/ 0 w 8636594"/>
              <a:gd name="connsiteY2" fmla="*/ 5587843 h 6206893"/>
              <a:gd name="connsiteX3" fmla="*/ 1594033 w 8636594"/>
              <a:gd name="connsiteY3" fmla="*/ 5600057 h 6206893"/>
              <a:gd name="connsiteX4" fmla="*/ 1686068 w 8636594"/>
              <a:gd name="connsiteY4" fmla="*/ 5599745 h 6206893"/>
              <a:gd name="connsiteX5" fmla="*/ 3465680 w 8636594"/>
              <a:gd name="connsiteY5" fmla="*/ 6206893 h 6206893"/>
              <a:gd name="connsiteX6" fmla="*/ 3509548 w 8636594"/>
              <a:gd name="connsiteY6" fmla="*/ 6186174 h 6206893"/>
              <a:gd name="connsiteX7" fmla="*/ 3552910 w 8636594"/>
              <a:gd name="connsiteY7" fmla="*/ 6165110 h 6206893"/>
              <a:gd name="connsiteX8" fmla="*/ 3595773 w 8636594"/>
              <a:gd name="connsiteY8" fmla="*/ 6143704 h 6206893"/>
              <a:gd name="connsiteX9" fmla="*/ 3638142 w 8636594"/>
              <a:gd name="connsiteY9" fmla="*/ 6121960 h 6206893"/>
              <a:gd name="connsiteX10" fmla="*/ 3680024 w 8636594"/>
              <a:gd name="connsiteY10" fmla="*/ 6099881 h 6206893"/>
              <a:gd name="connsiteX11" fmla="*/ 3721426 w 8636594"/>
              <a:gd name="connsiteY11" fmla="*/ 6077471 h 6206893"/>
              <a:gd name="connsiteX12" fmla="*/ 3762353 w 8636594"/>
              <a:gd name="connsiteY12" fmla="*/ 6054733 h 6206893"/>
              <a:gd name="connsiteX13" fmla="*/ 3802812 w 8636594"/>
              <a:gd name="connsiteY13" fmla="*/ 6031671 h 6206893"/>
              <a:gd name="connsiteX14" fmla="*/ 3842810 w 8636594"/>
              <a:gd name="connsiteY14" fmla="*/ 6008288 h 6206893"/>
              <a:gd name="connsiteX15" fmla="*/ 3882352 w 8636594"/>
              <a:gd name="connsiteY15" fmla="*/ 5984588 h 6206893"/>
              <a:gd name="connsiteX16" fmla="*/ 3921445 w 8636594"/>
              <a:gd name="connsiteY16" fmla="*/ 5960574 h 6206893"/>
              <a:gd name="connsiteX17" fmla="*/ 3960096 w 8636594"/>
              <a:gd name="connsiteY17" fmla="*/ 5936250 h 6206893"/>
              <a:gd name="connsiteX18" fmla="*/ 3998311 w 8636594"/>
              <a:gd name="connsiteY18" fmla="*/ 5911619 h 6206893"/>
              <a:gd name="connsiteX19" fmla="*/ 4036095 w 8636594"/>
              <a:gd name="connsiteY19" fmla="*/ 5886685 h 6206893"/>
              <a:gd name="connsiteX20" fmla="*/ 4073456 w 8636594"/>
              <a:gd name="connsiteY20" fmla="*/ 5861452 h 6206893"/>
              <a:gd name="connsiteX21" fmla="*/ 4110400 w 8636594"/>
              <a:gd name="connsiteY21" fmla="*/ 5835922 h 6206893"/>
              <a:gd name="connsiteX22" fmla="*/ 4146933 w 8636594"/>
              <a:gd name="connsiteY22" fmla="*/ 5810100 h 6206893"/>
              <a:gd name="connsiteX23" fmla="*/ 4183061 w 8636594"/>
              <a:gd name="connsiteY23" fmla="*/ 5783988 h 6206893"/>
              <a:gd name="connsiteX24" fmla="*/ 4218791 w 8636594"/>
              <a:gd name="connsiteY24" fmla="*/ 5757591 h 6206893"/>
              <a:gd name="connsiteX25" fmla="*/ 4254129 w 8636594"/>
              <a:gd name="connsiteY25" fmla="*/ 5730912 h 6206893"/>
              <a:gd name="connsiteX26" fmla="*/ 4289081 w 8636594"/>
              <a:gd name="connsiteY26" fmla="*/ 5703955 h 6206893"/>
              <a:gd name="connsiteX27" fmla="*/ 4323654 w 8636594"/>
              <a:gd name="connsiteY27" fmla="*/ 5676722 h 6206893"/>
              <a:gd name="connsiteX28" fmla="*/ 4357854 w 8636594"/>
              <a:gd name="connsiteY28" fmla="*/ 5649218 h 6206893"/>
              <a:gd name="connsiteX29" fmla="*/ 4391688 w 8636594"/>
              <a:gd name="connsiteY29" fmla="*/ 5621446 h 6206893"/>
              <a:gd name="connsiteX30" fmla="*/ 4425162 w 8636594"/>
              <a:gd name="connsiteY30" fmla="*/ 5593409 h 6206893"/>
              <a:gd name="connsiteX31" fmla="*/ 4458281 w 8636594"/>
              <a:gd name="connsiteY31" fmla="*/ 5565111 h 6206893"/>
              <a:gd name="connsiteX32" fmla="*/ 4491053 w 8636594"/>
              <a:gd name="connsiteY32" fmla="*/ 5536556 h 6206893"/>
              <a:gd name="connsiteX33" fmla="*/ 4523484 w 8636594"/>
              <a:gd name="connsiteY33" fmla="*/ 5507747 h 6206893"/>
              <a:gd name="connsiteX34" fmla="*/ 4555580 w 8636594"/>
              <a:gd name="connsiteY34" fmla="*/ 5478687 h 6206893"/>
              <a:gd name="connsiteX35" fmla="*/ 4587347 w 8636594"/>
              <a:gd name="connsiteY35" fmla="*/ 5449380 h 6206893"/>
              <a:gd name="connsiteX36" fmla="*/ 4618793 w 8636594"/>
              <a:gd name="connsiteY36" fmla="*/ 5419830 h 6206893"/>
              <a:gd name="connsiteX37" fmla="*/ 4649922 w 8636594"/>
              <a:gd name="connsiteY37" fmla="*/ 5390040 h 6206893"/>
              <a:gd name="connsiteX38" fmla="*/ 4680742 w 8636594"/>
              <a:gd name="connsiteY38" fmla="*/ 5360014 h 6206893"/>
              <a:gd name="connsiteX39" fmla="*/ 4711259 w 8636594"/>
              <a:gd name="connsiteY39" fmla="*/ 5329755 h 6206893"/>
              <a:gd name="connsiteX40" fmla="*/ 4741478 w 8636594"/>
              <a:gd name="connsiteY40" fmla="*/ 5299266 h 6206893"/>
              <a:gd name="connsiteX41" fmla="*/ 4771408 w 8636594"/>
              <a:gd name="connsiteY41" fmla="*/ 5268551 h 6206893"/>
              <a:gd name="connsiteX42" fmla="*/ 4801053 w 8636594"/>
              <a:gd name="connsiteY42" fmla="*/ 5237614 h 6206893"/>
              <a:gd name="connsiteX43" fmla="*/ 4830420 w 8636594"/>
              <a:gd name="connsiteY43" fmla="*/ 5206458 h 6206893"/>
              <a:gd name="connsiteX44" fmla="*/ 4859516 w 8636594"/>
              <a:gd name="connsiteY44" fmla="*/ 5175087 h 6206893"/>
              <a:gd name="connsiteX45" fmla="*/ 4888347 w 8636594"/>
              <a:gd name="connsiteY45" fmla="*/ 5143504 h 6206893"/>
              <a:gd name="connsiteX46" fmla="*/ 4916919 w 8636594"/>
              <a:gd name="connsiteY46" fmla="*/ 5111713 h 6206893"/>
              <a:gd name="connsiteX47" fmla="*/ 4945238 w 8636594"/>
              <a:gd name="connsiteY47" fmla="*/ 5079717 h 6206893"/>
              <a:gd name="connsiteX48" fmla="*/ 4973311 w 8636594"/>
              <a:gd name="connsiteY48" fmla="*/ 5047519 h 6206893"/>
              <a:gd name="connsiteX49" fmla="*/ 5001145 w 8636594"/>
              <a:gd name="connsiteY49" fmla="*/ 5015124 h 6206893"/>
              <a:gd name="connsiteX50" fmla="*/ 5028745 w 8636594"/>
              <a:gd name="connsiteY50" fmla="*/ 4982535 h 6206893"/>
              <a:gd name="connsiteX51" fmla="*/ 5056117 w 8636594"/>
              <a:gd name="connsiteY51" fmla="*/ 4949755 h 6206893"/>
              <a:gd name="connsiteX52" fmla="*/ 5083269 w 8636594"/>
              <a:gd name="connsiteY52" fmla="*/ 4916787 h 6206893"/>
              <a:gd name="connsiteX53" fmla="*/ 5110207 w 8636594"/>
              <a:gd name="connsiteY53" fmla="*/ 4883636 h 6206893"/>
              <a:gd name="connsiteX54" fmla="*/ 5136937 w 8636594"/>
              <a:gd name="connsiteY54" fmla="*/ 4850305 h 6206893"/>
              <a:gd name="connsiteX55" fmla="*/ 5163464 w 8636594"/>
              <a:gd name="connsiteY55" fmla="*/ 4816797 h 6206893"/>
              <a:gd name="connsiteX56" fmla="*/ 5215940 w 8636594"/>
              <a:gd name="connsiteY56" fmla="*/ 4749265 h 6206893"/>
              <a:gd name="connsiteX57" fmla="*/ 5267684 w 8636594"/>
              <a:gd name="connsiteY57" fmla="*/ 4681068 h 6206893"/>
              <a:gd name="connsiteX58" fmla="*/ 5318748 w 8636594"/>
              <a:gd name="connsiteY58" fmla="*/ 4612234 h 6206893"/>
              <a:gd name="connsiteX59" fmla="*/ 5369182 w 8636594"/>
              <a:gd name="connsiteY59" fmla="*/ 4542793 h 6206893"/>
              <a:gd name="connsiteX60" fmla="*/ 5419038 w 8636594"/>
              <a:gd name="connsiteY60" fmla="*/ 4472771 h 6206893"/>
              <a:gd name="connsiteX61" fmla="*/ 5468365 w 8636594"/>
              <a:gd name="connsiteY61" fmla="*/ 4402196 h 6206893"/>
              <a:gd name="connsiteX62" fmla="*/ 5517215 w 8636594"/>
              <a:gd name="connsiteY62" fmla="*/ 4331098 h 6206893"/>
              <a:gd name="connsiteX63" fmla="*/ 5565637 w 8636594"/>
              <a:gd name="connsiteY63" fmla="*/ 4259503 h 6206893"/>
              <a:gd name="connsiteX64" fmla="*/ 5613684 w 8636594"/>
              <a:gd name="connsiteY64" fmla="*/ 4187441 h 6206893"/>
              <a:gd name="connsiteX65" fmla="*/ 5685160 w 8636594"/>
              <a:gd name="connsiteY65" fmla="*/ 4078531 h 6206893"/>
              <a:gd name="connsiteX66" fmla="*/ 5756074 w 8636594"/>
              <a:gd name="connsiteY66" fmla="*/ 3968727 h 6206893"/>
              <a:gd name="connsiteX67" fmla="*/ 5873483 w 8636594"/>
              <a:gd name="connsiteY67" fmla="*/ 3783989 h 6206893"/>
              <a:gd name="connsiteX68" fmla="*/ 6203209 w 8636594"/>
              <a:gd name="connsiteY68" fmla="*/ 3258640 h 6206893"/>
              <a:gd name="connsiteX69" fmla="*/ 6299430 w 8636594"/>
              <a:gd name="connsiteY69" fmla="*/ 3107321 h 6206893"/>
              <a:gd name="connsiteX70" fmla="*/ 6372650 w 8636594"/>
              <a:gd name="connsiteY70" fmla="*/ 2993735 h 6206893"/>
              <a:gd name="connsiteX71" fmla="*/ 6453197 w 8636594"/>
              <a:gd name="connsiteY71" fmla="*/ 2869788 h 6206893"/>
              <a:gd name="connsiteX72" fmla="*/ 6564167 w 8636594"/>
              <a:gd name="connsiteY72" fmla="*/ 2696807 h 6206893"/>
              <a:gd name="connsiteX73" fmla="*/ 6976233 w 8636594"/>
              <a:gd name="connsiteY73" fmla="*/ 2045274 h 6206893"/>
              <a:gd name="connsiteX74" fmla="*/ 7086755 w 8636594"/>
              <a:gd name="connsiteY74" fmla="*/ 1872743 h 6206893"/>
              <a:gd name="connsiteX75" fmla="*/ 7170279 w 8636594"/>
              <a:gd name="connsiteY75" fmla="*/ 1744202 h 6206893"/>
              <a:gd name="connsiteX76" fmla="*/ 7226351 w 8636594"/>
              <a:gd name="connsiteY76" fmla="*/ 1659017 h 6206893"/>
              <a:gd name="connsiteX77" fmla="*/ 7282789 w 8636594"/>
              <a:gd name="connsiteY77" fmla="*/ 1574303 h 6206893"/>
              <a:gd name="connsiteX78" fmla="*/ 7339643 w 8636594"/>
              <a:gd name="connsiteY78" fmla="*/ 1490113 h 6206893"/>
              <a:gd name="connsiteX79" fmla="*/ 7396957 w 8636594"/>
              <a:gd name="connsiteY79" fmla="*/ 1406503 h 6206893"/>
              <a:gd name="connsiteX80" fmla="*/ 7454781 w 8636594"/>
              <a:gd name="connsiteY80" fmla="*/ 1323526 h 6206893"/>
              <a:gd name="connsiteX81" fmla="*/ 7513161 w 8636594"/>
              <a:gd name="connsiteY81" fmla="*/ 1241237 h 6206893"/>
              <a:gd name="connsiteX82" fmla="*/ 7572144 w 8636594"/>
              <a:gd name="connsiteY82" fmla="*/ 1159689 h 6206893"/>
              <a:gd name="connsiteX83" fmla="*/ 7601877 w 8636594"/>
              <a:gd name="connsiteY83" fmla="*/ 1119210 h 6206893"/>
              <a:gd name="connsiteX84" fmla="*/ 7631779 w 8636594"/>
              <a:gd name="connsiteY84" fmla="*/ 1078937 h 6206893"/>
              <a:gd name="connsiteX85" fmla="*/ 7661855 w 8636594"/>
              <a:gd name="connsiteY85" fmla="*/ 1038876 h 6206893"/>
              <a:gd name="connsiteX86" fmla="*/ 7692111 w 8636594"/>
              <a:gd name="connsiteY86" fmla="*/ 999035 h 6206893"/>
              <a:gd name="connsiteX87" fmla="*/ 7722554 w 8636594"/>
              <a:gd name="connsiteY87" fmla="*/ 959419 h 6206893"/>
              <a:gd name="connsiteX88" fmla="*/ 7753190 w 8636594"/>
              <a:gd name="connsiteY88" fmla="*/ 920037 h 6206893"/>
              <a:gd name="connsiteX89" fmla="*/ 7784023 w 8636594"/>
              <a:gd name="connsiteY89" fmla="*/ 880894 h 6206893"/>
              <a:gd name="connsiteX90" fmla="*/ 7815061 w 8636594"/>
              <a:gd name="connsiteY90" fmla="*/ 841997 h 6206893"/>
              <a:gd name="connsiteX91" fmla="*/ 7846308 w 8636594"/>
              <a:gd name="connsiteY91" fmla="*/ 803354 h 6206893"/>
              <a:gd name="connsiteX92" fmla="*/ 7877772 w 8636594"/>
              <a:gd name="connsiteY92" fmla="*/ 764970 h 6206893"/>
              <a:gd name="connsiteX93" fmla="*/ 7909458 w 8636594"/>
              <a:gd name="connsiteY93" fmla="*/ 726853 h 6206893"/>
              <a:gd name="connsiteX94" fmla="*/ 7941371 w 8636594"/>
              <a:gd name="connsiteY94" fmla="*/ 689010 h 6206893"/>
              <a:gd name="connsiteX95" fmla="*/ 7973518 w 8636594"/>
              <a:gd name="connsiteY95" fmla="*/ 651447 h 6206893"/>
              <a:gd name="connsiteX96" fmla="*/ 8005905 w 8636594"/>
              <a:gd name="connsiteY96" fmla="*/ 614171 h 6206893"/>
              <a:gd name="connsiteX97" fmla="*/ 8038538 w 8636594"/>
              <a:gd name="connsiteY97" fmla="*/ 577189 h 6206893"/>
              <a:gd name="connsiteX98" fmla="*/ 8071421 w 8636594"/>
              <a:gd name="connsiteY98" fmla="*/ 540507 h 6206893"/>
              <a:gd name="connsiteX99" fmla="*/ 8104563 w 8636594"/>
              <a:gd name="connsiteY99" fmla="*/ 504132 h 6206893"/>
              <a:gd name="connsiteX100" fmla="*/ 8137967 w 8636594"/>
              <a:gd name="connsiteY100" fmla="*/ 468072 h 6206893"/>
              <a:gd name="connsiteX101" fmla="*/ 8171641 w 8636594"/>
              <a:gd name="connsiteY101" fmla="*/ 432332 h 6206893"/>
              <a:gd name="connsiteX102" fmla="*/ 8205590 w 8636594"/>
              <a:gd name="connsiteY102" fmla="*/ 396920 h 6206893"/>
              <a:gd name="connsiteX103" fmla="*/ 8239820 w 8636594"/>
              <a:gd name="connsiteY103" fmla="*/ 361843 h 6206893"/>
              <a:gd name="connsiteX104" fmla="*/ 8274337 w 8636594"/>
              <a:gd name="connsiteY104" fmla="*/ 327107 h 6206893"/>
              <a:gd name="connsiteX105" fmla="*/ 8309147 w 8636594"/>
              <a:gd name="connsiteY105" fmla="*/ 292718 h 6206893"/>
              <a:gd name="connsiteX106" fmla="*/ 8344256 w 8636594"/>
              <a:gd name="connsiteY106" fmla="*/ 258685 h 6206893"/>
              <a:gd name="connsiteX107" fmla="*/ 8379669 w 8636594"/>
              <a:gd name="connsiteY107" fmla="*/ 225013 h 6206893"/>
              <a:gd name="connsiteX108" fmla="*/ 8415394 w 8636594"/>
              <a:gd name="connsiteY108" fmla="*/ 191709 h 6206893"/>
              <a:gd name="connsiteX109" fmla="*/ 8451434 w 8636594"/>
              <a:gd name="connsiteY109" fmla="*/ 158780 h 6206893"/>
              <a:gd name="connsiteX110" fmla="*/ 8487798 w 8636594"/>
              <a:gd name="connsiteY110" fmla="*/ 126233 h 6206893"/>
              <a:gd name="connsiteX111" fmla="*/ 8524489 w 8636594"/>
              <a:gd name="connsiteY111" fmla="*/ 94075 h 6206893"/>
              <a:gd name="connsiteX112" fmla="*/ 8561515 w 8636594"/>
              <a:gd name="connsiteY112" fmla="*/ 62312 h 6206893"/>
              <a:gd name="connsiteX113" fmla="*/ 8598881 w 8636594"/>
              <a:gd name="connsiteY113" fmla="*/ 30951 h 6206893"/>
              <a:gd name="connsiteX114" fmla="*/ 8636594 w 8636594"/>
              <a:gd name="connsiteY114" fmla="*/ 0 h 6206893"/>
              <a:gd name="connsiteX0" fmla="*/ 8636594 w 8636594"/>
              <a:gd name="connsiteY0" fmla="*/ 0 h 6186174"/>
              <a:gd name="connsiteX1" fmla="*/ 5293 w 8636594"/>
              <a:gd name="connsiteY1" fmla="*/ 0 h 6186174"/>
              <a:gd name="connsiteX2" fmla="*/ 0 w 8636594"/>
              <a:gd name="connsiteY2" fmla="*/ 5587843 h 6186174"/>
              <a:gd name="connsiteX3" fmla="*/ 1594033 w 8636594"/>
              <a:gd name="connsiteY3" fmla="*/ 5600057 h 6186174"/>
              <a:gd name="connsiteX4" fmla="*/ 1686068 w 8636594"/>
              <a:gd name="connsiteY4" fmla="*/ 5599745 h 6186174"/>
              <a:gd name="connsiteX5" fmla="*/ 3509548 w 8636594"/>
              <a:gd name="connsiteY5" fmla="*/ 6186174 h 6186174"/>
              <a:gd name="connsiteX6" fmla="*/ 3552910 w 8636594"/>
              <a:gd name="connsiteY6" fmla="*/ 6165110 h 6186174"/>
              <a:gd name="connsiteX7" fmla="*/ 3595773 w 8636594"/>
              <a:gd name="connsiteY7" fmla="*/ 6143704 h 6186174"/>
              <a:gd name="connsiteX8" fmla="*/ 3638142 w 8636594"/>
              <a:gd name="connsiteY8" fmla="*/ 6121960 h 6186174"/>
              <a:gd name="connsiteX9" fmla="*/ 3680024 w 8636594"/>
              <a:gd name="connsiteY9" fmla="*/ 6099881 h 6186174"/>
              <a:gd name="connsiteX10" fmla="*/ 3721426 w 8636594"/>
              <a:gd name="connsiteY10" fmla="*/ 6077471 h 6186174"/>
              <a:gd name="connsiteX11" fmla="*/ 3762353 w 8636594"/>
              <a:gd name="connsiteY11" fmla="*/ 6054733 h 6186174"/>
              <a:gd name="connsiteX12" fmla="*/ 3802812 w 8636594"/>
              <a:gd name="connsiteY12" fmla="*/ 6031671 h 6186174"/>
              <a:gd name="connsiteX13" fmla="*/ 3842810 w 8636594"/>
              <a:gd name="connsiteY13" fmla="*/ 6008288 h 6186174"/>
              <a:gd name="connsiteX14" fmla="*/ 3882352 w 8636594"/>
              <a:gd name="connsiteY14" fmla="*/ 5984588 h 6186174"/>
              <a:gd name="connsiteX15" fmla="*/ 3921445 w 8636594"/>
              <a:gd name="connsiteY15" fmla="*/ 5960574 h 6186174"/>
              <a:gd name="connsiteX16" fmla="*/ 3960096 w 8636594"/>
              <a:gd name="connsiteY16" fmla="*/ 5936250 h 6186174"/>
              <a:gd name="connsiteX17" fmla="*/ 3998311 w 8636594"/>
              <a:gd name="connsiteY17" fmla="*/ 5911619 h 6186174"/>
              <a:gd name="connsiteX18" fmla="*/ 4036095 w 8636594"/>
              <a:gd name="connsiteY18" fmla="*/ 5886685 h 6186174"/>
              <a:gd name="connsiteX19" fmla="*/ 4073456 w 8636594"/>
              <a:gd name="connsiteY19" fmla="*/ 5861452 h 6186174"/>
              <a:gd name="connsiteX20" fmla="*/ 4110400 w 8636594"/>
              <a:gd name="connsiteY20" fmla="*/ 5835922 h 6186174"/>
              <a:gd name="connsiteX21" fmla="*/ 4146933 w 8636594"/>
              <a:gd name="connsiteY21" fmla="*/ 5810100 h 6186174"/>
              <a:gd name="connsiteX22" fmla="*/ 4183061 w 8636594"/>
              <a:gd name="connsiteY22" fmla="*/ 5783988 h 6186174"/>
              <a:gd name="connsiteX23" fmla="*/ 4218791 w 8636594"/>
              <a:gd name="connsiteY23" fmla="*/ 5757591 h 6186174"/>
              <a:gd name="connsiteX24" fmla="*/ 4254129 w 8636594"/>
              <a:gd name="connsiteY24" fmla="*/ 5730912 h 6186174"/>
              <a:gd name="connsiteX25" fmla="*/ 4289081 w 8636594"/>
              <a:gd name="connsiteY25" fmla="*/ 5703955 h 6186174"/>
              <a:gd name="connsiteX26" fmla="*/ 4323654 w 8636594"/>
              <a:gd name="connsiteY26" fmla="*/ 5676722 h 6186174"/>
              <a:gd name="connsiteX27" fmla="*/ 4357854 w 8636594"/>
              <a:gd name="connsiteY27" fmla="*/ 5649218 h 6186174"/>
              <a:gd name="connsiteX28" fmla="*/ 4391688 w 8636594"/>
              <a:gd name="connsiteY28" fmla="*/ 5621446 h 6186174"/>
              <a:gd name="connsiteX29" fmla="*/ 4425162 w 8636594"/>
              <a:gd name="connsiteY29" fmla="*/ 5593409 h 6186174"/>
              <a:gd name="connsiteX30" fmla="*/ 4458281 w 8636594"/>
              <a:gd name="connsiteY30" fmla="*/ 5565111 h 6186174"/>
              <a:gd name="connsiteX31" fmla="*/ 4491053 w 8636594"/>
              <a:gd name="connsiteY31" fmla="*/ 5536556 h 6186174"/>
              <a:gd name="connsiteX32" fmla="*/ 4523484 w 8636594"/>
              <a:gd name="connsiteY32" fmla="*/ 5507747 h 6186174"/>
              <a:gd name="connsiteX33" fmla="*/ 4555580 w 8636594"/>
              <a:gd name="connsiteY33" fmla="*/ 5478687 h 6186174"/>
              <a:gd name="connsiteX34" fmla="*/ 4587347 w 8636594"/>
              <a:gd name="connsiteY34" fmla="*/ 5449380 h 6186174"/>
              <a:gd name="connsiteX35" fmla="*/ 4618793 w 8636594"/>
              <a:gd name="connsiteY35" fmla="*/ 5419830 h 6186174"/>
              <a:gd name="connsiteX36" fmla="*/ 4649922 w 8636594"/>
              <a:gd name="connsiteY36" fmla="*/ 5390040 h 6186174"/>
              <a:gd name="connsiteX37" fmla="*/ 4680742 w 8636594"/>
              <a:gd name="connsiteY37" fmla="*/ 5360014 h 6186174"/>
              <a:gd name="connsiteX38" fmla="*/ 4711259 w 8636594"/>
              <a:gd name="connsiteY38" fmla="*/ 5329755 h 6186174"/>
              <a:gd name="connsiteX39" fmla="*/ 4741478 w 8636594"/>
              <a:gd name="connsiteY39" fmla="*/ 5299266 h 6186174"/>
              <a:gd name="connsiteX40" fmla="*/ 4771408 w 8636594"/>
              <a:gd name="connsiteY40" fmla="*/ 5268551 h 6186174"/>
              <a:gd name="connsiteX41" fmla="*/ 4801053 w 8636594"/>
              <a:gd name="connsiteY41" fmla="*/ 5237614 h 6186174"/>
              <a:gd name="connsiteX42" fmla="*/ 4830420 w 8636594"/>
              <a:gd name="connsiteY42" fmla="*/ 5206458 h 6186174"/>
              <a:gd name="connsiteX43" fmla="*/ 4859516 w 8636594"/>
              <a:gd name="connsiteY43" fmla="*/ 5175087 h 6186174"/>
              <a:gd name="connsiteX44" fmla="*/ 4888347 w 8636594"/>
              <a:gd name="connsiteY44" fmla="*/ 5143504 h 6186174"/>
              <a:gd name="connsiteX45" fmla="*/ 4916919 w 8636594"/>
              <a:gd name="connsiteY45" fmla="*/ 5111713 h 6186174"/>
              <a:gd name="connsiteX46" fmla="*/ 4945238 w 8636594"/>
              <a:gd name="connsiteY46" fmla="*/ 5079717 h 6186174"/>
              <a:gd name="connsiteX47" fmla="*/ 4973311 w 8636594"/>
              <a:gd name="connsiteY47" fmla="*/ 5047519 h 6186174"/>
              <a:gd name="connsiteX48" fmla="*/ 5001145 w 8636594"/>
              <a:gd name="connsiteY48" fmla="*/ 5015124 h 6186174"/>
              <a:gd name="connsiteX49" fmla="*/ 5028745 w 8636594"/>
              <a:gd name="connsiteY49" fmla="*/ 4982535 h 6186174"/>
              <a:gd name="connsiteX50" fmla="*/ 5056117 w 8636594"/>
              <a:gd name="connsiteY50" fmla="*/ 4949755 h 6186174"/>
              <a:gd name="connsiteX51" fmla="*/ 5083269 w 8636594"/>
              <a:gd name="connsiteY51" fmla="*/ 4916787 h 6186174"/>
              <a:gd name="connsiteX52" fmla="*/ 5110207 w 8636594"/>
              <a:gd name="connsiteY52" fmla="*/ 4883636 h 6186174"/>
              <a:gd name="connsiteX53" fmla="*/ 5136937 w 8636594"/>
              <a:gd name="connsiteY53" fmla="*/ 4850305 h 6186174"/>
              <a:gd name="connsiteX54" fmla="*/ 5163464 w 8636594"/>
              <a:gd name="connsiteY54" fmla="*/ 4816797 h 6186174"/>
              <a:gd name="connsiteX55" fmla="*/ 5215940 w 8636594"/>
              <a:gd name="connsiteY55" fmla="*/ 4749265 h 6186174"/>
              <a:gd name="connsiteX56" fmla="*/ 5267684 w 8636594"/>
              <a:gd name="connsiteY56" fmla="*/ 4681068 h 6186174"/>
              <a:gd name="connsiteX57" fmla="*/ 5318748 w 8636594"/>
              <a:gd name="connsiteY57" fmla="*/ 4612234 h 6186174"/>
              <a:gd name="connsiteX58" fmla="*/ 5369182 w 8636594"/>
              <a:gd name="connsiteY58" fmla="*/ 4542793 h 6186174"/>
              <a:gd name="connsiteX59" fmla="*/ 5419038 w 8636594"/>
              <a:gd name="connsiteY59" fmla="*/ 4472771 h 6186174"/>
              <a:gd name="connsiteX60" fmla="*/ 5468365 w 8636594"/>
              <a:gd name="connsiteY60" fmla="*/ 4402196 h 6186174"/>
              <a:gd name="connsiteX61" fmla="*/ 5517215 w 8636594"/>
              <a:gd name="connsiteY61" fmla="*/ 4331098 h 6186174"/>
              <a:gd name="connsiteX62" fmla="*/ 5565637 w 8636594"/>
              <a:gd name="connsiteY62" fmla="*/ 4259503 h 6186174"/>
              <a:gd name="connsiteX63" fmla="*/ 5613684 w 8636594"/>
              <a:gd name="connsiteY63" fmla="*/ 4187441 h 6186174"/>
              <a:gd name="connsiteX64" fmla="*/ 5685160 w 8636594"/>
              <a:gd name="connsiteY64" fmla="*/ 4078531 h 6186174"/>
              <a:gd name="connsiteX65" fmla="*/ 5756074 w 8636594"/>
              <a:gd name="connsiteY65" fmla="*/ 3968727 h 6186174"/>
              <a:gd name="connsiteX66" fmla="*/ 5873483 w 8636594"/>
              <a:gd name="connsiteY66" fmla="*/ 3783989 h 6186174"/>
              <a:gd name="connsiteX67" fmla="*/ 6203209 w 8636594"/>
              <a:gd name="connsiteY67" fmla="*/ 3258640 h 6186174"/>
              <a:gd name="connsiteX68" fmla="*/ 6299430 w 8636594"/>
              <a:gd name="connsiteY68" fmla="*/ 3107321 h 6186174"/>
              <a:gd name="connsiteX69" fmla="*/ 6372650 w 8636594"/>
              <a:gd name="connsiteY69" fmla="*/ 2993735 h 6186174"/>
              <a:gd name="connsiteX70" fmla="*/ 6453197 w 8636594"/>
              <a:gd name="connsiteY70" fmla="*/ 2869788 h 6186174"/>
              <a:gd name="connsiteX71" fmla="*/ 6564167 w 8636594"/>
              <a:gd name="connsiteY71" fmla="*/ 2696807 h 6186174"/>
              <a:gd name="connsiteX72" fmla="*/ 6976233 w 8636594"/>
              <a:gd name="connsiteY72" fmla="*/ 2045274 h 6186174"/>
              <a:gd name="connsiteX73" fmla="*/ 7086755 w 8636594"/>
              <a:gd name="connsiteY73" fmla="*/ 1872743 h 6186174"/>
              <a:gd name="connsiteX74" fmla="*/ 7170279 w 8636594"/>
              <a:gd name="connsiteY74" fmla="*/ 1744202 h 6186174"/>
              <a:gd name="connsiteX75" fmla="*/ 7226351 w 8636594"/>
              <a:gd name="connsiteY75" fmla="*/ 1659017 h 6186174"/>
              <a:gd name="connsiteX76" fmla="*/ 7282789 w 8636594"/>
              <a:gd name="connsiteY76" fmla="*/ 1574303 h 6186174"/>
              <a:gd name="connsiteX77" fmla="*/ 7339643 w 8636594"/>
              <a:gd name="connsiteY77" fmla="*/ 1490113 h 6186174"/>
              <a:gd name="connsiteX78" fmla="*/ 7396957 w 8636594"/>
              <a:gd name="connsiteY78" fmla="*/ 1406503 h 6186174"/>
              <a:gd name="connsiteX79" fmla="*/ 7454781 w 8636594"/>
              <a:gd name="connsiteY79" fmla="*/ 1323526 h 6186174"/>
              <a:gd name="connsiteX80" fmla="*/ 7513161 w 8636594"/>
              <a:gd name="connsiteY80" fmla="*/ 1241237 h 6186174"/>
              <a:gd name="connsiteX81" fmla="*/ 7572144 w 8636594"/>
              <a:gd name="connsiteY81" fmla="*/ 1159689 h 6186174"/>
              <a:gd name="connsiteX82" fmla="*/ 7601877 w 8636594"/>
              <a:gd name="connsiteY82" fmla="*/ 1119210 h 6186174"/>
              <a:gd name="connsiteX83" fmla="*/ 7631779 w 8636594"/>
              <a:gd name="connsiteY83" fmla="*/ 1078937 h 6186174"/>
              <a:gd name="connsiteX84" fmla="*/ 7661855 w 8636594"/>
              <a:gd name="connsiteY84" fmla="*/ 1038876 h 6186174"/>
              <a:gd name="connsiteX85" fmla="*/ 7692111 w 8636594"/>
              <a:gd name="connsiteY85" fmla="*/ 999035 h 6186174"/>
              <a:gd name="connsiteX86" fmla="*/ 7722554 w 8636594"/>
              <a:gd name="connsiteY86" fmla="*/ 959419 h 6186174"/>
              <a:gd name="connsiteX87" fmla="*/ 7753190 w 8636594"/>
              <a:gd name="connsiteY87" fmla="*/ 920037 h 6186174"/>
              <a:gd name="connsiteX88" fmla="*/ 7784023 w 8636594"/>
              <a:gd name="connsiteY88" fmla="*/ 880894 h 6186174"/>
              <a:gd name="connsiteX89" fmla="*/ 7815061 w 8636594"/>
              <a:gd name="connsiteY89" fmla="*/ 841997 h 6186174"/>
              <a:gd name="connsiteX90" fmla="*/ 7846308 w 8636594"/>
              <a:gd name="connsiteY90" fmla="*/ 803354 h 6186174"/>
              <a:gd name="connsiteX91" fmla="*/ 7877772 w 8636594"/>
              <a:gd name="connsiteY91" fmla="*/ 764970 h 6186174"/>
              <a:gd name="connsiteX92" fmla="*/ 7909458 w 8636594"/>
              <a:gd name="connsiteY92" fmla="*/ 726853 h 6186174"/>
              <a:gd name="connsiteX93" fmla="*/ 7941371 w 8636594"/>
              <a:gd name="connsiteY93" fmla="*/ 689010 h 6186174"/>
              <a:gd name="connsiteX94" fmla="*/ 7973518 w 8636594"/>
              <a:gd name="connsiteY94" fmla="*/ 651447 h 6186174"/>
              <a:gd name="connsiteX95" fmla="*/ 8005905 w 8636594"/>
              <a:gd name="connsiteY95" fmla="*/ 614171 h 6186174"/>
              <a:gd name="connsiteX96" fmla="*/ 8038538 w 8636594"/>
              <a:gd name="connsiteY96" fmla="*/ 577189 h 6186174"/>
              <a:gd name="connsiteX97" fmla="*/ 8071421 w 8636594"/>
              <a:gd name="connsiteY97" fmla="*/ 540507 h 6186174"/>
              <a:gd name="connsiteX98" fmla="*/ 8104563 w 8636594"/>
              <a:gd name="connsiteY98" fmla="*/ 504132 h 6186174"/>
              <a:gd name="connsiteX99" fmla="*/ 8137967 w 8636594"/>
              <a:gd name="connsiteY99" fmla="*/ 468072 h 6186174"/>
              <a:gd name="connsiteX100" fmla="*/ 8171641 w 8636594"/>
              <a:gd name="connsiteY100" fmla="*/ 432332 h 6186174"/>
              <a:gd name="connsiteX101" fmla="*/ 8205590 w 8636594"/>
              <a:gd name="connsiteY101" fmla="*/ 396920 h 6186174"/>
              <a:gd name="connsiteX102" fmla="*/ 8239820 w 8636594"/>
              <a:gd name="connsiteY102" fmla="*/ 361843 h 6186174"/>
              <a:gd name="connsiteX103" fmla="*/ 8274337 w 8636594"/>
              <a:gd name="connsiteY103" fmla="*/ 327107 h 6186174"/>
              <a:gd name="connsiteX104" fmla="*/ 8309147 w 8636594"/>
              <a:gd name="connsiteY104" fmla="*/ 292718 h 6186174"/>
              <a:gd name="connsiteX105" fmla="*/ 8344256 w 8636594"/>
              <a:gd name="connsiteY105" fmla="*/ 258685 h 6186174"/>
              <a:gd name="connsiteX106" fmla="*/ 8379669 w 8636594"/>
              <a:gd name="connsiteY106" fmla="*/ 225013 h 6186174"/>
              <a:gd name="connsiteX107" fmla="*/ 8415394 w 8636594"/>
              <a:gd name="connsiteY107" fmla="*/ 191709 h 6186174"/>
              <a:gd name="connsiteX108" fmla="*/ 8451434 w 8636594"/>
              <a:gd name="connsiteY108" fmla="*/ 158780 h 6186174"/>
              <a:gd name="connsiteX109" fmla="*/ 8487798 w 8636594"/>
              <a:gd name="connsiteY109" fmla="*/ 126233 h 6186174"/>
              <a:gd name="connsiteX110" fmla="*/ 8524489 w 8636594"/>
              <a:gd name="connsiteY110" fmla="*/ 94075 h 6186174"/>
              <a:gd name="connsiteX111" fmla="*/ 8561515 w 8636594"/>
              <a:gd name="connsiteY111" fmla="*/ 62312 h 6186174"/>
              <a:gd name="connsiteX112" fmla="*/ 8598881 w 8636594"/>
              <a:gd name="connsiteY112" fmla="*/ 30951 h 6186174"/>
              <a:gd name="connsiteX113" fmla="*/ 8636594 w 8636594"/>
              <a:gd name="connsiteY113" fmla="*/ 0 h 6186174"/>
              <a:gd name="connsiteX0" fmla="*/ 8636594 w 8636594"/>
              <a:gd name="connsiteY0" fmla="*/ 0 h 6165110"/>
              <a:gd name="connsiteX1" fmla="*/ 5293 w 8636594"/>
              <a:gd name="connsiteY1" fmla="*/ 0 h 6165110"/>
              <a:gd name="connsiteX2" fmla="*/ 0 w 8636594"/>
              <a:gd name="connsiteY2" fmla="*/ 5587843 h 6165110"/>
              <a:gd name="connsiteX3" fmla="*/ 1594033 w 8636594"/>
              <a:gd name="connsiteY3" fmla="*/ 5600057 h 6165110"/>
              <a:gd name="connsiteX4" fmla="*/ 1686068 w 8636594"/>
              <a:gd name="connsiteY4" fmla="*/ 5599745 h 6165110"/>
              <a:gd name="connsiteX5" fmla="*/ 3552910 w 8636594"/>
              <a:gd name="connsiteY5" fmla="*/ 6165110 h 6165110"/>
              <a:gd name="connsiteX6" fmla="*/ 3595773 w 8636594"/>
              <a:gd name="connsiteY6" fmla="*/ 6143704 h 6165110"/>
              <a:gd name="connsiteX7" fmla="*/ 3638142 w 8636594"/>
              <a:gd name="connsiteY7" fmla="*/ 6121960 h 6165110"/>
              <a:gd name="connsiteX8" fmla="*/ 3680024 w 8636594"/>
              <a:gd name="connsiteY8" fmla="*/ 6099881 h 6165110"/>
              <a:gd name="connsiteX9" fmla="*/ 3721426 w 8636594"/>
              <a:gd name="connsiteY9" fmla="*/ 6077471 h 6165110"/>
              <a:gd name="connsiteX10" fmla="*/ 3762353 w 8636594"/>
              <a:gd name="connsiteY10" fmla="*/ 6054733 h 6165110"/>
              <a:gd name="connsiteX11" fmla="*/ 3802812 w 8636594"/>
              <a:gd name="connsiteY11" fmla="*/ 6031671 h 6165110"/>
              <a:gd name="connsiteX12" fmla="*/ 3842810 w 8636594"/>
              <a:gd name="connsiteY12" fmla="*/ 6008288 h 6165110"/>
              <a:gd name="connsiteX13" fmla="*/ 3882352 w 8636594"/>
              <a:gd name="connsiteY13" fmla="*/ 5984588 h 6165110"/>
              <a:gd name="connsiteX14" fmla="*/ 3921445 w 8636594"/>
              <a:gd name="connsiteY14" fmla="*/ 5960574 h 6165110"/>
              <a:gd name="connsiteX15" fmla="*/ 3960096 w 8636594"/>
              <a:gd name="connsiteY15" fmla="*/ 5936250 h 6165110"/>
              <a:gd name="connsiteX16" fmla="*/ 3998311 w 8636594"/>
              <a:gd name="connsiteY16" fmla="*/ 5911619 h 6165110"/>
              <a:gd name="connsiteX17" fmla="*/ 4036095 w 8636594"/>
              <a:gd name="connsiteY17" fmla="*/ 5886685 h 6165110"/>
              <a:gd name="connsiteX18" fmla="*/ 4073456 w 8636594"/>
              <a:gd name="connsiteY18" fmla="*/ 5861452 h 6165110"/>
              <a:gd name="connsiteX19" fmla="*/ 4110400 w 8636594"/>
              <a:gd name="connsiteY19" fmla="*/ 5835922 h 6165110"/>
              <a:gd name="connsiteX20" fmla="*/ 4146933 w 8636594"/>
              <a:gd name="connsiteY20" fmla="*/ 5810100 h 6165110"/>
              <a:gd name="connsiteX21" fmla="*/ 4183061 w 8636594"/>
              <a:gd name="connsiteY21" fmla="*/ 5783988 h 6165110"/>
              <a:gd name="connsiteX22" fmla="*/ 4218791 w 8636594"/>
              <a:gd name="connsiteY22" fmla="*/ 5757591 h 6165110"/>
              <a:gd name="connsiteX23" fmla="*/ 4254129 w 8636594"/>
              <a:gd name="connsiteY23" fmla="*/ 5730912 h 6165110"/>
              <a:gd name="connsiteX24" fmla="*/ 4289081 w 8636594"/>
              <a:gd name="connsiteY24" fmla="*/ 5703955 h 6165110"/>
              <a:gd name="connsiteX25" fmla="*/ 4323654 w 8636594"/>
              <a:gd name="connsiteY25" fmla="*/ 5676722 h 6165110"/>
              <a:gd name="connsiteX26" fmla="*/ 4357854 w 8636594"/>
              <a:gd name="connsiteY26" fmla="*/ 5649218 h 6165110"/>
              <a:gd name="connsiteX27" fmla="*/ 4391688 w 8636594"/>
              <a:gd name="connsiteY27" fmla="*/ 5621446 h 6165110"/>
              <a:gd name="connsiteX28" fmla="*/ 4425162 w 8636594"/>
              <a:gd name="connsiteY28" fmla="*/ 5593409 h 6165110"/>
              <a:gd name="connsiteX29" fmla="*/ 4458281 w 8636594"/>
              <a:gd name="connsiteY29" fmla="*/ 5565111 h 6165110"/>
              <a:gd name="connsiteX30" fmla="*/ 4491053 w 8636594"/>
              <a:gd name="connsiteY30" fmla="*/ 5536556 h 6165110"/>
              <a:gd name="connsiteX31" fmla="*/ 4523484 w 8636594"/>
              <a:gd name="connsiteY31" fmla="*/ 5507747 h 6165110"/>
              <a:gd name="connsiteX32" fmla="*/ 4555580 w 8636594"/>
              <a:gd name="connsiteY32" fmla="*/ 5478687 h 6165110"/>
              <a:gd name="connsiteX33" fmla="*/ 4587347 w 8636594"/>
              <a:gd name="connsiteY33" fmla="*/ 5449380 h 6165110"/>
              <a:gd name="connsiteX34" fmla="*/ 4618793 w 8636594"/>
              <a:gd name="connsiteY34" fmla="*/ 5419830 h 6165110"/>
              <a:gd name="connsiteX35" fmla="*/ 4649922 w 8636594"/>
              <a:gd name="connsiteY35" fmla="*/ 5390040 h 6165110"/>
              <a:gd name="connsiteX36" fmla="*/ 4680742 w 8636594"/>
              <a:gd name="connsiteY36" fmla="*/ 5360014 h 6165110"/>
              <a:gd name="connsiteX37" fmla="*/ 4711259 w 8636594"/>
              <a:gd name="connsiteY37" fmla="*/ 5329755 h 6165110"/>
              <a:gd name="connsiteX38" fmla="*/ 4741478 w 8636594"/>
              <a:gd name="connsiteY38" fmla="*/ 5299266 h 6165110"/>
              <a:gd name="connsiteX39" fmla="*/ 4771408 w 8636594"/>
              <a:gd name="connsiteY39" fmla="*/ 5268551 h 6165110"/>
              <a:gd name="connsiteX40" fmla="*/ 4801053 w 8636594"/>
              <a:gd name="connsiteY40" fmla="*/ 5237614 h 6165110"/>
              <a:gd name="connsiteX41" fmla="*/ 4830420 w 8636594"/>
              <a:gd name="connsiteY41" fmla="*/ 5206458 h 6165110"/>
              <a:gd name="connsiteX42" fmla="*/ 4859516 w 8636594"/>
              <a:gd name="connsiteY42" fmla="*/ 5175087 h 6165110"/>
              <a:gd name="connsiteX43" fmla="*/ 4888347 w 8636594"/>
              <a:gd name="connsiteY43" fmla="*/ 5143504 h 6165110"/>
              <a:gd name="connsiteX44" fmla="*/ 4916919 w 8636594"/>
              <a:gd name="connsiteY44" fmla="*/ 5111713 h 6165110"/>
              <a:gd name="connsiteX45" fmla="*/ 4945238 w 8636594"/>
              <a:gd name="connsiteY45" fmla="*/ 5079717 h 6165110"/>
              <a:gd name="connsiteX46" fmla="*/ 4973311 w 8636594"/>
              <a:gd name="connsiteY46" fmla="*/ 5047519 h 6165110"/>
              <a:gd name="connsiteX47" fmla="*/ 5001145 w 8636594"/>
              <a:gd name="connsiteY47" fmla="*/ 5015124 h 6165110"/>
              <a:gd name="connsiteX48" fmla="*/ 5028745 w 8636594"/>
              <a:gd name="connsiteY48" fmla="*/ 4982535 h 6165110"/>
              <a:gd name="connsiteX49" fmla="*/ 5056117 w 8636594"/>
              <a:gd name="connsiteY49" fmla="*/ 4949755 h 6165110"/>
              <a:gd name="connsiteX50" fmla="*/ 5083269 w 8636594"/>
              <a:gd name="connsiteY50" fmla="*/ 4916787 h 6165110"/>
              <a:gd name="connsiteX51" fmla="*/ 5110207 w 8636594"/>
              <a:gd name="connsiteY51" fmla="*/ 4883636 h 6165110"/>
              <a:gd name="connsiteX52" fmla="*/ 5136937 w 8636594"/>
              <a:gd name="connsiteY52" fmla="*/ 4850305 h 6165110"/>
              <a:gd name="connsiteX53" fmla="*/ 5163464 w 8636594"/>
              <a:gd name="connsiteY53" fmla="*/ 4816797 h 6165110"/>
              <a:gd name="connsiteX54" fmla="*/ 5215940 w 8636594"/>
              <a:gd name="connsiteY54" fmla="*/ 4749265 h 6165110"/>
              <a:gd name="connsiteX55" fmla="*/ 5267684 w 8636594"/>
              <a:gd name="connsiteY55" fmla="*/ 4681068 h 6165110"/>
              <a:gd name="connsiteX56" fmla="*/ 5318748 w 8636594"/>
              <a:gd name="connsiteY56" fmla="*/ 4612234 h 6165110"/>
              <a:gd name="connsiteX57" fmla="*/ 5369182 w 8636594"/>
              <a:gd name="connsiteY57" fmla="*/ 4542793 h 6165110"/>
              <a:gd name="connsiteX58" fmla="*/ 5419038 w 8636594"/>
              <a:gd name="connsiteY58" fmla="*/ 4472771 h 6165110"/>
              <a:gd name="connsiteX59" fmla="*/ 5468365 w 8636594"/>
              <a:gd name="connsiteY59" fmla="*/ 4402196 h 6165110"/>
              <a:gd name="connsiteX60" fmla="*/ 5517215 w 8636594"/>
              <a:gd name="connsiteY60" fmla="*/ 4331098 h 6165110"/>
              <a:gd name="connsiteX61" fmla="*/ 5565637 w 8636594"/>
              <a:gd name="connsiteY61" fmla="*/ 4259503 h 6165110"/>
              <a:gd name="connsiteX62" fmla="*/ 5613684 w 8636594"/>
              <a:gd name="connsiteY62" fmla="*/ 4187441 h 6165110"/>
              <a:gd name="connsiteX63" fmla="*/ 5685160 w 8636594"/>
              <a:gd name="connsiteY63" fmla="*/ 4078531 h 6165110"/>
              <a:gd name="connsiteX64" fmla="*/ 5756074 w 8636594"/>
              <a:gd name="connsiteY64" fmla="*/ 3968727 h 6165110"/>
              <a:gd name="connsiteX65" fmla="*/ 5873483 w 8636594"/>
              <a:gd name="connsiteY65" fmla="*/ 3783989 h 6165110"/>
              <a:gd name="connsiteX66" fmla="*/ 6203209 w 8636594"/>
              <a:gd name="connsiteY66" fmla="*/ 3258640 h 6165110"/>
              <a:gd name="connsiteX67" fmla="*/ 6299430 w 8636594"/>
              <a:gd name="connsiteY67" fmla="*/ 3107321 h 6165110"/>
              <a:gd name="connsiteX68" fmla="*/ 6372650 w 8636594"/>
              <a:gd name="connsiteY68" fmla="*/ 2993735 h 6165110"/>
              <a:gd name="connsiteX69" fmla="*/ 6453197 w 8636594"/>
              <a:gd name="connsiteY69" fmla="*/ 2869788 h 6165110"/>
              <a:gd name="connsiteX70" fmla="*/ 6564167 w 8636594"/>
              <a:gd name="connsiteY70" fmla="*/ 2696807 h 6165110"/>
              <a:gd name="connsiteX71" fmla="*/ 6976233 w 8636594"/>
              <a:gd name="connsiteY71" fmla="*/ 2045274 h 6165110"/>
              <a:gd name="connsiteX72" fmla="*/ 7086755 w 8636594"/>
              <a:gd name="connsiteY72" fmla="*/ 1872743 h 6165110"/>
              <a:gd name="connsiteX73" fmla="*/ 7170279 w 8636594"/>
              <a:gd name="connsiteY73" fmla="*/ 1744202 h 6165110"/>
              <a:gd name="connsiteX74" fmla="*/ 7226351 w 8636594"/>
              <a:gd name="connsiteY74" fmla="*/ 1659017 h 6165110"/>
              <a:gd name="connsiteX75" fmla="*/ 7282789 w 8636594"/>
              <a:gd name="connsiteY75" fmla="*/ 1574303 h 6165110"/>
              <a:gd name="connsiteX76" fmla="*/ 7339643 w 8636594"/>
              <a:gd name="connsiteY76" fmla="*/ 1490113 h 6165110"/>
              <a:gd name="connsiteX77" fmla="*/ 7396957 w 8636594"/>
              <a:gd name="connsiteY77" fmla="*/ 1406503 h 6165110"/>
              <a:gd name="connsiteX78" fmla="*/ 7454781 w 8636594"/>
              <a:gd name="connsiteY78" fmla="*/ 1323526 h 6165110"/>
              <a:gd name="connsiteX79" fmla="*/ 7513161 w 8636594"/>
              <a:gd name="connsiteY79" fmla="*/ 1241237 h 6165110"/>
              <a:gd name="connsiteX80" fmla="*/ 7572144 w 8636594"/>
              <a:gd name="connsiteY80" fmla="*/ 1159689 h 6165110"/>
              <a:gd name="connsiteX81" fmla="*/ 7601877 w 8636594"/>
              <a:gd name="connsiteY81" fmla="*/ 1119210 h 6165110"/>
              <a:gd name="connsiteX82" fmla="*/ 7631779 w 8636594"/>
              <a:gd name="connsiteY82" fmla="*/ 1078937 h 6165110"/>
              <a:gd name="connsiteX83" fmla="*/ 7661855 w 8636594"/>
              <a:gd name="connsiteY83" fmla="*/ 1038876 h 6165110"/>
              <a:gd name="connsiteX84" fmla="*/ 7692111 w 8636594"/>
              <a:gd name="connsiteY84" fmla="*/ 999035 h 6165110"/>
              <a:gd name="connsiteX85" fmla="*/ 7722554 w 8636594"/>
              <a:gd name="connsiteY85" fmla="*/ 959419 h 6165110"/>
              <a:gd name="connsiteX86" fmla="*/ 7753190 w 8636594"/>
              <a:gd name="connsiteY86" fmla="*/ 920037 h 6165110"/>
              <a:gd name="connsiteX87" fmla="*/ 7784023 w 8636594"/>
              <a:gd name="connsiteY87" fmla="*/ 880894 h 6165110"/>
              <a:gd name="connsiteX88" fmla="*/ 7815061 w 8636594"/>
              <a:gd name="connsiteY88" fmla="*/ 841997 h 6165110"/>
              <a:gd name="connsiteX89" fmla="*/ 7846308 w 8636594"/>
              <a:gd name="connsiteY89" fmla="*/ 803354 h 6165110"/>
              <a:gd name="connsiteX90" fmla="*/ 7877772 w 8636594"/>
              <a:gd name="connsiteY90" fmla="*/ 764970 h 6165110"/>
              <a:gd name="connsiteX91" fmla="*/ 7909458 w 8636594"/>
              <a:gd name="connsiteY91" fmla="*/ 726853 h 6165110"/>
              <a:gd name="connsiteX92" fmla="*/ 7941371 w 8636594"/>
              <a:gd name="connsiteY92" fmla="*/ 689010 h 6165110"/>
              <a:gd name="connsiteX93" fmla="*/ 7973518 w 8636594"/>
              <a:gd name="connsiteY93" fmla="*/ 651447 h 6165110"/>
              <a:gd name="connsiteX94" fmla="*/ 8005905 w 8636594"/>
              <a:gd name="connsiteY94" fmla="*/ 614171 h 6165110"/>
              <a:gd name="connsiteX95" fmla="*/ 8038538 w 8636594"/>
              <a:gd name="connsiteY95" fmla="*/ 577189 h 6165110"/>
              <a:gd name="connsiteX96" fmla="*/ 8071421 w 8636594"/>
              <a:gd name="connsiteY96" fmla="*/ 540507 h 6165110"/>
              <a:gd name="connsiteX97" fmla="*/ 8104563 w 8636594"/>
              <a:gd name="connsiteY97" fmla="*/ 504132 h 6165110"/>
              <a:gd name="connsiteX98" fmla="*/ 8137967 w 8636594"/>
              <a:gd name="connsiteY98" fmla="*/ 468072 h 6165110"/>
              <a:gd name="connsiteX99" fmla="*/ 8171641 w 8636594"/>
              <a:gd name="connsiteY99" fmla="*/ 432332 h 6165110"/>
              <a:gd name="connsiteX100" fmla="*/ 8205590 w 8636594"/>
              <a:gd name="connsiteY100" fmla="*/ 396920 h 6165110"/>
              <a:gd name="connsiteX101" fmla="*/ 8239820 w 8636594"/>
              <a:gd name="connsiteY101" fmla="*/ 361843 h 6165110"/>
              <a:gd name="connsiteX102" fmla="*/ 8274337 w 8636594"/>
              <a:gd name="connsiteY102" fmla="*/ 327107 h 6165110"/>
              <a:gd name="connsiteX103" fmla="*/ 8309147 w 8636594"/>
              <a:gd name="connsiteY103" fmla="*/ 292718 h 6165110"/>
              <a:gd name="connsiteX104" fmla="*/ 8344256 w 8636594"/>
              <a:gd name="connsiteY104" fmla="*/ 258685 h 6165110"/>
              <a:gd name="connsiteX105" fmla="*/ 8379669 w 8636594"/>
              <a:gd name="connsiteY105" fmla="*/ 225013 h 6165110"/>
              <a:gd name="connsiteX106" fmla="*/ 8415394 w 8636594"/>
              <a:gd name="connsiteY106" fmla="*/ 191709 h 6165110"/>
              <a:gd name="connsiteX107" fmla="*/ 8451434 w 8636594"/>
              <a:gd name="connsiteY107" fmla="*/ 158780 h 6165110"/>
              <a:gd name="connsiteX108" fmla="*/ 8487798 w 8636594"/>
              <a:gd name="connsiteY108" fmla="*/ 126233 h 6165110"/>
              <a:gd name="connsiteX109" fmla="*/ 8524489 w 8636594"/>
              <a:gd name="connsiteY109" fmla="*/ 94075 h 6165110"/>
              <a:gd name="connsiteX110" fmla="*/ 8561515 w 8636594"/>
              <a:gd name="connsiteY110" fmla="*/ 62312 h 6165110"/>
              <a:gd name="connsiteX111" fmla="*/ 8598881 w 8636594"/>
              <a:gd name="connsiteY111" fmla="*/ 30951 h 6165110"/>
              <a:gd name="connsiteX112" fmla="*/ 8636594 w 8636594"/>
              <a:gd name="connsiteY112" fmla="*/ 0 h 6165110"/>
              <a:gd name="connsiteX0" fmla="*/ 8636594 w 8636594"/>
              <a:gd name="connsiteY0" fmla="*/ 0 h 6143704"/>
              <a:gd name="connsiteX1" fmla="*/ 5293 w 8636594"/>
              <a:gd name="connsiteY1" fmla="*/ 0 h 6143704"/>
              <a:gd name="connsiteX2" fmla="*/ 0 w 8636594"/>
              <a:gd name="connsiteY2" fmla="*/ 5587843 h 6143704"/>
              <a:gd name="connsiteX3" fmla="*/ 1594033 w 8636594"/>
              <a:gd name="connsiteY3" fmla="*/ 5600057 h 6143704"/>
              <a:gd name="connsiteX4" fmla="*/ 1686068 w 8636594"/>
              <a:gd name="connsiteY4" fmla="*/ 5599745 h 6143704"/>
              <a:gd name="connsiteX5" fmla="*/ 3595773 w 8636594"/>
              <a:gd name="connsiteY5" fmla="*/ 6143704 h 6143704"/>
              <a:gd name="connsiteX6" fmla="*/ 3638142 w 8636594"/>
              <a:gd name="connsiteY6" fmla="*/ 6121960 h 6143704"/>
              <a:gd name="connsiteX7" fmla="*/ 3680024 w 8636594"/>
              <a:gd name="connsiteY7" fmla="*/ 6099881 h 6143704"/>
              <a:gd name="connsiteX8" fmla="*/ 3721426 w 8636594"/>
              <a:gd name="connsiteY8" fmla="*/ 6077471 h 6143704"/>
              <a:gd name="connsiteX9" fmla="*/ 3762353 w 8636594"/>
              <a:gd name="connsiteY9" fmla="*/ 6054733 h 6143704"/>
              <a:gd name="connsiteX10" fmla="*/ 3802812 w 8636594"/>
              <a:gd name="connsiteY10" fmla="*/ 6031671 h 6143704"/>
              <a:gd name="connsiteX11" fmla="*/ 3842810 w 8636594"/>
              <a:gd name="connsiteY11" fmla="*/ 6008288 h 6143704"/>
              <a:gd name="connsiteX12" fmla="*/ 3882352 w 8636594"/>
              <a:gd name="connsiteY12" fmla="*/ 5984588 h 6143704"/>
              <a:gd name="connsiteX13" fmla="*/ 3921445 w 8636594"/>
              <a:gd name="connsiteY13" fmla="*/ 5960574 h 6143704"/>
              <a:gd name="connsiteX14" fmla="*/ 3960096 w 8636594"/>
              <a:gd name="connsiteY14" fmla="*/ 5936250 h 6143704"/>
              <a:gd name="connsiteX15" fmla="*/ 3998311 w 8636594"/>
              <a:gd name="connsiteY15" fmla="*/ 5911619 h 6143704"/>
              <a:gd name="connsiteX16" fmla="*/ 4036095 w 8636594"/>
              <a:gd name="connsiteY16" fmla="*/ 5886685 h 6143704"/>
              <a:gd name="connsiteX17" fmla="*/ 4073456 w 8636594"/>
              <a:gd name="connsiteY17" fmla="*/ 5861452 h 6143704"/>
              <a:gd name="connsiteX18" fmla="*/ 4110400 w 8636594"/>
              <a:gd name="connsiteY18" fmla="*/ 5835922 h 6143704"/>
              <a:gd name="connsiteX19" fmla="*/ 4146933 w 8636594"/>
              <a:gd name="connsiteY19" fmla="*/ 5810100 h 6143704"/>
              <a:gd name="connsiteX20" fmla="*/ 4183061 w 8636594"/>
              <a:gd name="connsiteY20" fmla="*/ 5783988 h 6143704"/>
              <a:gd name="connsiteX21" fmla="*/ 4218791 w 8636594"/>
              <a:gd name="connsiteY21" fmla="*/ 5757591 h 6143704"/>
              <a:gd name="connsiteX22" fmla="*/ 4254129 w 8636594"/>
              <a:gd name="connsiteY22" fmla="*/ 5730912 h 6143704"/>
              <a:gd name="connsiteX23" fmla="*/ 4289081 w 8636594"/>
              <a:gd name="connsiteY23" fmla="*/ 5703955 h 6143704"/>
              <a:gd name="connsiteX24" fmla="*/ 4323654 w 8636594"/>
              <a:gd name="connsiteY24" fmla="*/ 5676722 h 6143704"/>
              <a:gd name="connsiteX25" fmla="*/ 4357854 w 8636594"/>
              <a:gd name="connsiteY25" fmla="*/ 5649218 h 6143704"/>
              <a:gd name="connsiteX26" fmla="*/ 4391688 w 8636594"/>
              <a:gd name="connsiteY26" fmla="*/ 5621446 h 6143704"/>
              <a:gd name="connsiteX27" fmla="*/ 4425162 w 8636594"/>
              <a:gd name="connsiteY27" fmla="*/ 5593409 h 6143704"/>
              <a:gd name="connsiteX28" fmla="*/ 4458281 w 8636594"/>
              <a:gd name="connsiteY28" fmla="*/ 5565111 h 6143704"/>
              <a:gd name="connsiteX29" fmla="*/ 4491053 w 8636594"/>
              <a:gd name="connsiteY29" fmla="*/ 5536556 h 6143704"/>
              <a:gd name="connsiteX30" fmla="*/ 4523484 w 8636594"/>
              <a:gd name="connsiteY30" fmla="*/ 5507747 h 6143704"/>
              <a:gd name="connsiteX31" fmla="*/ 4555580 w 8636594"/>
              <a:gd name="connsiteY31" fmla="*/ 5478687 h 6143704"/>
              <a:gd name="connsiteX32" fmla="*/ 4587347 w 8636594"/>
              <a:gd name="connsiteY32" fmla="*/ 5449380 h 6143704"/>
              <a:gd name="connsiteX33" fmla="*/ 4618793 w 8636594"/>
              <a:gd name="connsiteY33" fmla="*/ 5419830 h 6143704"/>
              <a:gd name="connsiteX34" fmla="*/ 4649922 w 8636594"/>
              <a:gd name="connsiteY34" fmla="*/ 5390040 h 6143704"/>
              <a:gd name="connsiteX35" fmla="*/ 4680742 w 8636594"/>
              <a:gd name="connsiteY35" fmla="*/ 5360014 h 6143704"/>
              <a:gd name="connsiteX36" fmla="*/ 4711259 w 8636594"/>
              <a:gd name="connsiteY36" fmla="*/ 5329755 h 6143704"/>
              <a:gd name="connsiteX37" fmla="*/ 4741478 w 8636594"/>
              <a:gd name="connsiteY37" fmla="*/ 5299266 h 6143704"/>
              <a:gd name="connsiteX38" fmla="*/ 4771408 w 8636594"/>
              <a:gd name="connsiteY38" fmla="*/ 5268551 h 6143704"/>
              <a:gd name="connsiteX39" fmla="*/ 4801053 w 8636594"/>
              <a:gd name="connsiteY39" fmla="*/ 5237614 h 6143704"/>
              <a:gd name="connsiteX40" fmla="*/ 4830420 w 8636594"/>
              <a:gd name="connsiteY40" fmla="*/ 5206458 h 6143704"/>
              <a:gd name="connsiteX41" fmla="*/ 4859516 w 8636594"/>
              <a:gd name="connsiteY41" fmla="*/ 5175087 h 6143704"/>
              <a:gd name="connsiteX42" fmla="*/ 4888347 w 8636594"/>
              <a:gd name="connsiteY42" fmla="*/ 5143504 h 6143704"/>
              <a:gd name="connsiteX43" fmla="*/ 4916919 w 8636594"/>
              <a:gd name="connsiteY43" fmla="*/ 5111713 h 6143704"/>
              <a:gd name="connsiteX44" fmla="*/ 4945238 w 8636594"/>
              <a:gd name="connsiteY44" fmla="*/ 5079717 h 6143704"/>
              <a:gd name="connsiteX45" fmla="*/ 4973311 w 8636594"/>
              <a:gd name="connsiteY45" fmla="*/ 5047519 h 6143704"/>
              <a:gd name="connsiteX46" fmla="*/ 5001145 w 8636594"/>
              <a:gd name="connsiteY46" fmla="*/ 5015124 h 6143704"/>
              <a:gd name="connsiteX47" fmla="*/ 5028745 w 8636594"/>
              <a:gd name="connsiteY47" fmla="*/ 4982535 h 6143704"/>
              <a:gd name="connsiteX48" fmla="*/ 5056117 w 8636594"/>
              <a:gd name="connsiteY48" fmla="*/ 4949755 h 6143704"/>
              <a:gd name="connsiteX49" fmla="*/ 5083269 w 8636594"/>
              <a:gd name="connsiteY49" fmla="*/ 4916787 h 6143704"/>
              <a:gd name="connsiteX50" fmla="*/ 5110207 w 8636594"/>
              <a:gd name="connsiteY50" fmla="*/ 4883636 h 6143704"/>
              <a:gd name="connsiteX51" fmla="*/ 5136937 w 8636594"/>
              <a:gd name="connsiteY51" fmla="*/ 4850305 h 6143704"/>
              <a:gd name="connsiteX52" fmla="*/ 5163464 w 8636594"/>
              <a:gd name="connsiteY52" fmla="*/ 4816797 h 6143704"/>
              <a:gd name="connsiteX53" fmla="*/ 5215940 w 8636594"/>
              <a:gd name="connsiteY53" fmla="*/ 4749265 h 6143704"/>
              <a:gd name="connsiteX54" fmla="*/ 5267684 w 8636594"/>
              <a:gd name="connsiteY54" fmla="*/ 4681068 h 6143704"/>
              <a:gd name="connsiteX55" fmla="*/ 5318748 w 8636594"/>
              <a:gd name="connsiteY55" fmla="*/ 4612234 h 6143704"/>
              <a:gd name="connsiteX56" fmla="*/ 5369182 w 8636594"/>
              <a:gd name="connsiteY56" fmla="*/ 4542793 h 6143704"/>
              <a:gd name="connsiteX57" fmla="*/ 5419038 w 8636594"/>
              <a:gd name="connsiteY57" fmla="*/ 4472771 h 6143704"/>
              <a:gd name="connsiteX58" fmla="*/ 5468365 w 8636594"/>
              <a:gd name="connsiteY58" fmla="*/ 4402196 h 6143704"/>
              <a:gd name="connsiteX59" fmla="*/ 5517215 w 8636594"/>
              <a:gd name="connsiteY59" fmla="*/ 4331098 h 6143704"/>
              <a:gd name="connsiteX60" fmla="*/ 5565637 w 8636594"/>
              <a:gd name="connsiteY60" fmla="*/ 4259503 h 6143704"/>
              <a:gd name="connsiteX61" fmla="*/ 5613684 w 8636594"/>
              <a:gd name="connsiteY61" fmla="*/ 4187441 h 6143704"/>
              <a:gd name="connsiteX62" fmla="*/ 5685160 w 8636594"/>
              <a:gd name="connsiteY62" fmla="*/ 4078531 h 6143704"/>
              <a:gd name="connsiteX63" fmla="*/ 5756074 w 8636594"/>
              <a:gd name="connsiteY63" fmla="*/ 3968727 h 6143704"/>
              <a:gd name="connsiteX64" fmla="*/ 5873483 w 8636594"/>
              <a:gd name="connsiteY64" fmla="*/ 3783989 h 6143704"/>
              <a:gd name="connsiteX65" fmla="*/ 6203209 w 8636594"/>
              <a:gd name="connsiteY65" fmla="*/ 3258640 h 6143704"/>
              <a:gd name="connsiteX66" fmla="*/ 6299430 w 8636594"/>
              <a:gd name="connsiteY66" fmla="*/ 3107321 h 6143704"/>
              <a:gd name="connsiteX67" fmla="*/ 6372650 w 8636594"/>
              <a:gd name="connsiteY67" fmla="*/ 2993735 h 6143704"/>
              <a:gd name="connsiteX68" fmla="*/ 6453197 w 8636594"/>
              <a:gd name="connsiteY68" fmla="*/ 2869788 h 6143704"/>
              <a:gd name="connsiteX69" fmla="*/ 6564167 w 8636594"/>
              <a:gd name="connsiteY69" fmla="*/ 2696807 h 6143704"/>
              <a:gd name="connsiteX70" fmla="*/ 6976233 w 8636594"/>
              <a:gd name="connsiteY70" fmla="*/ 2045274 h 6143704"/>
              <a:gd name="connsiteX71" fmla="*/ 7086755 w 8636594"/>
              <a:gd name="connsiteY71" fmla="*/ 1872743 h 6143704"/>
              <a:gd name="connsiteX72" fmla="*/ 7170279 w 8636594"/>
              <a:gd name="connsiteY72" fmla="*/ 1744202 h 6143704"/>
              <a:gd name="connsiteX73" fmla="*/ 7226351 w 8636594"/>
              <a:gd name="connsiteY73" fmla="*/ 1659017 h 6143704"/>
              <a:gd name="connsiteX74" fmla="*/ 7282789 w 8636594"/>
              <a:gd name="connsiteY74" fmla="*/ 1574303 h 6143704"/>
              <a:gd name="connsiteX75" fmla="*/ 7339643 w 8636594"/>
              <a:gd name="connsiteY75" fmla="*/ 1490113 h 6143704"/>
              <a:gd name="connsiteX76" fmla="*/ 7396957 w 8636594"/>
              <a:gd name="connsiteY76" fmla="*/ 1406503 h 6143704"/>
              <a:gd name="connsiteX77" fmla="*/ 7454781 w 8636594"/>
              <a:gd name="connsiteY77" fmla="*/ 1323526 h 6143704"/>
              <a:gd name="connsiteX78" fmla="*/ 7513161 w 8636594"/>
              <a:gd name="connsiteY78" fmla="*/ 1241237 h 6143704"/>
              <a:gd name="connsiteX79" fmla="*/ 7572144 w 8636594"/>
              <a:gd name="connsiteY79" fmla="*/ 1159689 h 6143704"/>
              <a:gd name="connsiteX80" fmla="*/ 7601877 w 8636594"/>
              <a:gd name="connsiteY80" fmla="*/ 1119210 h 6143704"/>
              <a:gd name="connsiteX81" fmla="*/ 7631779 w 8636594"/>
              <a:gd name="connsiteY81" fmla="*/ 1078937 h 6143704"/>
              <a:gd name="connsiteX82" fmla="*/ 7661855 w 8636594"/>
              <a:gd name="connsiteY82" fmla="*/ 1038876 h 6143704"/>
              <a:gd name="connsiteX83" fmla="*/ 7692111 w 8636594"/>
              <a:gd name="connsiteY83" fmla="*/ 999035 h 6143704"/>
              <a:gd name="connsiteX84" fmla="*/ 7722554 w 8636594"/>
              <a:gd name="connsiteY84" fmla="*/ 959419 h 6143704"/>
              <a:gd name="connsiteX85" fmla="*/ 7753190 w 8636594"/>
              <a:gd name="connsiteY85" fmla="*/ 920037 h 6143704"/>
              <a:gd name="connsiteX86" fmla="*/ 7784023 w 8636594"/>
              <a:gd name="connsiteY86" fmla="*/ 880894 h 6143704"/>
              <a:gd name="connsiteX87" fmla="*/ 7815061 w 8636594"/>
              <a:gd name="connsiteY87" fmla="*/ 841997 h 6143704"/>
              <a:gd name="connsiteX88" fmla="*/ 7846308 w 8636594"/>
              <a:gd name="connsiteY88" fmla="*/ 803354 h 6143704"/>
              <a:gd name="connsiteX89" fmla="*/ 7877772 w 8636594"/>
              <a:gd name="connsiteY89" fmla="*/ 764970 h 6143704"/>
              <a:gd name="connsiteX90" fmla="*/ 7909458 w 8636594"/>
              <a:gd name="connsiteY90" fmla="*/ 726853 h 6143704"/>
              <a:gd name="connsiteX91" fmla="*/ 7941371 w 8636594"/>
              <a:gd name="connsiteY91" fmla="*/ 689010 h 6143704"/>
              <a:gd name="connsiteX92" fmla="*/ 7973518 w 8636594"/>
              <a:gd name="connsiteY92" fmla="*/ 651447 h 6143704"/>
              <a:gd name="connsiteX93" fmla="*/ 8005905 w 8636594"/>
              <a:gd name="connsiteY93" fmla="*/ 614171 h 6143704"/>
              <a:gd name="connsiteX94" fmla="*/ 8038538 w 8636594"/>
              <a:gd name="connsiteY94" fmla="*/ 577189 h 6143704"/>
              <a:gd name="connsiteX95" fmla="*/ 8071421 w 8636594"/>
              <a:gd name="connsiteY95" fmla="*/ 540507 h 6143704"/>
              <a:gd name="connsiteX96" fmla="*/ 8104563 w 8636594"/>
              <a:gd name="connsiteY96" fmla="*/ 504132 h 6143704"/>
              <a:gd name="connsiteX97" fmla="*/ 8137967 w 8636594"/>
              <a:gd name="connsiteY97" fmla="*/ 468072 h 6143704"/>
              <a:gd name="connsiteX98" fmla="*/ 8171641 w 8636594"/>
              <a:gd name="connsiteY98" fmla="*/ 432332 h 6143704"/>
              <a:gd name="connsiteX99" fmla="*/ 8205590 w 8636594"/>
              <a:gd name="connsiteY99" fmla="*/ 396920 h 6143704"/>
              <a:gd name="connsiteX100" fmla="*/ 8239820 w 8636594"/>
              <a:gd name="connsiteY100" fmla="*/ 361843 h 6143704"/>
              <a:gd name="connsiteX101" fmla="*/ 8274337 w 8636594"/>
              <a:gd name="connsiteY101" fmla="*/ 327107 h 6143704"/>
              <a:gd name="connsiteX102" fmla="*/ 8309147 w 8636594"/>
              <a:gd name="connsiteY102" fmla="*/ 292718 h 6143704"/>
              <a:gd name="connsiteX103" fmla="*/ 8344256 w 8636594"/>
              <a:gd name="connsiteY103" fmla="*/ 258685 h 6143704"/>
              <a:gd name="connsiteX104" fmla="*/ 8379669 w 8636594"/>
              <a:gd name="connsiteY104" fmla="*/ 225013 h 6143704"/>
              <a:gd name="connsiteX105" fmla="*/ 8415394 w 8636594"/>
              <a:gd name="connsiteY105" fmla="*/ 191709 h 6143704"/>
              <a:gd name="connsiteX106" fmla="*/ 8451434 w 8636594"/>
              <a:gd name="connsiteY106" fmla="*/ 158780 h 6143704"/>
              <a:gd name="connsiteX107" fmla="*/ 8487798 w 8636594"/>
              <a:gd name="connsiteY107" fmla="*/ 126233 h 6143704"/>
              <a:gd name="connsiteX108" fmla="*/ 8524489 w 8636594"/>
              <a:gd name="connsiteY108" fmla="*/ 94075 h 6143704"/>
              <a:gd name="connsiteX109" fmla="*/ 8561515 w 8636594"/>
              <a:gd name="connsiteY109" fmla="*/ 62312 h 6143704"/>
              <a:gd name="connsiteX110" fmla="*/ 8598881 w 8636594"/>
              <a:gd name="connsiteY110" fmla="*/ 30951 h 6143704"/>
              <a:gd name="connsiteX111" fmla="*/ 8636594 w 8636594"/>
              <a:gd name="connsiteY111" fmla="*/ 0 h 6143704"/>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1686068 w 8636594"/>
              <a:gd name="connsiteY4" fmla="*/ 5599745 h 6121960"/>
              <a:gd name="connsiteX5" fmla="*/ 3638142 w 8636594"/>
              <a:gd name="connsiteY5" fmla="*/ 6121960 h 6121960"/>
              <a:gd name="connsiteX6" fmla="*/ 3680024 w 8636594"/>
              <a:gd name="connsiteY6" fmla="*/ 6099881 h 6121960"/>
              <a:gd name="connsiteX7" fmla="*/ 3721426 w 8636594"/>
              <a:gd name="connsiteY7" fmla="*/ 6077471 h 6121960"/>
              <a:gd name="connsiteX8" fmla="*/ 3762353 w 8636594"/>
              <a:gd name="connsiteY8" fmla="*/ 6054733 h 6121960"/>
              <a:gd name="connsiteX9" fmla="*/ 3802812 w 8636594"/>
              <a:gd name="connsiteY9" fmla="*/ 6031671 h 6121960"/>
              <a:gd name="connsiteX10" fmla="*/ 3842810 w 8636594"/>
              <a:gd name="connsiteY10" fmla="*/ 6008288 h 6121960"/>
              <a:gd name="connsiteX11" fmla="*/ 3882352 w 8636594"/>
              <a:gd name="connsiteY11" fmla="*/ 5984588 h 6121960"/>
              <a:gd name="connsiteX12" fmla="*/ 3921445 w 8636594"/>
              <a:gd name="connsiteY12" fmla="*/ 5960574 h 6121960"/>
              <a:gd name="connsiteX13" fmla="*/ 3960096 w 8636594"/>
              <a:gd name="connsiteY13" fmla="*/ 5936250 h 6121960"/>
              <a:gd name="connsiteX14" fmla="*/ 3998311 w 8636594"/>
              <a:gd name="connsiteY14" fmla="*/ 5911619 h 6121960"/>
              <a:gd name="connsiteX15" fmla="*/ 4036095 w 8636594"/>
              <a:gd name="connsiteY15" fmla="*/ 5886685 h 6121960"/>
              <a:gd name="connsiteX16" fmla="*/ 4073456 w 8636594"/>
              <a:gd name="connsiteY16" fmla="*/ 5861452 h 6121960"/>
              <a:gd name="connsiteX17" fmla="*/ 4110400 w 8636594"/>
              <a:gd name="connsiteY17" fmla="*/ 5835922 h 6121960"/>
              <a:gd name="connsiteX18" fmla="*/ 4146933 w 8636594"/>
              <a:gd name="connsiteY18" fmla="*/ 5810100 h 6121960"/>
              <a:gd name="connsiteX19" fmla="*/ 4183061 w 8636594"/>
              <a:gd name="connsiteY19" fmla="*/ 5783988 h 6121960"/>
              <a:gd name="connsiteX20" fmla="*/ 4218791 w 8636594"/>
              <a:gd name="connsiteY20" fmla="*/ 5757591 h 6121960"/>
              <a:gd name="connsiteX21" fmla="*/ 4254129 w 8636594"/>
              <a:gd name="connsiteY21" fmla="*/ 5730912 h 6121960"/>
              <a:gd name="connsiteX22" fmla="*/ 4289081 w 8636594"/>
              <a:gd name="connsiteY22" fmla="*/ 5703955 h 6121960"/>
              <a:gd name="connsiteX23" fmla="*/ 4323654 w 8636594"/>
              <a:gd name="connsiteY23" fmla="*/ 5676722 h 6121960"/>
              <a:gd name="connsiteX24" fmla="*/ 4357854 w 8636594"/>
              <a:gd name="connsiteY24" fmla="*/ 5649218 h 6121960"/>
              <a:gd name="connsiteX25" fmla="*/ 4391688 w 8636594"/>
              <a:gd name="connsiteY25" fmla="*/ 5621446 h 6121960"/>
              <a:gd name="connsiteX26" fmla="*/ 4425162 w 8636594"/>
              <a:gd name="connsiteY26" fmla="*/ 5593409 h 6121960"/>
              <a:gd name="connsiteX27" fmla="*/ 4458281 w 8636594"/>
              <a:gd name="connsiteY27" fmla="*/ 5565111 h 6121960"/>
              <a:gd name="connsiteX28" fmla="*/ 4491053 w 8636594"/>
              <a:gd name="connsiteY28" fmla="*/ 5536556 h 6121960"/>
              <a:gd name="connsiteX29" fmla="*/ 4523484 w 8636594"/>
              <a:gd name="connsiteY29" fmla="*/ 5507747 h 6121960"/>
              <a:gd name="connsiteX30" fmla="*/ 4555580 w 8636594"/>
              <a:gd name="connsiteY30" fmla="*/ 5478687 h 6121960"/>
              <a:gd name="connsiteX31" fmla="*/ 4587347 w 8636594"/>
              <a:gd name="connsiteY31" fmla="*/ 5449380 h 6121960"/>
              <a:gd name="connsiteX32" fmla="*/ 4618793 w 8636594"/>
              <a:gd name="connsiteY32" fmla="*/ 5419830 h 6121960"/>
              <a:gd name="connsiteX33" fmla="*/ 4649922 w 8636594"/>
              <a:gd name="connsiteY33" fmla="*/ 5390040 h 6121960"/>
              <a:gd name="connsiteX34" fmla="*/ 4680742 w 8636594"/>
              <a:gd name="connsiteY34" fmla="*/ 5360014 h 6121960"/>
              <a:gd name="connsiteX35" fmla="*/ 4711259 w 8636594"/>
              <a:gd name="connsiteY35" fmla="*/ 5329755 h 6121960"/>
              <a:gd name="connsiteX36" fmla="*/ 4741478 w 8636594"/>
              <a:gd name="connsiteY36" fmla="*/ 5299266 h 6121960"/>
              <a:gd name="connsiteX37" fmla="*/ 4771408 w 8636594"/>
              <a:gd name="connsiteY37" fmla="*/ 5268551 h 6121960"/>
              <a:gd name="connsiteX38" fmla="*/ 4801053 w 8636594"/>
              <a:gd name="connsiteY38" fmla="*/ 5237614 h 6121960"/>
              <a:gd name="connsiteX39" fmla="*/ 4830420 w 8636594"/>
              <a:gd name="connsiteY39" fmla="*/ 5206458 h 6121960"/>
              <a:gd name="connsiteX40" fmla="*/ 4859516 w 8636594"/>
              <a:gd name="connsiteY40" fmla="*/ 5175087 h 6121960"/>
              <a:gd name="connsiteX41" fmla="*/ 4888347 w 8636594"/>
              <a:gd name="connsiteY41" fmla="*/ 5143504 h 6121960"/>
              <a:gd name="connsiteX42" fmla="*/ 4916919 w 8636594"/>
              <a:gd name="connsiteY42" fmla="*/ 5111713 h 6121960"/>
              <a:gd name="connsiteX43" fmla="*/ 4945238 w 8636594"/>
              <a:gd name="connsiteY43" fmla="*/ 5079717 h 6121960"/>
              <a:gd name="connsiteX44" fmla="*/ 4973311 w 8636594"/>
              <a:gd name="connsiteY44" fmla="*/ 5047519 h 6121960"/>
              <a:gd name="connsiteX45" fmla="*/ 5001145 w 8636594"/>
              <a:gd name="connsiteY45" fmla="*/ 5015124 h 6121960"/>
              <a:gd name="connsiteX46" fmla="*/ 5028745 w 8636594"/>
              <a:gd name="connsiteY46" fmla="*/ 4982535 h 6121960"/>
              <a:gd name="connsiteX47" fmla="*/ 5056117 w 8636594"/>
              <a:gd name="connsiteY47" fmla="*/ 4949755 h 6121960"/>
              <a:gd name="connsiteX48" fmla="*/ 5083269 w 8636594"/>
              <a:gd name="connsiteY48" fmla="*/ 4916787 h 6121960"/>
              <a:gd name="connsiteX49" fmla="*/ 5110207 w 8636594"/>
              <a:gd name="connsiteY49" fmla="*/ 4883636 h 6121960"/>
              <a:gd name="connsiteX50" fmla="*/ 5136937 w 8636594"/>
              <a:gd name="connsiteY50" fmla="*/ 4850305 h 6121960"/>
              <a:gd name="connsiteX51" fmla="*/ 5163464 w 8636594"/>
              <a:gd name="connsiteY51" fmla="*/ 4816797 h 6121960"/>
              <a:gd name="connsiteX52" fmla="*/ 5215940 w 8636594"/>
              <a:gd name="connsiteY52" fmla="*/ 4749265 h 6121960"/>
              <a:gd name="connsiteX53" fmla="*/ 5267684 w 8636594"/>
              <a:gd name="connsiteY53" fmla="*/ 4681068 h 6121960"/>
              <a:gd name="connsiteX54" fmla="*/ 5318748 w 8636594"/>
              <a:gd name="connsiteY54" fmla="*/ 4612234 h 6121960"/>
              <a:gd name="connsiteX55" fmla="*/ 5369182 w 8636594"/>
              <a:gd name="connsiteY55" fmla="*/ 4542793 h 6121960"/>
              <a:gd name="connsiteX56" fmla="*/ 5419038 w 8636594"/>
              <a:gd name="connsiteY56" fmla="*/ 4472771 h 6121960"/>
              <a:gd name="connsiteX57" fmla="*/ 5468365 w 8636594"/>
              <a:gd name="connsiteY57" fmla="*/ 4402196 h 6121960"/>
              <a:gd name="connsiteX58" fmla="*/ 5517215 w 8636594"/>
              <a:gd name="connsiteY58" fmla="*/ 4331098 h 6121960"/>
              <a:gd name="connsiteX59" fmla="*/ 5565637 w 8636594"/>
              <a:gd name="connsiteY59" fmla="*/ 4259503 h 6121960"/>
              <a:gd name="connsiteX60" fmla="*/ 5613684 w 8636594"/>
              <a:gd name="connsiteY60" fmla="*/ 4187441 h 6121960"/>
              <a:gd name="connsiteX61" fmla="*/ 5685160 w 8636594"/>
              <a:gd name="connsiteY61" fmla="*/ 4078531 h 6121960"/>
              <a:gd name="connsiteX62" fmla="*/ 5756074 w 8636594"/>
              <a:gd name="connsiteY62" fmla="*/ 3968727 h 6121960"/>
              <a:gd name="connsiteX63" fmla="*/ 5873483 w 8636594"/>
              <a:gd name="connsiteY63" fmla="*/ 3783989 h 6121960"/>
              <a:gd name="connsiteX64" fmla="*/ 6203209 w 8636594"/>
              <a:gd name="connsiteY64" fmla="*/ 3258640 h 6121960"/>
              <a:gd name="connsiteX65" fmla="*/ 6299430 w 8636594"/>
              <a:gd name="connsiteY65" fmla="*/ 3107321 h 6121960"/>
              <a:gd name="connsiteX66" fmla="*/ 6372650 w 8636594"/>
              <a:gd name="connsiteY66" fmla="*/ 2993735 h 6121960"/>
              <a:gd name="connsiteX67" fmla="*/ 6453197 w 8636594"/>
              <a:gd name="connsiteY67" fmla="*/ 2869788 h 6121960"/>
              <a:gd name="connsiteX68" fmla="*/ 6564167 w 8636594"/>
              <a:gd name="connsiteY68" fmla="*/ 2696807 h 6121960"/>
              <a:gd name="connsiteX69" fmla="*/ 6976233 w 8636594"/>
              <a:gd name="connsiteY69" fmla="*/ 2045274 h 6121960"/>
              <a:gd name="connsiteX70" fmla="*/ 7086755 w 8636594"/>
              <a:gd name="connsiteY70" fmla="*/ 1872743 h 6121960"/>
              <a:gd name="connsiteX71" fmla="*/ 7170279 w 8636594"/>
              <a:gd name="connsiteY71" fmla="*/ 1744202 h 6121960"/>
              <a:gd name="connsiteX72" fmla="*/ 7226351 w 8636594"/>
              <a:gd name="connsiteY72" fmla="*/ 1659017 h 6121960"/>
              <a:gd name="connsiteX73" fmla="*/ 7282789 w 8636594"/>
              <a:gd name="connsiteY73" fmla="*/ 1574303 h 6121960"/>
              <a:gd name="connsiteX74" fmla="*/ 7339643 w 8636594"/>
              <a:gd name="connsiteY74" fmla="*/ 1490113 h 6121960"/>
              <a:gd name="connsiteX75" fmla="*/ 7396957 w 8636594"/>
              <a:gd name="connsiteY75" fmla="*/ 1406503 h 6121960"/>
              <a:gd name="connsiteX76" fmla="*/ 7454781 w 8636594"/>
              <a:gd name="connsiteY76" fmla="*/ 1323526 h 6121960"/>
              <a:gd name="connsiteX77" fmla="*/ 7513161 w 8636594"/>
              <a:gd name="connsiteY77" fmla="*/ 1241237 h 6121960"/>
              <a:gd name="connsiteX78" fmla="*/ 7572144 w 8636594"/>
              <a:gd name="connsiteY78" fmla="*/ 1159689 h 6121960"/>
              <a:gd name="connsiteX79" fmla="*/ 7601877 w 8636594"/>
              <a:gd name="connsiteY79" fmla="*/ 1119210 h 6121960"/>
              <a:gd name="connsiteX80" fmla="*/ 7631779 w 8636594"/>
              <a:gd name="connsiteY80" fmla="*/ 1078937 h 6121960"/>
              <a:gd name="connsiteX81" fmla="*/ 7661855 w 8636594"/>
              <a:gd name="connsiteY81" fmla="*/ 1038876 h 6121960"/>
              <a:gd name="connsiteX82" fmla="*/ 7692111 w 8636594"/>
              <a:gd name="connsiteY82" fmla="*/ 999035 h 6121960"/>
              <a:gd name="connsiteX83" fmla="*/ 7722554 w 8636594"/>
              <a:gd name="connsiteY83" fmla="*/ 959419 h 6121960"/>
              <a:gd name="connsiteX84" fmla="*/ 7753190 w 8636594"/>
              <a:gd name="connsiteY84" fmla="*/ 920037 h 6121960"/>
              <a:gd name="connsiteX85" fmla="*/ 7784023 w 8636594"/>
              <a:gd name="connsiteY85" fmla="*/ 880894 h 6121960"/>
              <a:gd name="connsiteX86" fmla="*/ 7815061 w 8636594"/>
              <a:gd name="connsiteY86" fmla="*/ 841997 h 6121960"/>
              <a:gd name="connsiteX87" fmla="*/ 7846308 w 8636594"/>
              <a:gd name="connsiteY87" fmla="*/ 803354 h 6121960"/>
              <a:gd name="connsiteX88" fmla="*/ 7877772 w 8636594"/>
              <a:gd name="connsiteY88" fmla="*/ 764970 h 6121960"/>
              <a:gd name="connsiteX89" fmla="*/ 7909458 w 8636594"/>
              <a:gd name="connsiteY89" fmla="*/ 726853 h 6121960"/>
              <a:gd name="connsiteX90" fmla="*/ 7941371 w 8636594"/>
              <a:gd name="connsiteY90" fmla="*/ 689010 h 6121960"/>
              <a:gd name="connsiteX91" fmla="*/ 7973518 w 8636594"/>
              <a:gd name="connsiteY91" fmla="*/ 651447 h 6121960"/>
              <a:gd name="connsiteX92" fmla="*/ 8005905 w 8636594"/>
              <a:gd name="connsiteY92" fmla="*/ 614171 h 6121960"/>
              <a:gd name="connsiteX93" fmla="*/ 8038538 w 8636594"/>
              <a:gd name="connsiteY93" fmla="*/ 577189 h 6121960"/>
              <a:gd name="connsiteX94" fmla="*/ 8071421 w 8636594"/>
              <a:gd name="connsiteY94" fmla="*/ 540507 h 6121960"/>
              <a:gd name="connsiteX95" fmla="*/ 8104563 w 8636594"/>
              <a:gd name="connsiteY95" fmla="*/ 504132 h 6121960"/>
              <a:gd name="connsiteX96" fmla="*/ 8137967 w 8636594"/>
              <a:gd name="connsiteY96" fmla="*/ 468072 h 6121960"/>
              <a:gd name="connsiteX97" fmla="*/ 8171641 w 8636594"/>
              <a:gd name="connsiteY97" fmla="*/ 432332 h 6121960"/>
              <a:gd name="connsiteX98" fmla="*/ 8205590 w 8636594"/>
              <a:gd name="connsiteY98" fmla="*/ 396920 h 6121960"/>
              <a:gd name="connsiteX99" fmla="*/ 8239820 w 8636594"/>
              <a:gd name="connsiteY99" fmla="*/ 361843 h 6121960"/>
              <a:gd name="connsiteX100" fmla="*/ 8274337 w 8636594"/>
              <a:gd name="connsiteY100" fmla="*/ 327107 h 6121960"/>
              <a:gd name="connsiteX101" fmla="*/ 8309147 w 8636594"/>
              <a:gd name="connsiteY101" fmla="*/ 292718 h 6121960"/>
              <a:gd name="connsiteX102" fmla="*/ 8344256 w 8636594"/>
              <a:gd name="connsiteY102" fmla="*/ 258685 h 6121960"/>
              <a:gd name="connsiteX103" fmla="*/ 8379669 w 8636594"/>
              <a:gd name="connsiteY103" fmla="*/ 225013 h 6121960"/>
              <a:gd name="connsiteX104" fmla="*/ 8415394 w 8636594"/>
              <a:gd name="connsiteY104" fmla="*/ 191709 h 6121960"/>
              <a:gd name="connsiteX105" fmla="*/ 8451434 w 8636594"/>
              <a:gd name="connsiteY105" fmla="*/ 158780 h 6121960"/>
              <a:gd name="connsiteX106" fmla="*/ 8487798 w 8636594"/>
              <a:gd name="connsiteY106" fmla="*/ 126233 h 6121960"/>
              <a:gd name="connsiteX107" fmla="*/ 8524489 w 8636594"/>
              <a:gd name="connsiteY107" fmla="*/ 94075 h 6121960"/>
              <a:gd name="connsiteX108" fmla="*/ 8561515 w 8636594"/>
              <a:gd name="connsiteY108" fmla="*/ 62312 h 6121960"/>
              <a:gd name="connsiteX109" fmla="*/ 8598881 w 8636594"/>
              <a:gd name="connsiteY109" fmla="*/ 30951 h 6121960"/>
              <a:gd name="connsiteX110" fmla="*/ 8636594 w 8636594"/>
              <a:gd name="connsiteY110" fmla="*/ 0 h 6121960"/>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3638142 w 8636594"/>
              <a:gd name="connsiteY4" fmla="*/ 6121960 h 6121960"/>
              <a:gd name="connsiteX5" fmla="*/ 3680024 w 8636594"/>
              <a:gd name="connsiteY5" fmla="*/ 6099881 h 6121960"/>
              <a:gd name="connsiteX6" fmla="*/ 3721426 w 8636594"/>
              <a:gd name="connsiteY6" fmla="*/ 6077471 h 6121960"/>
              <a:gd name="connsiteX7" fmla="*/ 3762353 w 8636594"/>
              <a:gd name="connsiteY7" fmla="*/ 6054733 h 6121960"/>
              <a:gd name="connsiteX8" fmla="*/ 3802812 w 8636594"/>
              <a:gd name="connsiteY8" fmla="*/ 6031671 h 6121960"/>
              <a:gd name="connsiteX9" fmla="*/ 3842810 w 8636594"/>
              <a:gd name="connsiteY9" fmla="*/ 6008288 h 6121960"/>
              <a:gd name="connsiteX10" fmla="*/ 3882352 w 8636594"/>
              <a:gd name="connsiteY10" fmla="*/ 5984588 h 6121960"/>
              <a:gd name="connsiteX11" fmla="*/ 3921445 w 8636594"/>
              <a:gd name="connsiteY11" fmla="*/ 5960574 h 6121960"/>
              <a:gd name="connsiteX12" fmla="*/ 3960096 w 8636594"/>
              <a:gd name="connsiteY12" fmla="*/ 5936250 h 6121960"/>
              <a:gd name="connsiteX13" fmla="*/ 3998311 w 8636594"/>
              <a:gd name="connsiteY13" fmla="*/ 5911619 h 6121960"/>
              <a:gd name="connsiteX14" fmla="*/ 4036095 w 8636594"/>
              <a:gd name="connsiteY14" fmla="*/ 5886685 h 6121960"/>
              <a:gd name="connsiteX15" fmla="*/ 4073456 w 8636594"/>
              <a:gd name="connsiteY15" fmla="*/ 5861452 h 6121960"/>
              <a:gd name="connsiteX16" fmla="*/ 4110400 w 8636594"/>
              <a:gd name="connsiteY16" fmla="*/ 5835922 h 6121960"/>
              <a:gd name="connsiteX17" fmla="*/ 4146933 w 8636594"/>
              <a:gd name="connsiteY17" fmla="*/ 5810100 h 6121960"/>
              <a:gd name="connsiteX18" fmla="*/ 4183061 w 8636594"/>
              <a:gd name="connsiteY18" fmla="*/ 5783988 h 6121960"/>
              <a:gd name="connsiteX19" fmla="*/ 4218791 w 8636594"/>
              <a:gd name="connsiteY19" fmla="*/ 5757591 h 6121960"/>
              <a:gd name="connsiteX20" fmla="*/ 4254129 w 8636594"/>
              <a:gd name="connsiteY20" fmla="*/ 5730912 h 6121960"/>
              <a:gd name="connsiteX21" fmla="*/ 4289081 w 8636594"/>
              <a:gd name="connsiteY21" fmla="*/ 5703955 h 6121960"/>
              <a:gd name="connsiteX22" fmla="*/ 4323654 w 8636594"/>
              <a:gd name="connsiteY22" fmla="*/ 5676722 h 6121960"/>
              <a:gd name="connsiteX23" fmla="*/ 4357854 w 8636594"/>
              <a:gd name="connsiteY23" fmla="*/ 5649218 h 6121960"/>
              <a:gd name="connsiteX24" fmla="*/ 4391688 w 8636594"/>
              <a:gd name="connsiteY24" fmla="*/ 5621446 h 6121960"/>
              <a:gd name="connsiteX25" fmla="*/ 4425162 w 8636594"/>
              <a:gd name="connsiteY25" fmla="*/ 5593409 h 6121960"/>
              <a:gd name="connsiteX26" fmla="*/ 4458281 w 8636594"/>
              <a:gd name="connsiteY26" fmla="*/ 5565111 h 6121960"/>
              <a:gd name="connsiteX27" fmla="*/ 4491053 w 8636594"/>
              <a:gd name="connsiteY27" fmla="*/ 5536556 h 6121960"/>
              <a:gd name="connsiteX28" fmla="*/ 4523484 w 8636594"/>
              <a:gd name="connsiteY28" fmla="*/ 5507747 h 6121960"/>
              <a:gd name="connsiteX29" fmla="*/ 4555580 w 8636594"/>
              <a:gd name="connsiteY29" fmla="*/ 5478687 h 6121960"/>
              <a:gd name="connsiteX30" fmla="*/ 4587347 w 8636594"/>
              <a:gd name="connsiteY30" fmla="*/ 5449380 h 6121960"/>
              <a:gd name="connsiteX31" fmla="*/ 4618793 w 8636594"/>
              <a:gd name="connsiteY31" fmla="*/ 5419830 h 6121960"/>
              <a:gd name="connsiteX32" fmla="*/ 4649922 w 8636594"/>
              <a:gd name="connsiteY32" fmla="*/ 5390040 h 6121960"/>
              <a:gd name="connsiteX33" fmla="*/ 4680742 w 8636594"/>
              <a:gd name="connsiteY33" fmla="*/ 5360014 h 6121960"/>
              <a:gd name="connsiteX34" fmla="*/ 4711259 w 8636594"/>
              <a:gd name="connsiteY34" fmla="*/ 5329755 h 6121960"/>
              <a:gd name="connsiteX35" fmla="*/ 4741478 w 8636594"/>
              <a:gd name="connsiteY35" fmla="*/ 5299266 h 6121960"/>
              <a:gd name="connsiteX36" fmla="*/ 4771408 w 8636594"/>
              <a:gd name="connsiteY36" fmla="*/ 5268551 h 6121960"/>
              <a:gd name="connsiteX37" fmla="*/ 4801053 w 8636594"/>
              <a:gd name="connsiteY37" fmla="*/ 5237614 h 6121960"/>
              <a:gd name="connsiteX38" fmla="*/ 4830420 w 8636594"/>
              <a:gd name="connsiteY38" fmla="*/ 5206458 h 6121960"/>
              <a:gd name="connsiteX39" fmla="*/ 4859516 w 8636594"/>
              <a:gd name="connsiteY39" fmla="*/ 5175087 h 6121960"/>
              <a:gd name="connsiteX40" fmla="*/ 4888347 w 8636594"/>
              <a:gd name="connsiteY40" fmla="*/ 5143504 h 6121960"/>
              <a:gd name="connsiteX41" fmla="*/ 4916919 w 8636594"/>
              <a:gd name="connsiteY41" fmla="*/ 5111713 h 6121960"/>
              <a:gd name="connsiteX42" fmla="*/ 4945238 w 8636594"/>
              <a:gd name="connsiteY42" fmla="*/ 5079717 h 6121960"/>
              <a:gd name="connsiteX43" fmla="*/ 4973311 w 8636594"/>
              <a:gd name="connsiteY43" fmla="*/ 5047519 h 6121960"/>
              <a:gd name="connsiteX44" fmla="*/ 5001145 w 8636594"/>
              <a:gd name="connsiteY44" fmla="*/ 5015124 h 6121960"/>
              <a:gd name="connsiteX45" fmla="*/ 5028745 w 8636594"/>
              <a:gd name="connsiteY45" fmla="*/ 4982535 h 6121960"/>
              <a:gd name="connsiteX46" fmla="*/ 5056117 w 8636594"/>
              <a:gd name="connsiteY46" fmla="*/ 4949755 h 6121960"/>
              <a:gd name="connsiteX47" fmla="*/ 5083269 w 8636594"/>
              <a:gd name="connsiteY47" fmla="*/ 4916787 h 6121960"/>
              <a:gd name="connsiteX48" fmla="*/ 5110207 w 8636594"/>
              <a:gd name="connsiteY48" fmla="*/ 4883636 h 6121960"/>
              <a:gd name="connsiteX49" fmla="*/ 5136937 w 8636594"/>
              <a:gd name="connsiteY49" fmla="*/ 4850305 h 6121960"/>
              <a:gd name="connsiteX50" fmla="*/ 5163464 w 8636594"/>
              <a:gd name="connsiteY50" fmla="*/ 4816797 h 6121960"/>
              <a:gd name="connsiteX51" fmla="*/ 5215940 w 8636594"/>
              <a:gd name="connsiteY51" fmla="*/ 4749265 h 6121960"/>
              <a:gd name="connsiteX52" fmla="*/ 5267684 w 8636594"/>
              <a:gd name="connsiteY52" fmla="*/ 4681068 h 6121960"/>
              <a:gd name="connsiteX53" fmla="*/ 5318748 w 8636594"/>
              <a:gd name="connsiteY53" fmla="*/ 4612234 h 6121960"/>
              <a:gd name="connsiteX54" fmla="*/ 5369182 w 8636594"/>
              <a:gd name="connsiteY54" fmla="*/ 4542793 h 6121960"/>
              <a:gd name="connsiteX55" fmla="*/ 5419038 w 8636594"/>
              <a:gd name="connsiteY55" fmla="*/ 4472771 h 6121960"/>
              <a:gd name="connsiteX56" fmla="*/ 5468365 w 8636594"/>
              <a:gd name="connsiteY56" fmla="*/ 4402196 h 6121960"/>
              <a:gd name="connsiteX57" fmla="*/ 5517215 w 8636594"/>
              <a:gd name="connsiteY57" fmla="*/ 4331098 h 6121960"/>
              <a:gd name="connsiteX58" fmla="*/ 5565637 w 8636594"/>
              <a:gd name="connsiteY58" fmla="*/ 4259503 h 6121960"/>
              <a:gd name="connsiteX59" fmla="*/ 5613684 w 8636594"/>
              <a:gd name="connsiteY59" fmla="*/ 4187441 h 6121960"/>
              <a:gd name="connsiteX60" fmla="*/ 5685160 w 8636594"/>
              <a:gd name="connsiteY60" fmla="*/ 4078531 h 6121960"/>
              <a:gd name="connsiteX61" fmla="*/ 5756074 w 8636594"/>
              <a:gd name="connsiteY61" fmla="*/ 3968727 h 6121960"/>
              <a:gd name="connsiteX62" fmla="*/ 5873483 w 8636594"/>
              <a:gd name="connsiteY62" fmla="*/ 3783989 h 6121960"/>
              <a:gd name="connsiteX63" fmla="*/ 6203209 w 8636594"/>
              <a:gd name="connsiteY63" fmla="*/ 3258640 h 6121960"/>
              <a:gd name="connsiteX64" fmla="*/ 6299430 w 8636594"/>
              <a:gd name="connsiteY64" fmla="*/ 3107321 h 6121960"/>
              <a:gd name="connsiteX65" fmla="*/ 6372650 w 8636594"/>
              <a:gd name="connsiteY65" fmla="*/ 2993735 h 6121960"/>
              <a:gd name="connsiteX66" fmla="*/ 6453197 w 8636594"/>
              <a:gd name="connsiteY66" fmla="*/ 2869788 h 6121960"/>
              <a:gd name="connsiteX67" fmla="*/ 6564167 w 8636594"/>
              <a:gd name="connsiteY67" fmla="*/ 2696807 h 6121960"/>
              <a:gd name="connsiteX68" fmla="*/ 6976233 w 8636594"/>
              <a:gd name="connsiteY68" fmla="*/ 2045274 h 6121960"/>
              <a:gd name="connsiteX69" fmla="*/ 7086755 w 8636594"/>
              <a:gd name="connsiteY69" fmla="*/ 1872743 h 6121960"/>
              <a:gd name="connsiteX70" fmla="*/ 7170279 w 8636594"/>
              <a:gd name="connsiteY70" fmla="*/ 1744202 h 6121960"/>
              <a:gd name="connsiteX71" fmla="*/ 7226351 w 8636594"/>
              <a:gd name="connsiteY71" fmla="*/ 1659017 h 6121960"/>
              <a:gd name="connsiteX72" fmla="*/ 7282789 w 8636594"/>
              <a:gd name="connsiteY72" fmla="*/ 1574303 h 6121960"/>
              <a:gd name="connsiteX73" fmla="*/ 7339643 w 8636594"/>
              <a:gd name="connsiteY73" fmla="*/ 1490113 h 6121960"/>
              <a:gd name="connsiteX74" fmla="*/ 7396957 w 8636594"/>
              <a:gd name="connsiteY74" fmla="*/ 1406503 h 6121960"/>
              <a:gd name="connsiteX75" fmla="*/ 7454781 w 8636594"/>
              <a:gd name="connsiteY75" fmla="*/ 1323526 h 6121960"/>
              <a:gd name="connsiteX76" fmla="*/ 7513161 w 8636594"/>
              <a:gd name="connsiteY76" fmla="*/ 1241237 h 6121960"/>
              <a:gd name="connsiteX77" fmla="*/ 7572144 w 8636594"/>
              <a:gd name="connsiteY77" fmla="*/ 1159689 h 6121960"/>
              <a:gd name="connsiteX78" fmla="*/ 7601877 w 8636594"/>
              <a:gd name="connsiteY78" fmla="*/ 1119210 h 6121960"/>
              <a:gd name="connsiteX79" fmla="*/ 7631779 w 8636594"/>
              <a:gd name="connsiteY79" fmla="*/ 1078937 h 6121960"/>
              <a:gd name="connsiteX80" fmla="*/ 7661855 w 8636594"/>
              <a:gd name="connsiteY80" fmla="*/ 1038876 h 6121960"/>
              <a:gd name="connsiteX81" fmla="*/ 7692111 w 8636594"/>
              <a:gd name="connsiteY81" fmla="*/ 999035 h 6121960"/>
              <a:gd name="connsiteX82" fmla="*/ 7722554 w 8636594"/>
              <a:gd name="connsiteY82" fmla="*/ 959419 h 6121960"/>
              <a:gd name="connsiteX83" fmla="*/ 7753190 w 8636594"/>
              <a:gd name="connsiteY83" fmla="*/ 920037 h 6121960"/>
              <a:gd name="connsiteX84" fmla="*/ 7784023 w 8636594"/>
              <a:gd name="connsiteY84" fmla="*/ 880894 h 6121960"/>
              <a:gd name="connsiteX85" fmla="*/ 7815061 w 8636594"/>
              <a:gd name="connsiteY85" fmla="*/ 841997 h 6121960"/>
              <a:gd name="connsiteX86" fmla="*/ 7846308 w 8636594"/>
              <a:gd name="connsiteY86" fmla="*/ 803354 h 6121960"/>
              <a:gd name="connsiteX87" fmla="*/ 7877772 w 8636594"/>
              <a:gd name="connsiteY87" fmla="*/ 764970 h 6121960"/>
              <a:gd name="connsiteX88" fmla="*/ 7909458 w 8636594"/>
              <a:gd name="connsiteY88" fmla="*/ 726853 h 6121960"/>
              <a:gd name="connsiteX89" fmla="*/ 7941371 w 8636594"/>
              <a:gd name="connsiteY89" fmla="*/ 689010 h 6121960"/>
              <a:gd name="connsiteX90" fmla="*/ 7973518 w 8636594"/>
              <a:gd name="connsiteY90" fmla="*/ 651447 h 6121960"/>
              <a:gd name="connsiteX91" fmla="*/ 8005905 w 8636594"/>
              <a:gd name="connsiteY91" fmla="*/ 614171 h 6121960"/>
              <a:gd name="connsiteX92" fmla="*/ 8038538 w 8636594"/>
              <a:gd name="connsiteY92" fmla="*/ 577189 h 6121960"/>
              <a:gd name="connsiteX93" fmla="*/ 8071421 w 8636594"/>
              <a:gd name="connsiteY93" fmla="*/ 540507 h 6121960"/>
              <a:gd name="connsiteX94" fmla="*/ 8104563 w 8636594"/>
              <a:gd name="connsiteY94" fmla="*/ 504132 h 6121960"/>
              <a:gd name="connsiteX95" fmla="*/ 8137967 w 8636594"/>
              <a:gd name="connsiteY95" fmla="*/ 468072 h 6121960"/>
              <a:gd name="connsiteX96" fmla="*/ 8171641 w 8636594"/>
              <a:gd name="connsiteY96" fmla="*/ 432332 h 6121960"/>
              <a:gd name="connsiteX97" fmla="*/ 8205590 w 8636594"/>
              <a:gd name="connsiteY97" fmla="*/ 396920 h 6121960"/>
              <a:gd name="connsiteX98" fmla="*/ 8239820 w 8636594"/>
              <a:gd name="connsiteY98" fmla="*/ 361843 h 6121960"/>
              <a:gd name="connsiteX99" fmla="*/ 8274337 w 8636594"/>
              <a:gd name="connsiteY99" fmla="*/ 327107 h 6121960"/>
              <a:gd name="connsiteX100" fmla="*/ 8309147 w 8636594"/>
              <a:gd name="connsiteY100" fmla="*/ 292718 h 6121960"/>
              <a:gd name="connsiteX101" fmla="*/ 8344256 w 8636594"/>
              <a:gd name="connsiteY101" fmla="*/ 258685 h 6121960"/>
              <a:gd name="connsiteX102" fmla="*/ 8379669 w 8636594"/>
              <a:gd name="connsiteY102" fmla="*/ 225013 h 6121960"/>
              <a:gd name="connsiteX103" fmla="*/ 8415394 w 8636594"/>
              <a:gd name="connsiteY103" fmla="*/ 191709 h 6121960"/>
              <a:gd name="connsiteX104" fmla="*/ 8451434 w 8636594"/>
              <a:gd name="connsiteY104" fmla="*/ 158780 h 6121960"/>
              <a:gd name="connsiteX105" fmla="*/ 8487798 w 8636594"/>
              <a:gd name="connsiteY105" fmla="*/ 126233 h 6121960"/>
              <a:gd name="connsiteX106" fmla="*/ 8524489 w 8636594"/>
              <a:gd name="connsiteY106" fmla="*/ 94075 h 6121960"/>
              <a:gd name="connsiteX107" fmla="*/ 8561515 w 8636594"/>
              <a:gd name="connsiteY107" fmla="*/ 62312 h 6121960"/>
              <a:gd name="connsiteX108" fmla="*/ 8598881 w 8636594"/>
              <a:gd name="connsiteY108" fmla="*/ 30951 h 6121960"/>
              <a:gd name="connsiteX109" fmla="*/ 8636594 w 8636594"/>
              <a:gd name="connsiteY109" fmla="*/ 0 h 6121960"/>
              <a:gd name="connsiteX0" fmla="*/ 8636594 w 8636594"/>
              <a:gd name="connsiteY0" fmla="*/ 0 h 6121960"/>
              <a:gd name="connsiteX1" fmla="*/ 5293 w 8636594"/>
              <a:gd name="connsiteY1" fmla="*/ 0 h 6121960"/>
              <a:gd name="connsiteX2" fmla="*/ 0 w 8636594"/>
              <a:gd name="connsiteY2" fmla="*/ 5587843 h 6121960"/>
              <a:gd name="connsiteX3" fmla="*/ 3638142 w 8636594"/>
              <a:gd name="connsiteY3" fmla="*/ 6121960 h 6121960"/>
              <a:gd name="connsiteX4" fmla="*/ 3680024 w 8636594"/>
              <a:gd name="connsiteY4" fmla="*/ 6099881 h 6121960"/>
              <a:gd name="connsiteX5" fmla="*/ 3721426 w 8636594"/>
              <a:gd name="connsiteY5" fmla="*/ 6077471 h 6121960"/>
              <a:gd name="connsiteX6" fmla="*/ 3762353 w 8636594"/>
              <a:gd name="connsiteY6" fmla="*/ 6054733 h 6121960"/>
              <a:gd name="connsiteX7" fmla="*/ 3802812 w 8636594"/>
              <a:gd name="connsiteY7" fmla="*/ 6031671 h 6121960"/>
              <a:gd name="connsiteX8" fmla="*/ 3842810 w 8636594"/>
              <a:gd name="connsiteY8" fmla="*/ 6008288 h 6121960"/>
              <a:gd name="connsiteX9" fmla="*/ 3882352 w 8636594"/>
              <a:gd name="connsiteY9" fmla="*/ 5984588 h 6121960"/>
              <a:gd name="connsiteX10" fmla="*/ 3921445 w 8636594"/>
              <a:gd name="connsiteY10" fmla="*/ 5960574 h 6121960"/>
              <a:gd name="connsiteX11" fmla="*/ 3960096 w 8636594"/>
              <a:gd name="connsiteY11" fmla="*/ 5936250 h 6121960"/>
              <a:gd name="connsiteX12" fmla="*/ 3998311 w 8636594"/>
              <a:gd name="connsiteY12" fmla="*/ 5911619 h 6121960"/>
              <a:gd name="connsiteX13" fmla="*/ 4036095 w 8636594"/>
              <a:gd name="connsiteY13" fmla="*/ 5886685 h 6121960"/>
              <a:gd name="connsiteX14" fmla="*/ 4073456 w 8636594"/>
              <a:gd name="connsiteY14" fmla="*/ 5861452 h 6121960"/>
              <a:gd name="connsiteX15" fmla="*/ 4110400 w 8636594"/>
              <a:gd name="connsiteY15" fmla="*/ 5835922 h 6121960"/>
              <a:gd name="connsiteX16" fmla="*/ 4146933 w 8636594"/>
              <a:gd name="connsiteY16" fmla="*/ 5810100 h 6121960"/>
              <a:gd name="connsiteX17" fmla="*/ 4183061 w 8636594"/>
              <a:gd name="connsiteY17" fmla="*/ 5783988 h 6121960"/>
              <a:gd name="connsiteX18" fmla="*/ 4218791 w 8636594"/>
              <a:gd name="connsiteY18" fmla="*/ 5757591 h 6121960"/>
              <a:gd name="connsiteX19" fmla="*/ 4254129 w 8636594"/>
              <a:gd name="connsiteY19" fmla="*/ 5730912 h 6121960"/>
              <a:gd name="connsiteX20" fmla="*/ 4289081 w 8636594"/>
              <a:gd name="connsiteY20" fmla="*/ 5703955 h 6121960"/>
              <a:gd name="connsiteX21" fmla="*/ 4323654 w 8636594"/>
              <a:gd name="connsiteY21" fmla="*/ 5676722 h 6121960"/>
              <a:gd name="connsiteX22" fmla="*/ 4357854 w 8636594"/>
              <a:gd name="connsiteY22" fmla="*/ 5649218 h 6121960"/>
              <a:gd name="connsiteX23" fmla="*/ 4391688 w 8636594"/>
              <a:gd name="connsiteY23" fmla="*/ 5621446 h 6121960"/>
              <a:gd name="connsiteX24" fmla="*/ 4425162 w 8636594"/>
              <a:gd name="connsiteY24" fmla="*/ 5593409 h 6121960"/>
              <a:gd name="connsiteX25" fmla="*/ 4458281 w 8636594"/>
              <a:gd name="connsiteY25" fmla="*/ 5565111 h 6121960"/>
              <a:gd name="connsiteX26" fmla="*/ 4491053 w 8636594"/>
              <a:gd name="connsiteY26" fmla="*/ 5536556 h 6121960"/>
              <a:gd name="connsiteX27" fmla="*/ 4523484 w 8636594"/>
              <a:gd name="connsiteY27" fmla="*/ 5507747 h 6121960"/>
              <a:gd name="connsiteX28" fmla="*/ 4555580 w 8636594"/>
              <a:gd name="connsiteY28" fmla="*/ 5478687 h 6121960"/>
              <a:gd name="connsiteX29" fmla="*/ 4587347 w 8636594"/>
              <a:gd name="connsiteY29" fmla="*/ 5449380 h 6121960"/>
              <a:gd name="connsiteX30" fmla="*/ 4618793 w 8636594"/>
              <a:gd name="connsiteY30" fmla="*/ 5419830 h 6121960"/>
              <a:gd name="connsiteX31" fmla="*/ 4649922 w 8636594"/>
              <a:gd name="connsiteY31" fmla="*/ 5390040 h 6121960"/>
              <a:gd name="connsiteX32" fmla="*/ 4680742 w 8636594"/>
              <a:gd name="connsiteY32" fmla="*/ 5360014 h 6121960"/>
              <a:gd name="connsiteX33" fmla="*/ 4711259 w 8636594"/>
              <a:gd name="connsiteY33" fmla="*/ 5329755 h 6121960"/>
              <a:gd name="connsiteX34" fmla="*/ 4741478 w 8636594"/>
              <a:gd name="connsiteY34" fmla="*/ 5299266 h 6121960"/>
              <a:gd name="connsiteX35" fmla="*/ 4771408 w 8636594"/>
              <a:gd name="connsiteY35" fmla="*/ 5268551 h 6121960"/>
              <a:gd name="connsiteX36" fmla="*/ 4801053 w 8636594"/>
              <a:gd name="connsiteY36" fmla="*/ 5237614 h 6121960"/>
              <a:gd name="connsiteX37" fmla="*/ 4830420 w 8636594"/>
              <a:gd name="connsiteY37" fmla="*/ 5206458 h 6121960"/>
              <a:gd name="connsiteX38" fmla="*/ 4859516 w 8636594"/>
              <a:gd name="connsiteY38" fmla="*/ 5175087 h 6121960"/>
              <a:gd name="connsiteX39" fmla="*/ 4888347 w 8636594"/>
              <a:gd name="connsiteY39" fmla="*/ 5143504 h 6121960"/>
              <a:gd name="connsiteX40" fmla="*/ 4916919 w 8636594"/>
              <a:gd name="connsiteY40" fmla="*/ 5111713 h 6121960"/>
              <a:gd name="connsiteX41" fmla="*/ 4945238 w 8636594"/>
              <a:gd name="connsiteY41" fmla="*/ 5079717 h 6121960"/>
              <a:gd name="connsiteX42" fmla="*/ 4973311 w 8636594"/>
              <a:gd name="connsiteY42" fmla="*/ 5047519 h 6121960"/>
              <a:gd name="connsiteX43" fmla="*/ 5001145 w 8636594"/>
              <a:gd name="connsiteY43" fmla="*/ 5015124 h 6121960"/>
              <a:gd name="connsiteX44" fmla="*/ 5028745 w 8636594"/>
              <a:gd name="connsiteY44" fmla="*/ 4982535 h 6121960"/>
              <a:gd name="connsiteX45" fmla="*/ 5056117 w 8636594"/>
              <a:gd name="connsiteY45" fmla="*/ 4949755 h 6121960"/>
              <a:gd name="connsiteX46" fmla="*/ 5083269 w 8636594"/>
              <a:gd name="connsiteY46" fmla="*/ 4916787 h 6121960"/>
              <a:gd name="connsiteX47" fmla="*/ 5110207 w 8636594"/>
              <a:gd name="connsiteY47" fmla="*/ 4883636 h 6121960"/>
              <a:gd name="connsiteX48" fmla="*/ 5136937 w 8636594"/>
              <a:gd name="connsiteY48" fmla="*/ 4850305 h 6121960"/>
              <a:gd name="connsiteX49" fmla="*/ 5163464 w 8636594"/>
              <a:gd name="connsiteY49" fmla="*/ 4816797 h 6121960"/>
              <a:gd name="connsiteX50" fmla="*/ 5215940 w 8636594"/>
              <a:gd name="connsiteY50" fmla="*/ 4749265 h 6121960"/>
              <a:gd name="connsiteX51" fmla="*/ 5267684 w 8636594"/>
              <a:gd name="connsiteY51" fmla="*/ 4681068 h 6121960"/>
              <a:gd name="connsiteX52" fmla="*/ 5318748 w 8636594"/>
              <a:gd name="connsiteY52" fmla="*/ 4612234 h 6121960"/>
              <a:gd name="connsiteX53" fmla="*/ 5369182 w 8636594"/>
              <a:gd name="connsiteY53" fmla="*/ 4542793 h 6121960"/>
              <a:gd name="connsiteX54" fmla="*/ 5419038 w 8636594"/>
              <a:gd name="connsiteY54" fmla="*/ 4472771 h 6121960"/>
              <a:gd name="connsiteX55" fmla="*/ 5468365 w 8636594"/>
              <a:gd name="connsiteY55" fmla="*/ 4402196 h 6121960"/>
              <a:gd name="connsiteX56" fmla="*/ 5517215 w 8636594"/>
              <a:gd name="connsiteY56" fmla="*/ 4331098 h 6121960"/>
              <a:gd name="connsiteX57" fmla="*/ 5565637 w 8636594"/>
              <a:gd name="connsiteY57" fmla="*/ 4259503 h 6121960"/>
              <a:gd name="connsiteX58" fmla="*/ 5613684 w 8636594"/>
              <a:gd name="connsiteY58" fmla="*/ 4187441 h 6121960"/>
              <a:gd name="connsiteX59" fmla="*/ 5685160 w 8636594"/>
              <a:gd name="connsiteY59" fmla="*/ 4078531 h 6121960"/>
              <a:gd name="connsiteX60" fmla="*/ 5756074 w 8636594"/>
              <a:gd name="connsiteY60" fmla="*/ 3968727 h 6121960"/>
              <a:gd name="connsiteX61" fmla="*/ 5873483 w 8636594"/>
              <a:gd name="connsiteY61" fmla="*/ 3783989 h 6121960"/>
              <a:gd name="connsiteX62" fmla="*/ 6203209 w 8636594"/>
              <a:gd name="connsiteY62" fmla="*/ 3258640 h 6121960"/>
              <a:gd name="connsiteX63" fmla="*/ 6299430 w 8636594"/>
              <a:gd name="connsiteY63" fmla="*/ 3107321 h 6121960"/>
              <a:gd name="connsiteX64" fmla="*/ 6372650 w 8636594"/>
              <a:gd name="connsiteY64" fmla="*/ 2993735 h 6121960"/>
              <a:gd name="connsiteX65" fmla="*/ 6453197 w 8636594"/>
              <a:gd name="connsiteY65" fmla="*/ 2869788 h 6121960"/>
              <a:gd name="connsiteX66" fmla="*/ 6564167 w 8636594"/>
              <a:gd name="connsiteY66" fmla="*/ 2696807 h 6121960"/>
              <a:gd name="connsiteX67" fmla="*/ 6976233 w 8636594"/>
              <a:gd name="connsiteY67" fmla="*/ 2045274 h 6121960"/>
              <a:gd name="connsiteX68" fmla="*/ 7086755 w 8636594"/>
              <a:gd name="connsiteY68" fmla="*/ 1872743 h 6121960"/>
              <a:gd name="connsiteX69" fmla="*/ 7170279 w 8636594"/>
              <a:gd name="connsiteY69" fmla="*/ 1744202 h 6121960"/>
              <a:gd name="connsiteX70" fmla="*/ 7226351 w 8636594"/>
              <a:gd name="connsiteY70" fmla="*/ 1659017 h 6121960"/>
              <a:gd name="connsiteX71" fmla="*/ 7282789 w 8636594"/>
              <a:gd name="connsiteY71" fmla="*/ 1574303 h 6121960"/>
              <a:gd name="connsiteX72" fmla="*/ 7339643 w 8636594"/>
              <a:gd name="connsiteY72" fmla="*/ 1490113 h 6121960"/>
              <a:gd name="connsiteX73" fmla="*/ 7396957 w 8636594"/>
              <a:gd name="connsiteY73" fmla="*/ 1406503 h 6121960"/>
              <a:gd name="connsiteX74" fmla="*/ 7454781 w 8636594"/>
              <a:gd name="connsiteY74" fmla="*/ 1323526 h 6121960"/>
              <a:gd name="connsiteX75" fmla="*/ 7513161 w 8636594"/>
              <a:gd name="connsiteY75" fmla="*/ 1241237 h 6121960"/>
              <a:gd name="connsiteX76" fmla="*/ 7572144 w 8636594"/>
              <a:gd name="connsiteY76" fmla="*/ 1159689 h 6121960"/>
              <a:gd name="connsiteX77" fmla="*/ 7601877 w 8636594"/>
              <a:gd name="connsiteY77" fmla="*/ 1119210 h 6121960"/>
              <a:gd name="connsiteX78" fmla="*/ 7631779 w 8636594"/>
              <a:gd name="connsiteY78" fmla="*/ 1078937 h 6121960"/>
              <a:gd name="connsiteX79" fmla="*/ 7661855 w 8636594"/>
              <a:gd name="connsiteY79" fmla="*/ 1038876 h 6121960"/>
              <a:gd name="connsiteX80" fmla="*/ 7692111 w 8636594"/>
              <a:gd name="connsiteY80" fmla="*/ 999035 h 6121960"/>
              <a:gd name="connsiteX81" fmla="*/ 7722554 w 8636594"/>
              <a:gd name="connsiteY81" fmla="*/ 959419 h 6121960"/>
              <a:gd name="connsiteX82" fmla="*/ 7753190 w 8636594"/>
              <a:gd name="connsiteY82" fmla="*/ 920037 h 6121960"/>
              <a:gd name="connsiteX83" fmla="*/ 7784023 w 8636594"/>
              <a:gd name="connsiteY83" fmla="*/ 880894 h 6121960"/>
              <a:gd name="connsiteX84" fmla="*/ 7815061 w 8636594"/>
              <a:gd name="connsiteY84" fmla="*/ 841997 h 6121960"/>
              <a:gd name="connsiteX85" fmla="*/ 7846308 w 8636594"/>
              <a:gd name="connsiteY85" fmla="*/ 803354 h 6121960"/>
              <a:gd name="connsiteX86" fmla="*/ 7877772 w 8636594"/>
              <a:gd name="connsiteY86" fmla="*/ 764970 h 6121960"/>
              <a:gd name="connsiteX87" fmla="*/ 7909458 w 8636594"/>
              <a:gd name="connsiteY87" fmla="*/ 726853 h 6121960"/>
              <a:gd name="connsiteX88" fmla="*/ 7941371 w 8636594"/>
              <a:gd name="connsiteY88" fmla="*/ 689010 h 6121960"/>
              <a:gd name="connsiteX89" fmla="*/ 7973518 w 8636594"/>
              <a:gd name="connsiteY89" fmla="*/ 651447 h 6121960"/>
              <a:gd name="connsiteX90" fmla="*/ 8005905 w 8636594"/>
              <a:gd name="connsiteY90" fmla="*/ 614171 h 6121960"/>
              <a:gd name="connsiteX91" fmla="*/ 8038538 w 8636594"/>
              <a:gd name="connsiteY91" fmla="*/ 577189 h 6121960"/>
              <a:gd name="connsiteX92" fmla="*/ 8071421 w 8636594"/>
              <a:gd name="connsiteY92" fmla="*/ 540507 h 6121960"/>
              <a:gd name="connsiteX93" fmla="*/ 8104563 w 8636594"/>
              <a:gd name="connsiteY93" fmla="*/ 504132 h 6121960"/>
              <a:gd name="connsiteX94" fmla="*/ 8137967 w 8636594"/>
              <a:gd name="connsiteY94" fmla="*/ 468072 h 6121960"/>
              <a:gd name="connsiteX95" fmla="*/ 8171641 w 8636594"/>
              <a:gd name="connsiteY95" fmla="*/ 432332 h 6121960"/>
              <a:gd name="connsiteX96" fmla="*/ 8205590 w 8636594"/>
              <a:gd name="connsiteY96" fmla="*/ 396920 h 6121960"/>
              <a:gd name="connsiteX97" fmla="*/ 8239820 w 8636594"/>
              <a:gd name="connsiteY97" fmla="*/ 361843 h 6121960"/>
              <a:gd name="connsiteX98" fmla="*/ 8274337 w 8636594"/>
              <a:gd name="connsiteY98" fmla="*/ 327107 h 6121960"/>
              <a:gd name="connsiteX99" fmla="*/ 8309147 w 8636594"/>
              <a:gd name="connsiteY99" fmla="*/ 292718 h 6121960"/>
              <a:gd name="connsiteX100" fmla="*/ 8344256 w 8636594"/>
              <a:gd name="connsiteY100" fmla="*/ 258685 h 6121960"/>
              <a:gd name="connsiteX101" fmla="*/ 8379669 w 8636594"/>
              <a:gd name="connsiteY101" fmla="*/ 225013 h 6121960"/>
              <a:gd name="connsiteX102" fmla="*/ 8415394 w 8636594"/>
              <a:gd name="connsiteY102" fmla="*/ 191709 h 6121960"/>
              <a:gd name="connsiteX103" fmla="*/ 8451434 w 8636594"/>
              <a:gd name="connsiteY103" fmla="*/ 158780 h 6121960"/>
              <a:gd name="connsiteX104" fmla="*/ 8487798 w 8636594"/>
              <a:gd name="connsiteY104" fmla="*/ 126233 h 6121960"/>
              <a:gd name="connsiteX105" fmla="*/ 8524489 w 8636594"/>
              <a:gd name="connsiteY105" fmla="*/ 94075 h 6121960"/>
              <a:gd name="connsiteX106" fmla="*/ 8561515 w 8636594"/>
              <a:gd name="connsiteY106" fmla="*/ 62312 h 6121960"/>
              <a:gd name="connsiteX107" fmla="*/ 8598881 w 8636594"/>
              <a:gd name="connsiteY107" fmla="*/ 30951 h 6121960"/>
              <a:gd name="connsiteX108" fmla="*/ 8636594 w 8636594"/>
              <a:gd name="connsiteY108" fmla="*/ 0 h 6121960"/>
              <a:gd name="connsiteX0" fmla="*/ 8636594 w 8636594"/>
              <a:gd name="connsiteY0" fmla="*/ 0 h 6099881"/>
              <a:gd name="connsiteX1" fmla="*/ 5293 w 8636594"/>
              <a:gd name="connsiteY1" fmla="*/ 0 h 6099881"/>
              <a:gd name="connsiteX2" fmla="*/ 0 w 8636594"/>
              <a:gd name="connsiteY2" fmla="*/ 5587843 h 6099881"/>
              <a:gd name="connsiteX3" fmla="*/ 3680024 w 8636594"/>
              <a:gd name="connsiteY3" fmla="*/ 6099881 h 6099881"/>
              <a:gd name="connsiteX4" fmla="*/ 3721426 w 8636594"/>
              <a:gd name="connsiteY4" fmla="*/ 6077471 h 6099881"/>
              <a:gd name="connsiteX5" fmla="*/ 3762353 w 8636594"/>
              <a:gd name="connsiteY5" fmla="*/ 6054733 h 6099881"/>
              <a:gd name="connsiteX6" fmla="*/ 3802812 w 8636594"/>
              <a:gd name="connsiteY6" fmla="*/ 6031671 h 6099881"/>
              <a:gd name="connsiteX7" fmla="*/ 3842810 w 8636594"/>
              <a:gd name="connsiteY7" fmla="*/ 6008288 h 6099881"/>
              <a:gd name="connsiteX8" fmla="*/ 3882352 w 8636594"/>
              <a:gd name="connsiteY8" fmla="*/ 5984588 h 6099881"/>
              <a:gd name="connsiteX9" fmla="*/ 3921445 w 8636594"/>
              <a:gd name="connsiteY9" fmla="*/ 5960574 h 6099881"/>
              <a:gd name="connsiteX10" fmla="*/ 3960096 w 8636594"/>
              <a:gd name="connsiteY10" fmla="*/ 5936250 h 6099881"/>
              <a:gd name="connsiteX11" fmla="*/ 3998311 w 8636594"/>
              <a:gd name="connsiteY11" fmla="*/ 5911619 h 6099881"/>
              <a:gd name="connsiteX12" fmla="*/ 4036095 w 8636594"/>
              <a:gd name="connsiteY12" fmla="*/ 5886685 h 6099881"/>
              <a:gd name="connsiteX13" fmla="*/ 4073456 w 8636594"/>
              <a:gd name="connsiteY13" fmla="*/ 5861452 h 6099881"/>
              <a:gd name="connsiteX14" fmla="*/ 4110400 w 8636594"/>
              <a:gd name="connsiteY14" fmla="*/ 5835922 h 6099881"/>
              <a:gd name="connsiteX15" fmla="*/ 4146933 w 8636594"/>
              <a:gd name="connsiteY15" fmla="*/ 5810100 h 6099881"/>
              <a:gd name="connsiteX16" fmla="*/ 4183061 w 8636594"/>
              <a:gd name="connsiteY16" fmla="*/ 5783988 h 6099881"/>
              <a:gd name="connsiteX17" fmla="*/ 4218791 w 8636594"/>
              <a:gd name="connsiteY17" fmla="*/ 5757591 h 6099881"/>
              <a:gd name="connsiteX18" fmla="*/ 4254129 w 8636594"/>
              <a:gd name="connsiteY18" fmla="*/ 5730912 h 6099881"/>
              <a:gd name="connsiteX19" fmla="*/ 4289081 w 8636594"/>
              <a:gd name="connsiteY19" fmla="*/ 5703955 h 6099881"/>
              <a:gd name="connsiteX20" fmla="*/ 4323654 w 8636594"/>
              <a:gd name="connsiteY20" fmla="*/ 5676722 h 6099881"/>
              <a:gd name="connsiteX21" fmla="*/ 4357854 w 8636594"/>
              <a:gd name="connsiteY21" fmla="*/ 5649218 h 6099881"/>
              <a:gd name="connsiteX22" fmla="*/ 4391688 w 8636594"/>
              <a:gd name="connsiteY22" fmla="*/ 5621446 h 6099881"/>
              <a:gd name="connsiteX23" fmla="*/ 4425162 w 8636594"/>
              <a:gd name="connsiteY23" fmla="*/ 5593409 h 6099881"/>
              <a:gd name="connsiteX24" fmla="*/ 4458281 w 8636594"/>
              <a:gd name="connsiteY24" fmla="*/ 5565111 h 6099881"/>
              <a:gd name="connsiteX25" fmla="*/ 4491053 w 8636594"/>
              <a:gd name="connsiteY25" fmla="*/ 5536556 h 6099881"/>
              <a:gd name="connsiteX26" fmla="*/ 4523484 w 8636594"/>
              <a:gd name="connsiteY26" fmla="*/ 5507747 h 6099881"/>
              <a:gd name="connsiteX27" fmla="*/ 4555580 w 8636594"/>
              <a:gd name="connsiteY27" fmla="*/ 5478687 h 6099881"/>
              <a:gd name="connsiteX28" fmla="*/ 4587347 w 8636594"/>
              <a:gd name="connsiteY28" fmla="*/ 5449380 h 6099881"/>
              <a:gd name="connsiteX29" fmla="*/ 4618793 w 8636594"/>
              <a:gd name="connsiteY29" fmla="*/ 5419830 h 6099881"/>
              <a:gd name="connsiteX30" fmla="*/ 4649922 w 8636594"/>
              <a:gd name="connsiteY30" fmla="*/ 5390040 h 6099881"/>
              <a:gd name="connsiteX31" fmla="*/ 4680742 w 8636594"/>
              <a:gd name="connsiteY31" fmla="*/ 5360014 h 6099881"/>
              <a:gd name="connsiteX32" fmla="*/ 4711259 w 8636594"/>
              <a:gd name="connsiteY32" fmla="*/ 5329755 h 6099881"/>
              <a:gd name="connsiteX33" fmla="*/ 4741478 w 8636594"/>
              <a:gd name="connsiteY33" fmla="*/ 5299266 h 6099881"/>
              <a:gd name="connsiteX34" fmla="*/ 4771408 w 8636594"/>
              <a:gd name="connsiteY34" fmla="*/ 5268551 h 6099881"/>
              <a:gd name="connsiteX35" fmla="*/ 4801053 w 8636594"/>
              <a:gd name="connsiteY35" fmla="*/ 5237614 h 6099881"/>
              <a:gd name="connsiteX36" fmla="*/ 4830420 w 8636594"/>
              <a:gd name="connsiteY36" fmla="*/ 5206458 h 6099881"/>
              <a:gd name="connsiteX37" fmla="*/ 4859516 w 8636594"/>
              <a:gd name="connsiteY37" fmla="*/ 5175087 h 6099881"/>
              <a:gd name="connsiteX38" fmla="*/ 4888347 w 8636594"/>
              <a:gd name="connsiteY38" fmla="*/ 5143504 h 6099881"/>
              <a:gd name="connsiteX39" fmla="*/ 4916919 w 8636594"/>
              <a:gd name="connsiteY39" fmla="*/ 5111713 h 6099881"/>
              <a:gd name="connsiteX40" fmla="*/ 4945238 w 8636594"/>
              <a:gd name="connsiteY40" fmla="*/ 5079717 h 6099881"/>
              <a:gd name="connsiteX41" fmla="*/ 4973311 w 8636594"/>
              <a:gd name="connsiteY41" fmla="*/ 5047519 h 6099881"/>
              <a:gd name="connsiteX42" fmla="*/ 5001145 w 8636594"/>
              <a:gd name="connsiteY42" fmla="*/ 5015124 h 6099881"/>
              <a:gd name="connsiteX43" fmla="*/ 5028745 w 8636594"/>
              <a:gd name="connsiteY43" fmla="*/ 4982535 h 6099881"/>
              <a:gd name="connsiteX44" fmla="*/ 5056117 w 8636594"/>
              <a:gd name="connsiteY44" fmla="*/ 4949755 h 6099881"/>
              <a:gd name="connsiteX45" fmla="*/ 5083269 w 8636594"/>
              <a:gd name="connsiteY45" fmla="*/ 4916787 h 6099881"/>
              <a:gd name="connsiteX46" fmla="*/ 5110207 w 8636594"/>
              <a:gd name="connsiteY46" fmla="*/ 4883636 h 6099881"/>
              <a:gd name="connsiteX47" fmla="*/ 5136937 w 8636594"/>
              <a:gd name="connsiteY47" fmla="*/ 4850305 h 6099881"/>
              <a:gd name="connsiteX48" fmla="*/ 5163464 w 8636594"/>
              <a:gd name="connsiteY48" fmla="*/ 4816797 h 6099881"/>
              <a:gd name="connsiteX49" fmla="*/ 5215940 w 8636594"/>
              <a:gd name="connsiteY49" fmla="*/ 4749265 h 6099881"/>
              <a:gd name="connsiteX50" fmla="*/ 5267684 w 8636594"/>
              <a:gd name="connsiteY50" fmla="*/ 4681068 h 6099881"/>
              <a:gd name="connsiteX51" fmla="*/ 5318748 w 8636594"/>
              <a:gd name="connsiteY51" fmla="*/ 4612234 h 6099881"/>
              <a:gd name="connsiteX52" fmla="*/ 5369182 w 8636594"/>
              <a:gd name="connsiteY52" fmla="*/ 4542793 h 6099881"/>
              <a:gd name="connsiteX53" fmla="*/ 5419038 w 8636594"/>
              <a:gd name="connsiteY53" fmla="*/ 4472771 h 6099881"/>
              <a:gd name="connsiteX54" fmla="*/ 5468365 w 8636594"/>
              <a:gd name="connsiteY54" fmla="*/ 4402196 h 6099881"/>
              <a:gd name="connsiteX55" fmla="*/ 5517215 w 8636594"/>
              <a:gd name="connsiteY55" fmla="*/ 4331098 h 6099881"/>
              <a:gd name="connsiteX56" fmla="*/ 5565637 w 8636594"/>
              <a:gd name="connsiteY56" fmla="*/ 4259503 h 6099881"/>
              <a:gd name="connsiteX57" fmla="*/ 5613684 w 8636594"/>
              <a:gd name="connsiteY57" fmla="*/ 4187441 h 6099881"/>
              <a:gd name="connsiteX58" fmla="*/ 5685160 w 8636594"/>
              <a:gd name="connsiteY58" fmla="*/ 4078531 h 6099881"/>
              <a:gd name="connsiteX59" fmla="*/ 5756074 w 8636594"/>
              <a:gd name="connsiteY59" fmla="*/ 3968727 h 6099881"/>
              <a:gd name="connsiteX60" fmla="*/ 5873483 w 8636594"/>
              <a:gd name="connsiteY60" fmla="*/ 3783989 h 6099881"/>
              <a:gd name="connsiteX61" fmla="*/ 6203209 w 8636594"/>
              <a:gd name="connsiteY61" fmla="*/ 3258640 h 6099881"/>
              <a:gd name="connsiteX62" fmla="*/ 6299430 w 8636594"/>
              <a:gd name="connsiteY62" fmla="*/ 3107321 h 6099881"/>
              <a:gd name="connsiteX63" fmla="*/ 6372650 w 8636594"/>
              <a:gd name="connsiteY63" fmla="*/ 2993735 h 6099881"/>
              <a:gd name="connsiteX64" fmla="*/ 6453197 w 8636594"/>
              <a:gd name="connsiteY64" fmla="*/ 2869788 h 6099881"/>
              <a:gd name="connsiteX65" fmla="*/ 6564167 w 8636594"/>
              <a:gd name="connsiteY65" fmla="*/ 2696807 h 6099881"/>
              <a:gd name="connsiteX66" fmla="*/ 6976233 w 8636594"/>
              <a:gd name="connsiteY66" fmla="*/ 2045274 h 6099881"/>
              <a:gd name="connsiteX67" fmla="*/ 7086755 w 8636594"/>
              <a:gd name="connsiteY67" fmla="*/ 1872743 h 6099881"/>
              <a:gd name="connsiteX68" fmla="*/ 7170279 w 8636594"/>
              <a:gd name="connsiteY68" fmla="*/ 1744202 h 6099881"/>
              <a:gd name="connsiteX69" fmla="*/ 7226351 w 8636594"/>
              <a:gd name="connsiteY69" fmla="*/ 1659017 h 6099881"/>
              <a:gd name="connsiteX70" fmla="*/ 7282789 w 8636594"/>
              <a:gd name="connsiteY70" fmla="*/ 1574303 h 6099881"/>
              <a:gd name="connsiteX71" fmla="*/ 7339643 w 8636594"/>
              <a:gd name="connsiteY71" fmla="*/ 1490113 h 6099881"/>
              <a:gd name="connsiteX72" fmla="*/ 7396957 w 8636594"/>
              <a:gd name="connsiteY72" fmla="*/ 1406503 h 6099881"/>
              <a:gd name="connsiteX73" fmla="*/ 7454781 w 8636594"/>
              <a:gd name="connsiteY73" fmla="*/ 1323526 h 6099881"/>
              <a:gd name="connsiteX74" fmla="*/ 7513161 w 8636594"/>
              <a:gd name="connsiteY74" fmla="*/ 1241237 h 6099881"/>
              <a:gd name="connsiteX75" fmla="*/ 7572144 w 8636594"/>
              <a:gd name="connsiteY75" fmla="*/ 1159689 h 6099881"/>
              <a:gd name="connsiteX76" fmla="*/ 7601877 w 8636594"/>
              <a:gd name="connsiteY76" fmla="*/ 1119210 h 6099881"/>
              <a:gd name="connsiteX77" fmla="*/ 7631779 w 8636594"/>
              <a:gd name="connsiteY77" fmla="*/ 1078937 h 6099881"/>
              <a:gd name="connsiteX78" fmla="*/ 7661855 w 8636594"/>
              <a:gd name="connsiteY78" fmla="*/ 1038876 h 6099881"/>
              <a:gd name="connsiteX79" fmla="*/ 7692111 w 8636594"/>
              <a:gd name="connsiteY79" fmla="*/ 999035 h 6099881"/>
              <a:gd name="connsiteX80" fmla="*/ 7722554 w 8636594"/>
              <a:gd name="connsiteY80" fmla="*/ 959419 h 6099881"/>
              <a:gd name="connsiteX81" fmla="*/ 7753190 w 8636594"/>
              <a:gd name="connsiteY81" fmla="*/ 920037 h 6099881"/>
              <a:gd name="connsiteX82" fmla="*/ 7784023 w 8636594"/>
              <a:gd name="connsiteY82" fmla="*/ 880894 h 6099881"/>
              <a:gd name="connsiteX83" fmla="*/ 7815061 w 8636594"/>
              <a:gd name="connsiteY83" fmla="*/ 841997 h 6099881"/>
              <a:gd name="connsiteX84" fmla="*/ 7846308 w 8636594"/>
              <a:gd name="connsiteY84" fmla="*/ 803354 h 6099881"/>
              <a:gd name="connsiteX85" fmla="*/ 7877772 w 8636594"/>
              <a:gd name="connsiteY85" fmla="*/ 764970 h 6099881"/>
              <a:gd name="connsiteX86" fmla="*/ 7909458 w 8636594"/>
              <a:gd name="connsiteY86" fmla="*/ 726853 h 6099881"/>
              <a:gd name="connsiteX87" fmla="*/ 7941371 w 8636594"/>
              <a:gd name="connsiteY87" fmla="*/ 689010 h 6099881"/>
              <a:gd name="connsiteX88" fmla="*/ 7973518 w 8636594"/>
              <a:gd name="connsiteY88" fmla="*/ 651447 h 6099881"/>
              <a:gd name="connsiteX89" fmla="*/ 8005905 w 8636594"/>
              <a:gd name="connsiteY89" fmla="*/ 614171 h 6099881"/>
              <a:gd name="connsiteX90" fmla="*/ 8038538 w 8636594"/>
              <a:gd name="connsiteY90" fmla="*/ 577189 h 6099881"/>
              <a:gd name="connsiteX91" fmla="*/ 8071421 w 8636594"/>
              <a:gd name="connsiteY91" fmla="*/ 540507 h 6099881"/>
              <a:gd name="connsiteX92" fmla="*/ 8104563 w 8636594"/>
              <a:gd name="connsiteY92" fmla="*/ 504132 h 6099881"/>
              <a:gd name="connsiteX93" fmla="*/ 8137967 w 8636594"/>
              <a:gd name="connsiteY93" fmla="*/ 468072 h 6099881"/>
              <a:gd name="connsiteX94" fmla="*/ 8171641 w 8636594"/>
              <a:gd name="connsiteY94" fmla="*/ 432332 h 6099881"/>
              <a:gd name="connsiteX95" fmla="*/ 8205590 w 8636594"/>
              <a:gd name="connsiteY95" fmla="*/ 396920 h 6099881"/>
              <a:gd name="connsiteX96" fmla="*/ 8239820 w 8636594"/>
              <a:gd name="connsiteY96" fmla="*/ 361843 h 6099881"/>
              <a:gd name="connsiteX97" fmla="*/ 8274337 w 8636594"/>
              <a:gd name="connsiteY97" fmla="*/ 327107 h 6099881"/>
              <a:gd name="connsiteX98" fmla="*/ 8309147 w 8636594"/>
              <a:gd name="connsiteY98" fmla="*/ 292718 h 6099881"/>
              <a:gd name="connsiteX99" fmla="*/ 8344256 w 8636594"/>
              <a:gd name="connsiteY99" fmla="*/ 258685 h 6099881"/>
              <a:gd name="connsiteX100" fmla="*/ 8379669 w 8636594"/>
              <a:gd name="connsiteY100" fmla="*/ 225013 h 6099881"/>
              <a:gd name="connsiteX101" fmla="*/ 8415394 w 8636594"/>
              <a:gd name="connsiteY101" fmla="*/ 191709 h 6099881"/>
              <a:gd name="connsiteX102" fmla="*/ 8451434 w 8636594"/>
              <a:gd name="connsiteY102" fmla="*/ 158780 h 6099881"/>
              <a:gd name="connsiteX103" fmla="*/ 8487798 w 8636594"/>
              <a:gd name="connsiteY103" fmla="*/ 126233 h 6099881"/>
              <a:gd name="connsiteX104" fmla="*/ 8524489 w 8636594"/>
              <a:gd name="connsiteY104" fmla="*/ 94075 h 6099881"/>
              <a:gd name="connsiteX105" fmla="*/ 8561515 w 8636594"/>
              <a:gd name="connsiteY105" fmla="*/ 62312 h 6099881"/>
              <a:gd name="connsiteX106" fmla="*/ 8598881 w 8636594"/>
              <a:gd name="connsiteY106" fmla="*/ 30951 h 6099881"/>
              <a:gd name="connsiteX107" fmla="*/ 8636594 w 8636594"/>
              <a:gd name="connsiteY107" fmla="*/ 0 h 6099881"/>
              <a:gd name="connsiteX0" fmla="*/ 8636594 w 8636594"/>
              <a:gd name="connsiteY0" fmla="*/ 0 h 6077471"/>
              <a:gd name="connsiteX1" fmla="*/ 5293 w 8636594"/>
              <a:gd name="connsiteY1" fmla="*/ 0 h 6077471"/>
              <a:gd name="connsiteX2" fmla="*/ 0 w 8636594"/>
              <a:gd name="connsiteY2" fmla="*/ 5587843 h 6077471"/>
              <a:gd name="connsiteX3" fmla="*/ 3721426 w 8636594"/>
              <a:gd name="connsiteY3" fmla="*/ 6077471 h 6077471"/>
              <a:gd name="connsiteX4" fmla="*/ 3762353 w 8636594"/>
              <a:gd name="connsiteY4" fmla="*/ 6054733 h 6077471"/>
              <a:gd name="connsiteX5" fmla="*/ 3802812 w 8636594"/>
              <a:gd name="connsiteY5" fmla="*/ 6031671 h 6077471"/>
              <a:gd name="connsiteX6" fmla="*/ 3842810 w 8636594"/>
              <a:gd name="connsiteY6" fmla="*/ 6008288 h 6077471"/>
              <a:gd name="connsiteX7" fmla="*/ 3882352 w 8636594"/>
              <a:gd name="connsiteY7" fmla="*/ 5984588 h 6077471"/>
              <a:gd name="connsiteX8" fmla="*/ 3921445 w 8636594"/>
              <a:gd name="connsiteY8" fmla="*/ 5960574 h 6077471"/>
              <a:gd name="connsiteX9" fmla="*/ 3960096 w 8636594"/>
              <a:gd name="connsiteY9" fmla="*/ 5936250 h 6077471"/>
              <a:gd name="connsiteX10" fmla="*/ 3998311 w 8636594"/>
              <a:gd name="connsiteY10" fmla="*/ 5911619 h 6077471"/>
              <a:gd name="connsiteX11" fmla="*/ 4036095 w 8636594"/>
              <a:gd name="connsiteY11" fmla="*/ 5886685 h 6077471"/>
              <a:gd name="connsiteX12" fmla="*/ 4073456 w 8636594"/>
              <a:gd name="connsiteY12" fmla="*/ 5861452 h 6077471"/>
              <a:gd name="connsiteX13" fmla="*/ 4110400 w 8636594"/>
              <a:gd name="connsiteY13" fmla="*/ 5835922 h 6077471"/>
              <a:gd name="connsiteX14" fmla="*/ 4146933 w 8636594"/>
              <a:gd name="connsiteY14" fmla="*/ 5810100 h 6077471"/>
              <a:gd name="connsiteX15" fmla="*/ 4183061 w 8636594"/>
              <a:gd name="connsiteY15" fmla="*/ 5783988 h 6077471"/>
              <a:gd name="connsiteX16" fmla="*/ 4218791 w 8636594"/>
              <a:gd name="connsiteY16" fmla="*/ 5757591 h 6077471"/>
              <a:gd name="connsiteX17" fmla="*/ 4254129 w 8636594"/>
              <a:gd name="connsiteY17" fmla="*/ 5730912 h 6077471"/>
              <a:gd name="connsiteX18" fmla="*/ 4289081 w 8636594"/>
              <a:gd name="connsiteY18" fmla="*/ 5703955 h 6077471"/>
              <a:gd name="connsiteX19" fmla="*/ 4323654 w 8636594"/>
              <a:gd name="connsiteY19" fmla="*/ 5676722 h 6077471"/>
              <a:gd name="connsiteX20" fmla="*/ 4357854 w 8636594"/>
              <a:gd name="connsiteY20" fmla="*/ 5649218 h 6077471"/>
              <a:gd name="connsiteX21" fmla="*/ 4391688 w 8636594"/>
              <a:gd name="connsiteY21" fmla="*/ 5621446 h 6077471"/>
              <a:gd name="connsiteX22" fmla="*/ 4425162 w 8636594"/>
              <a:gd name="connsiteY22" fmla="*/ 5593409 h 6077471"/>
              <a:gd name="connsiteX23" fmla="*/ 4458281 w 8636594"/>
              <a:gd name="connsiteY23" fmla="*/ 5565111 h 6077471"/>
              <a:gd name="connsiteX24" fmla="*/ 4491053 w 8636594"/>
              <a:gd name="connsiteY24" fmla="*/ 5536556 h 6077471"/>
              <a:gd name="connsiteX25" fmla="*/ 4523484 w 8636594"/>
              <a:gd name="connsiteY25" fmla="*/ 5507747 h 6077471"/>
              <a:gd name="connsiteX26" fmla="*/ 4555580 w 8636594"/>
              <a:gd name="connsiteY26" fmla="*/ 5478687 h 6077471"/>
              <a:gd name="connsiteX27" fmla="*/ 4587347 w 8636594"/>
              <a:gd name="connsiteY27" fmla="*/ 5449380 h 6077471"/>
              <a:gd name="connsiteX28" fmla="*/ 4618793 w 8636594"/>
              <a:gd name="connsiteY28" fmla="*/ 5419830 h 6077471"/>
              <a:gd name="connsiteX29" fmla="*/ 4649922 w 8636594"/>
              <a:gd name="connsiteY29" fmla="*/ 5390040 h 6077471"/>
              <a:gd name="connsiteX30" fmla="*/ 4680742 w 8636594"/>
              <a:gd name="connsiteY30" fmla="*/ 5360014 h 6077471"/>
              <a:gd name="connsiteX31" fmla="*/ 4711259 w 8636594"/>
              <a:gd name="connsiteY31" fmla="*/ 5329755 h 6077471"/>
              <a:gd name="connsiteX32" fmla="*/ 4741478 w 8636594"/>
              <a:gd name="connsiteY32" fmla="*/ 5299266 h 6077471"/>
              <a:gd name="connsiteX33" fmla="*/ 4771408 w 8636594"/>
              <a:gd name="connsiteY33" fmla="*/ 5268551 h 6077471"/>
              <a:gd name="connsiteX34" fmla="*/ 4801053 w 8636594"/>
              <a:gd name="connsiteY34" fmla="*/ 5237614 h 6077471"/>
              <a:gd name="connsiteX35" fmla="*/ 4830420 w 8636594"/>
              <a:gd name="connsiteY35" fmla="*/ 5206458 h 6077471"/>
              <a:gd name="connsiteX36" fmla="*/ 4859516 w 8636594"/>
              <a:gd name="connsiteY36" fmla="*/ 5175087 h 6077471"/>
              <a:gd name="connsiteX37" fmla="*/ 4888347 w 8636594"/>
              <a:gd name="connsiteY37" fmla="*/ 5143504 h 6077471"/>
              <a:gd name="connsiteX38" fmla="*/ 4916919 w 8636594"/>
              <a:gd name="connsiteY38" fmla="*/ 5111713 h 6077471"/>
              <a:gd name="connsiteX39" fmla="*/ 4945238 w 8636594"/>
              <a:gd name="connsiteY39" fmla="*/ 5079717 h 6077471"/>
              <a:gd name="connsiteX40" fmla="*/ 4973311 w 8636594"/>
              <a:gd name="connsiteY40" fmla="*/ 5047519 h 6077471"/>
              <a:gd name="connsiteX41" fmla="*/ 5001145 w 8636594"/>
              <a:gd name="connsiteY41" fmla="*/ 5015124 h 6077471"/>
              <a:gd name="connsiteX42" fmla="*/ 5028745 w 8636594"/>
              <a:gd name="connsiteY42" fmla="*/ 4982535 h 6077471"/>
              <a:gd name="connsiteX43" fmla="*/ 5056117 w 8636594"/>
              <a:gd name="connsiteY43" fmla="*/ 4949755 h 6077471"/>
              <a:gd name="connsiteX44" fmla="*/ 5083269 w 8636594"/>
              <a:gd name="connsiteY44" fmla="*/ 4916787 h 6077471"/>
              <a:gd name="connsiteX45" fmla="*/ 5110207 w 8636594"/>
              <a:gd name="connsiteY45" fmla="*/ 4883636 h 6077471"/>
              <a:gd name="connsiteX46" fmla="*/ 5136937 w 8636594"/>
              <a:gd name="connsiteY46" fmla="*/ 4850305 h 6077471"/>
              <a:gd name="connsiteX47" fmla="*/ 5163464 w 8636594"/>
              <a:gd name="connsiteY47" fmla="*/ 4816797 h 6077471"/>
              <a:gd name="connsiteX48" fmla="*/ 5215940 w 8636594"/>
              <a:gd name="connsiteY48" fmla="*/ 4749265 h 6077471"/>
              <a:gd name="connsiteX49" fmla="*/ 5267684 w 8636594"/>
              <a:gd name="connsiteY49" fmla="*/ 4681068 h 6077471"/>
              <a:gd name="connsiteX50" fmla="*/ 5318748 w 8636594"/>
              <a:gd name="connsiteY50" fmla="*/ 4612234 h 6077471"/>
              <a:gd name="connsiteX51" fmla="*/ 5369182 w 8636594"/>
              <a:gd name="connsiteY51" fmla="*/ 4542793 h 6077471"/>
              <a:gd name="connsiteX52" fmla="*/ 5419038 w 8636594"/>
              <a:gd name="connsiteY52" fmla="*/ 4472771 h 6077471"/>
              <a:gd name="connsiteX53" fmla="*/ 5468365 w 8636594"/>
              <a:gd name="connsiteY53" fmla="*/ 4402196 h 6077471"/>
              <a:gd name="connsiteX54" fmla="*/ 5517215 w 8636594"/>
              <a:gd name="connsiteY54" fmla="*/ 4331098 h 6077471"/>
              <a:gd name="connsiteX55" fmla="*/ 5565637 w 8636594"/>
              <a:gd name="connsiteY55" fmla="*/ 4259503 h 6077471"/>
              <a:gd name="connsiteX56" fmla="*/ 5613684 w 8636594"/>
              <a:gd name="connsiteY56" fmla="*/ 4187441 h 6077471"/>
              <a:gd name="connsiteX57" fmla="*/ 5685160 w 8636594"/>
              <a:gd name="connsiteY57" fmla="*/ 4078531 h 6077471"/>
              <a:gd name="connsiteX58" fmla="*/ 5756074 w 8636594"/>
              <a:gd name="connsiteY58" fmla="*/ 3968727 h 6077471"/>
              <a:gd name="connsiteX59" fmla="*/ 5873483 w 8636594"/>
              <a:gd name="connsiteY59" fmla="*/ 3783989 h 6077471"/>
              <a:gd name="connsiteX60" fmla="*/ 6203209 w 8636594"/>
              <a:gd name="connsiteY60" fmla="*/ 3258640 h 6077471"/>
              <a:gd name="connsiteX61" fmla="*/ 6299430 w 8636594"/>
              <a:gd name="connsiteY61" fmla="*/ 3107321 h 6077471"/>
              <a:gd name="connsiteX62" fmla="*/ 6372650 w 8636594"/>
              <a:gd name="connsiteY62" fmla="*/ 2993735 h 6077471"/>
              <a:gd name="connsiteX63" fmla="*/ 6453197 w 8636594"/>
              <a:gd name="connsiteY63" fmla="*/ 2869788 h 6077471"/>
              <a:gd name="connsiteX64" fmla="*/ 6564167 w 8636594"/>
              <a:gd name="connsiteY64" fmla="*/ 2696807 h 6077471"/>
              <a:gd name="connsiteX65" fmla="*/ 6976233 w 8636594"/>
              <a:gd name="connsiteY65" fmla="*/ 2045274 h 6077471"/>
              <a:gd name="connsiteX66" fmla="*/ 7086755 w 8636594"/>
              <a:gd name="connsiteY66" fmla="*/ 1872743 h 6077471"/>
              <a:gd name="connsiteX67" fmla="*/ 7170279 w 8636594"/>
              <a:gd name="connsiteY67" fmla="*/ 1744202 h 6077471"/>
              <a:gd name="connsiteX68" fmla="*/ 7226351 w 8636594"/>
              <a:gd name="connsiteY68" fmla="*/ 1659017 h 6077471"/>
              <a:gd name="connsiteX69" fmla="*/ 7282789 w 8636594"/>
              <a:gd name="connsiteY69" fmla="*/ 1574303 h 6077471"/>
              <a:gd name="connsiteX70" fmla="*/ 7339643 w 8636594"/>
              <a:gd name="connsiteY70" fmla="*/ 1490113 h 6077471"/>
              <a:gd name="connsiteX71" fmla="*/ 7396957 w 8636594"/>
              <a:gd name="connsiteY71" fmla="*/ 1406503 h 6077471"/>
              <a:gd name="connsiteX72" fmla="*/ 7454781 w 8636594"/>
              <a:gd name="connsiteY72" fmla="*/ 1323526 h 6077471"/>
              <a:gd name="connsiteX73" fmla="*/ 7513161 w 8636594"/>
              <a:gd name="connsiteY73" fmla="*/ 1241237 h 6077471"/>
              <a:gd name="connsiteX74" fmla="*/ 7572144 w 8636594"/>
              <a:gd name="connsiteY74" fmla="*/ 1159689 h 6077471"/>
              <a:gd name="connsiteX75" fmla="*/ 7601877 w 8636594"/>
              <a:gd name="connsiteY75" fmla="*/ 1119210 h 6077471"/>
              <a:gd name="connsiteX76" fmla="*/ 7631779 w 8636594"/>
              <a:gd name="connsiteY76" fmla="*/ 1078937 h 6077471"/>
              <a:gd name="connsiteX77" fmla="*/ 7661855 w 8636594"/>
              <a:gd name="connsiteY77" fmla="*/ 1038876 h 6077471"/>
              <a:gd name="connsiteX78" fmla="*/ 7692111 w 8636594"/>
              <a:gd name="connsiteY78" fmla="*/ 999035 h 6077471"/>
              <a:gd name="connsiteX79" fmla="*/ 7722554 w 8636594"/>
              <a:gd name="connsiteY79" fmla="*/ 959419 h 6077471"/>
              <a:gd name="connsiteX80" fmla="*/ 7753190 w 8636594"/>
              <a:gd name="connsiteY80" fmla="*/ 920037 h 6077471"/>
              <a:gd name="connsiteX81" fmla="*/ 7784023 w 8636594"/>
              <a:gd name="connsiteY81" fmla="*/ 880894 h 6077471"/>
              <a:gd name="connsiteX82" fmla="*/ 7815061 w 8636594"/>
              <a:gd name="connsiteY82" fmla="*/ 841997 h 6077471"/>
              <a:gd name="connsiteX83" fmla="*/ 7846308 w 8636594"/>
              <a:gd name="connsiteY83" fmla="*/ 803354 h 6077471"/>
              <a:gd name="connsiteX84" fmla="*/ 7877772 w 8636594"/>
              <a:gd name="connsiteY84" fmla="*/ 764970 h 6077471"/>
              <a:gd name="connsiteX85" fmla="*/ 7909458 w 8636594"/>
              <a:gd name="connsiteY85" fmla="*/ 726853 h 6077471"/>
              <a:gd name="connsiteX86" fmla="*/ 7941371 w 8636594"/>
              <a:gd name="connsiteY86" fmla="*/ 689010 h 6077471"/>
              <a:gd name="connsiteX87" fmla="*/ 7973518 w 8636594"/>
              <a:gd name="connsiteY87" fmla="*/ 651447 h 6077471"/>
              <a:gd name="connsiteX88" fmla="*/ 8005905 w 8636594"/>
              <a:gd name="connsiteY88" fmla="*/ 614171 h 6077471"/>
              <a:gd name="connsiteX89" fmla="*/ 8038538 w 8636594"/>
              <a:gd name="connsiteY89" fmla="*/ 577189 h 6077471"/>
              <a:gd name="connsiteX90" fmla="*/ 8071421 w 8636594"/>
              <a:gd name="connsiteY90" fmla="*/ 540507 h 6077471"/>
              <a:gd name="connsiteX91" fmla="*/ 8104563 w 8636594"/>
              <a:gd name="connsiteY91" fmla="*/ 504132 h 6077471"/>
              <a:gd name="connsiteX92" fmla="*/ 8137967 w 8636594"/>
              <a:gd name="connsiteY92" fmla="*/ 468072 h 6077471"/>
              <a:gd name="connsiteX93" fmla="*/ 8171641 w 8636594"/>
              <a:gd name="connsiteY93" fmla="*/ 432332 h 6077471"/>
              <a:gd name="connsiteX94" fmla="*/ 8205590 w 8636594"/>
              <a:gd name="connsiteY94" fmla="*/ 396920 h 6077471"/>
              <a:gd name="connsiteX95" fmla="*/ 8239820 w 8636594"/>
              <a:gd name="connsiteY95" fmla="*/ 361843 h 6077471"/>
              <a:gd name="connsiteX96" fmla="*/ 8274337 w 8636594"/>
              <a:gd name="connsiteY96" fmla="*/ 327107 h 6077471"/>
              <a:gd name="connsiteX97" fmla="*/ 8309147 w 8636594"/>
              <a:gd name="connsiteY97" fmla="*/ 292718 h 6077471"/>
              <a:gd name="connsiteX98" fmla="*/ 8344256 w 8636594"/>
              <a:gd name="connsiteY98" fmla="*/ 258685 h 6077471"/>
              <a:gd name="connsiteX99" fmla="*/ 8379669 w 8636594"/>
              <a:gd name="connsiteY99" fmla="*/ 225013 h 6077471"/>
              <a:gd name="connsiteX100" fmla="*/ 8415394 w 8636594"/>
              <a:gd name="connsiteY100" fmla="*/ 191709 h 6077471"/>
              <a:gd name="connsiteX101" fmla="*/ 8451434 w 8636594"/>
              <a:gd name="connsiteY101" fmla="*/ 158780 h 6077471"/>
              <a:gd name="connsiteX102" fmla="*/ 8487798 w 8636594"/>
              <a:gd name="connsiteY102" fmla="*/ 126233 h 6077471"/>
              <a:gd name="connsiteX103" fmla="*/ 8524489 w 8636594"/>
              <a:gd name="connsiteY103" fmla="*/ 94075 h 6077471"/>
              <a:gd name="connsiteX104" fmla="*/ 8561515 w 8636594"/>
              <a:gd name="connsiteY104" fmla="*/ 62312 h 6077471"/>
              <a:gd name="connsiteX105" fmla="*/ 8598881 w 8636594"/>
              <a:gd name="connsiteY105" fmla="*/ 30951 h 6077471"/>
              <a:gd name="connsiteX106" fmla="*/ 8636594 w 8636594"/>
              <a:gd name="connsiteY106" fmla="*/ 0 h 6077471"/>
              <a:gd name="connsiteX0" fmla="*/ 8636594 w 8636594"/>
              <a:gd name="connsiteY0" fmla="*/ 0 h 6054733"/>
              <a:gd name="connsiteX1" fmla="*/ 5293 w 8636594"/>
              <a:gd name="connsiteY1" fmla="*/ 0 h 6054733"/>
              <a:gd name="connsiteX2" fmla="*/ 0 w 8636594"/>
              <a:gd name="connsiteY2" fmla="*/ 5587843 h 6054733"/>
              <a:gd name="connsiteX3" fmla="*/ 3762353 w 8636594"/>
              <a:gd name="connsiteY3" fmla="*/ 6054733 h 6054733"/>
              <a:gd name="connsiteX4" fmla="*/ 3802812 w 8636594"/>
              <a:gd name="connsiteY4" fmla="*/ 6031671 h 6054733"/>
              <a:gd name="connsiteX5" fmla="*/ 3842810 w 8636594"/>
              <a:gd name="connsiteY5" fmla="*/ 6008288 h 6054733"/>
              <a:gd name="connsiteX6" fmla="*/ 3882352 w 8636594"/>
              <a:gd name="connsiteY6" fmla="*/ 5984588 h 6054733"/>
              <a:gd name="connsiteX7" fmla="*/ 3921445 w 8636594"/>
              <a:gd name="connsiteY7" fmla="*/ 5960574 h 6054733"/>
              <a:gd name="connsiteX8" fmla="*/ 3960096 w 8636594"/>
              <a:gd name="connsiteY8" fmla="*/ 5936250 h 6054733"/>
              <a:gd name="connsiteX9" fmla="*/ 3998311 w 8636594"/>
              <a:gd name="connsiteY9" fmla="*/ 5911619 h 6054733"/>
              <a:gd name="connsiteX10" fmla="*/ 4036095 w 8636594"/>
              <a:gd name="connsiteY10" fmla="*/ 5886685 h 6054733"/>
              <a:gd name="connsiteX11" fmla="*/ 4073456 w 8636594"/>
              <a:gd name="connsiteY11" fmla="*/ 5861452 h 6054733"/>
              <a:gd name="connsiteX12" fmla="*/ 4110400 w 8636594"/>
              <a:gd name="connsiteY12" fmla="*/ 5835922 h 6054733"/>
              <a:gd name="connsiteX13" fmla="*/ 4146933 w 8636594"/>
              <a:gd name="connsiteY13" fmla="*/ 5810100 h 6054733"/>
              <a:gd name="connsiteX14" fmla="*/ 4183061 w 8636594"/>
              <a:gd name="connsiteY14" fmla="*/ 5783988 h 6054733"/>
              <a:gd name="connsiteX15" fmla="*/ 4218791 w 8636594"/>
              <a:gd name="connsiteY15" fmla="*/ 5757591 h 6054733"/>
              <a:gd name="connsiteX16" fmla="*/ 4254129 w 8636594"/>
              <a:gd name="connsiteY16" fmla="*/ 5730912 h 6054733"/>
              <a:gd name="connsiteX17" fmla="*/ 4289081 w 8636594"/>
              <a:gd name="connsiteY17" fmla="*/ 5703955 h 6054733"/>
              <a:gd name="connsiteX18" fmla="*/ 4323654 w 8636594"/>
              <a:gd name="connsiteY18" fmla="*/ 5676722 h 6054733"/>
              <a:gd name="connsiteX19" fmla="*/ 4357854 w 8636594"/>
              <a:gd name="connsiteY19" fmla="*/ 5649218 h 6054733"/>
              <a:gd name="connsiteX20" fmla="*/ 4391688 w 8636594"/>
              <a:gd name="connsiteY20" fmla="*/ 5621446 h 6054733"/>
              <a:gd name="connsiteX21" fmla="*/ 4425162 w 8636594"/>
              <a:gd name="connsiteY21" fmla="*/ 5593409 h 6054733"/>
              <a:gd name="connsiteX22" fmla="*/ 4458281 w 8636594"/>
              <a:gd name="connsiteY22" fmla="*/ 5565111 h 6054733"/>
              <a:gd name="connsiteX23" fmla="*/ 4491053 w 8636594"/>
              <a:gd name="connsiteY23" fmla="*/ 5536556 h 6054733"/>
              <a:gd name="connsiteX24" fmla="*/ 4523484 w 8636594"/>
              <a:gd name="connsiteY24" fmla="*/ 5507747 h 6054733"/>
              <a:gd name="connsiteX25" fmla="*/ 4555580 w 8636594"/>
              <a:gd name="connsiteY25" fmla="*/ 5478687 h 6054733"/>
              <a:gd name="connsiteX26" fmla="*/ 4587347 w 8636594"/>
              <a:gd name="connsiteY26" fmla="*/ 5449380 h 6054733"/>
              <a:gd name="connsiteX27" fmla="*/ 4618793 w 8636594"/>
              <a:gd name="connsiteY27" fmla="*/ 5419830 h 6054733"/>
              <a:gd name="connsiteX28" fmla="*/ 4649922 w 8636594"/>
              <a:gd name="connsiteY28" fmla="*/ 5390040 h 6054733"/>
              <a:gd name="connsiteX29" fmla="*/ 4680742 w 8636594"/>
              <a:gd name="connsiteY29" fmla="*/ 5360014 h 6054733"/>
              <a:gd name="connsiteX30" fmla="*/ 4711259 w 8636594"/>
              <a:gd name="connsiteY30" fmla="*/ 5329755 h 6054733"/>
              <a:gd name="connsiteX31" fmla="*/ 4741478 w 8636594"/>
              <a:gd name="connsiteY31" fmla="*/ 5299266 h 6054733"/>
              <a:gd name="connsiteX32" fmla="*/ 4771408 w 8636594"/>
              <a:gd name="connsiteY32" fmla="*/ 5268551 h 6054733"/>
              <a:gd name="connsiteX33" fmla="*/ 4801053 w 8636594"/>
              <a:gd name="connsiteY33" fmla="*/ 5237614 h 6054733"/>
              <a:gd name="connsiteX34" fmla="*/ 4830420 w 8636594"/>
              <a:gd name="connsiteY34" fmla="*/ 5206458 h 6054733"/>
              <a:gd name="connsiteX35" fmla="*/ 4859516 w 8636594"/>
              <a:gd name="connsiteY35" fmla="*/ 5175087 h 6054733"/>
              <a:gd name="connsiteX36" fmla="*/ 4888347 w 8636594"/>
              <a:gd name="connsiteY36" fmla="*/ 5143504 h 6054733"/>
              <a:gd name="connsiteX37" fmla="*/ 4916919 w 8636594"/>
              <a:gd name="connsiteY37" fmla="*/ 5111713 h 6054733"/>
              <a:gd name="connsiteX38" fmla="*/ 4945238 w 8636594"/>
              <a:gd name="connsiteY38" fmla="*/ 5079717 h 6054733"/>
              <a:gd name="connsiteX39" fmla="*/ 4973311 w 8636594"/>
              <a:gd name="connsiteY39" fmla="*/ 5047519 h 6054733"/>
              <a:gd name="connsiteX40" fmla="*/ 5001145 w 8636594"/>
              <a:gd name="connsiteY40" fmla="*/ 5015124 h 6054733"/>
              <a:gd name="connsiteX41" fmla="*/ 5028745 w 8636594"/>
              <a:gd name="connsiteY41" fmla="*/ 4982535 h 6054733"/>
              <a:gd name="connsiteX42" fmla="*/ 5056117 w 8636594"/>
              <a:gd name="connsiteY42" fmla="*/ 4949755 h 6054733"/>
              <a:gd name="connsiteX43" fmla="*/ 5083269 w 8636594"/>
              <a:gd name="connsiteY43" fmla="*/ 4916787 h 6054733"/>
              <a:gd name="connsiteX44" fmla="*/ 5110207 w 8636594"/>
              <a:gd name="connsiteY44" fmla="*/ 4883636 h 6054733"/>
              <a:gd name="connsiteX45" fmla="*/ 5136937 w 8636594"/>
              <a:gd name="connsiteY45" fmla="*/ 4850305 h 6054733"/>
              <a:gd name="connsiteX46" fmla="*/ 5163464 w 8636594"/>
              <a:gd name="connsiteY46" fmla="*/ 4816797 h 6054733"/>
              <a:gd name="connsiteX47" fmla="*/ 5215940 w 8636594"/>
              <a:gd name="connsiteY47" fmla="*/ 4749265 h 6054733"/>
              <a:gd name="connsiteX48" fmla="*/ 5267684 w 8636594"/>
              <a:gd name="connsiteY48" fmla="*/ 4681068 h 6054733"/>
              <a:gd name="connsiteX49" fmla="*/ 5318748 w 8636594"/>
              <a:gd name="connsiteY49" fmla="*/ 4612234 h 6054733"/>
              <a:gd name="connsiteX50" fmla="*/ 5369182 w 8636594"/>
              <a:gd name="connsiteY50" fmla="*/ 4542793 h 6054733"/>
              <a:gd name="connsiteX51" fmla="*/ 5419038 w 8636594"/>
              <a:gd name="connsiteY51" fmla="*/ 4472771 h 6054733"/>
              <a:gd name="connsiteX52" fmla="*/ 5468365 w 8636594"/>
              <a:gd name="connsiteY52" fmla="*/ 4402196 h 6054733"/>
              <a:gd name="connsiteX53" fmla="*/ 5517215 w 8636594"/>
              <a:gd name="connsiteY53" fmla="*/ 4331098 h 6054733"/>
              <a:gd name="connsiteX54" fmla="*/ 5565637 w 8636594"/>
              <a:gd name="connsiteY54" fmla="*/ 4259503 h 6054733"/>
              <a:gd name="connsiteX55" fmla="*/ 5613684 w 8636594"/>
              <a:gd name="connsiteY55" fmla="*/ 4187441 h 6054733"/>
              <a:gd name="connsiteX56" fmla="*/ 5685160 w 8636594"/>
              <a:gd name="connsiteY56" fmla="*/ 4078531 h 6054733"/>
              <a:gd name="connsiteX57" fmla="*/ 5756074 w 8636594"/>
              <a:gd name="connsiteY57" fmla="*/ 3968727 h 6054733"/>
              <a:gd name="connsiteX58" fmla="*/ 5873483 w 8636594"/>
              <a:gd name="connsiteY58" fmla="*/ 3783989 h 6054733"/>
              <a:gd name="connsiteX59" fmla="*/ 6203209 w 8636594"/>
              <a:gd name="connsiteY59" fmla="*/ 3258640 h 6054733"/>
              <a:gd name="connsiteX60" fmla="*/ 6299430 w 8636594"/>
              <a:gd name="connsiteY60" fmla="*/ 3107321 h 6054733"/>
              <a:gd name="connsiteX61" fmla="*/ 6372650 w 8636594"/>
              <a:gd name="connsiteY61" fmla="*/ 2993735 h 6054733"/>
              <a:gd name="connsiteX62" fmla="*/ 6453197 w 8636594"/>
              <a:gd name="connsiteY62" fmla="*/ 2869788 h 6054733"/>
              <a:gd name="connsiteX63" fmla="*/ 6564167 w 8636594"/>
              <a:gd name="connsiteY63" fmla="*/ 2696807 h 6054733"/>
              <a:gd name="connsiteX64" fmla="*/ 6976233 w 8636594"/>
              <a:gd name="connsiteY64" fmla="*/ 2045274 h 6054733"/>
              <a:gd name="connsiteX65" fmla="*/ 7086755 w 8636594"/>
              <a:gd name="connsiteY65" fmla="*/ 1872743 h 6054733"/>
              <a:gd name="connsiteX66" fmla="*/ 7170279 w 8636594"/>
              <a:gd name="connsiteY66" fmla="*/ 1744202 h 6054733"/>
              <a:gd name="connsiteX67" fmla="*/ 7226351 w 8636594"/>
              <a:gd name="connsiteY67" fmla="*/ 1659017 h 6054733"/>
              <a:gd name="connsiteX68" fmla="*/ 7282789 w 8636594"/>
              <a:gd name="connsiteY68" fmla="*/ 1574303 h 6054733"/>
              <a:gd name="connsiteX69" fmla="*/ 7339643 w 8636594"/>
              <a:gd name="connsiteY69" fmla="*/ 1490113 h 6054733"/>
              <a:gd name="connsiteX70" fmla="*/ 7396957 w 8636594"/>
              <a:gd name="connsiteY70" fmla="*/ 1406503 h 6054733"/>
              <a:gd name="connsiteX71" fmla="*/ 7454781 w 8636594"/>
              <a:gd name="connsiteY71" fmla="*/ 1323526 h 6054733"/>
              <a:gd name="connsiteX72" fmla="*/ 7513161 w 8636594"/>
              <a:gd name="connsiteY72" fmla="*/ 1241237 h 6054733"/>
              <a:gd name="connsiteX73" fmla="*/ 7572144 w 8636594"/>
              <a:gd name="connsiteY73" fmla="*/ 1159689 h 6054733"/>
              <a:gd name="connsiteX74" fmla="*/ 7601877 w 8636594"/>
              <a:gd name="connsiteY74" fmla="*/ 1119210 h 6054733"/>
              <a:gd name="connsiteX75" fmla="*/ 7631779 w 8636594"/>
              <a:gd name="connsiteY75" fmla="*/ 1078937 h 6054733"/>
              <a:gd name="connsiteX76" fmla="*/ 7661855 w 8636594"/>
              <a:gd name="connsiteY76" fmla="*/ 1038876 h 6054733"/>
              <a:gd name="connsiteX77" fmla="*/ 7692111 w 8636594"/>
              <a:gd name="connsiteY77" fmla="*/ 999035 h 6054733"/>
              <a:gd name="connsiteX78" fmla="*/ 7722554 w 8636594"/>
              <a:gd name="connsiteY78" fmla="*/ 959419 h 6054733"/>
              <a:gd name="connsiteX79" fmla="*/ 7753190 w 8636594"/>
              <a:gd name="connsiteY79" fmla="*/ 920037 h 6054733"/>
              <a:gd name="connsiteX80" fmla="*/ 7784023 w 8636594"/>
              <a:gd name="connsiteY80" fmla="*/ 880894 h 6054733"/>
              <a:gd name="connsiteX81" fmla="*/ 7815061 w 8636594"/>
              <a:gd name="connsiteY81" fmla="*/ 841997 h 6054733"/>
              <a:gd name="connsiteX82" fmla="*/ 7846308 w 8636594"/>
              <a:gd name="connsiteY82" fmla="*/ 803354 h 6054733"/>
              <a:gd name="connsiteX83" fmla="*/ 7877772 w 8636594"/>
              <a:gd name="connsiteY83" fmla="*/ 764970 h 6054733"/>
              <a:gd name="connsiteX84" fmla="*/ 7909458 w 8636594"/>
              <a:gd name="connsiteY84" fmla="*/ 726853 h 6054733"/>
              <a:gd name="connsiteX85" fmla="*/ 7941371 w 8636594"/>
              <a:gd name="connsiteY85" fmla="*/ 689010 h 6054733"/>
              <a:gd name="connsiteX86" fmla="*/ 7973518 w 8636594"/>
              <a:gd name="connsiteY86" fmla="*/ 651447 h 6054733"/>
              <a:gd name="connsiteX87" fmla="*/ 8005905 w 8636594"/>
              <a:gd name="connsiteY87" fmla="*/ 614171 h 6054733"/>
              <a:gd name="connsiteX88" fmla="*/ 8038538 w 8636594"/>
              <a:gd name="connsiteY88" fmla="*/ 577189 h 6054733"/>
              <a:gd name="connsiteX89" fmla="*/ 8071421 w 8636594"/>
              <a:gd name="connsiteY89" fmla="*/ 540507 h 6054733"/>
              <a:gd name="connsiteX90" fmla="*/ 8104563 w 8636594"/>
              <a:gd name="connsiteY90" fmla="*/ 504132 h 6054733"/>
              <a:gd name="connsiteX91" fmla="*/ 8137967 w 8636594"/>
              <a:gd name="connsiteY91" fmla="*/ 468072 h 6054733"/>
              <a:gd name="connsiteX92" fmla="*/ 8171641 w 8636594"/>
              <a:gd name="connsiteY92" fmla="*/ 432332 h 6054733"/>
              <a:gd name="connsiteX93" fmla="*/ 8205590 w 8636594"/>
              <a:gd name="connsiteY93" fmla="*/ 396920 h 6054733"/>
              <a:gd name="connsiteX94" fmla="*/ 8239820 w 8636594"/>
              <a:gd name="connsiteY94" fmla="*/ 361843 h 6054733"/>
              <a:gd name="connsiteX95" fmla="*/ 8274337 w 8636594"/>
              <a:gd name="connsiteY95" fmla="*/ 327107 h 6054733"/>
              <a:gd name="connsiteX96" fmla="*/ 8309147 w 8636594"/>
              <a:gd name="connsiteY96" fmla="*/ 292718 h 6054733"/>
              <a:gd name="connsiteX97" fmla="*/ 8344256 w 8636594"/>
              <a:gd name="connsiteY97" fmla="*/ 258685 h 6054733"/>
              <a:gd name="connsiteX98" fmla="*/ 8379669 w 8636594"/>
              <a:gd name="connsiteY98" fmla="*/ 225013 h 6054733"/>
              <a:gd name="connsiteX99" fmla="*/ 8415394 w 8636594"/>
              <a:gd name="connsiteY99" fmla="*/ 191709 h 6054733"/>
              <a:gd name="connsiteX100" fmla="*/ 8451434 w 8636594"/>
              <a:gd name="connsiteY100" fmla="*/ 158780 h 6054733"/>
              <a:gd name="connsiteX101" fmla="*/ 8487798 w 8636594"/>
              <a:gd name="connsiteY101" fmla="*/ 126233 h 6054733"/>
              <a:gd name="connsiteX102" fmla="*/ 8524489 w 8636594"/>
              <a:gd name="connsiteY102" fmla="*/ 94075 h 6054733"/>
              <a:gd name="connsiteX103" fmla="*/ 8561515 w 8636594"/>
              <a:gd name="connsiteY103" fmla="*/ 62312 h 6054733"/>
              <a:gd name="connsiteX104" fmla="*/ 8598881 w 8636594"/>
              <a:gd name="connsiteY104" fmla="*/ 30951 h 6054733"/>
              <a:gd name="connsiteX105" fmla="*/ 8636594 w 8636594"/>
              <a:gd name="connsiteY105" fmla="*/ 0 h 6054733"/>
              <a:gd name="connsiteX0" fmla="*/ 8636594 w 8636594"/>
              <a:gd name="connsiteY0" fmla="*/ 0 h 6031671"/>
              <a:gd name="connsiteX1" fmla="*/ 5293 w 8636594"/>
              <a:gd name="connsiteY1" fmla="*/ 0 h 6031671"/>
              <a:gd name="connsiteX2" fmla="*/ 0 w 8636594"/>
              <a:gd name="connsiteY2" fmla="*/ 5587843 h 6031671"/>
              <a:gd name="connsiteX3" fmla="*/ 3802812 w 8636594"/>
              <a:gd name="connsiteY3" fmla="*/ 6031671 h 6031671"/>
              <a:gd name="connsiteX4" fmla="*/ 3842810 w 8636594"/>
              <a:gd name="connsiteY4" fmla="*/ 6008288 h 6031671"/>
              <a:gd name="connsiteX5" fmla="*/ 3882352 w 8636594"/>
              <a:gd name="connsiteY5" fmla="*/ 5984588 h 6031671"/>
              <a:gd name="connsiteX6" fmla="*/ 3921445 w 8636594"/>
              <a:gd name="connsiteY6" fmla="*/ 5960574 h 6031671"/>
              <a:gd name="connsiteX7" fmla="*/ 3960096 w 8636594"/>
              <a:gd name="connsiteY7" fmla="*/ 5936250 h 6031671"/>
              <a:gd name="connsiteX8" fmla="*/ 3998311 w 8636594"/>
              <a:gd name="connsiteY8" fmla="*/ 5911619 h 6031671"/>
              <a:gd name="connsiteX9" fmla="*/ 4036095 w 8636594"/>
              <a:gd name="connsiteY9" fmla="*/ 5886685 h 6031671"/>
              <a:gd name="connsiteX10" fmla="*/ 4073456 w 8636594"/>
              <a:gd name="connsiteY10" fmla="*/ 5861452 h 6031671"/>
              <a:gd name="connsiteX11" fmla="*/ 4110400 w 8636594"/>
              <a:gd name="connsiteY11" fmla="*/ 5835922 h 6031671"/>
              <a:gd name="connsiteX12" fmla="*/ 4146933 w 8636594"/>
              <a:gd name="connsiteY12" fmla="*/ 5810100 h 6031671"/>
              <a:gd name="connsiteX13" fmla="*/ 4183061 w 8636594"/>
              <a:gd name="connsiteY13" fmla="*/ 5783988 h 6031671"/>
              <a:gd name="connsiteX14" fmla="*/ 4218791 w 8636594"/>
              <a:gd name="connsiteY14" fmla="*/ 5757591 h 6031671"/>
              <a:gd name="connsiteX15" fmla="*/ 4254129 w 8636594"/>
              <a:gd name="connsiteY15" fmla="*/ 5730912 h 6031671"/>
              <a:gd name="connsiteX16" fmla="*/ 4289081 w 8636594"/>
              <a:gd name="connsiteY16" fmla="*/ 5703955 h 6031671"/>
              <a:gd name="connsiteX17" fmla="*/ 4323654 w 8636594"/>
              <a:gd name="connsiteY17" fmla="*/ 5676722 h 6031671"/>
              <a:gd name="connsiteX18" fmla="*/ 4357854 w 8636594"/>
              <a:gd name="connsiteY18" fmla="*/ 5649218 h 6031671"/>
              <a:gd name="connsiteX19" fmla="*/ 4391688 w 8636594"/>
              <a:gd name="connsiteY19" fmla="*/ 5621446 h 6031671"/>
              <a:gd name="connsiteX20" fmla="*/ 4425162 w 8636594"/>
              <a:gd name="connsiteY20" fmla="*/ 5593409 h 6031671"/>
              <a:gd name="connsiteX21" fmla="*/ 4458281 w 8636594"/>
              <a:gd name="connsiteY21" fmla="*/ 5565111 h 6031671"/>
              <a:gd name="connsiteX22" fmla="*/ 4491053 w 8636594"/>
              <a:gd name="connsiteY22" fmla="*/ 5536556 h 6031671"/>
              <a:gd name="connsiteX23" fmla="*/ 4523484 w 8636594"/>
              <a:gd name="connsiteY23" fmla="*/ 5507747 h 6031671"/>
              <a:gd name="connsiteX24" fmla="*/ 4555580 w 8636594"/>
              <a:gd name="connsiteY24" fmla="*/ 5478687 h 6031671"/>
              <a:gd name="connsiteX25" fmla="*/ 4587347 w 8636594"/>
              <a:gd name="connsiteY25" fmla="*/ 5449380 h 6031671"/>
              <a:gd name="connsiteX26" fmla="*/ 4618793 w 8636594"/>
              <a:gd name="connsiteY26" fmla="*/ 5419830 h 6031671"/>
              <a:gd name="connsiteX27" fmla="*/ 4649922 w 8636594"/>
              <a:gd name="connsiteY27" fmla="*/ 5390040 h 6031671"/>
              <a:gd name="connsiteX28" fmla="*/ 4680742 w 8636594"/>
              <a:gd name="connsiteY28" fmla="*/ 5360014 h 6031671"/>
              <a:gd name="connsiteX29" fmla="*/ 4711259 w 8636594"/>
              <a:gd name="connsiteY29" fmla="*/ 5329755 h 6031671"/>
              <a:gd name="connsiteX30" fmla="*/ 4741478 w 8636594"/>
              <a:gd name="connsiteY30" fmla="*/ 5299266 h 6031671"/>
              <a:gd name="connsiteX31" fmla="*/ 4771408 w 8636594"/>
              <a:gd name="connsiteY31" fmla="*/ 5268551 h 6031671"/>
              <a:gd name="connsiteX32" fmla="*/ 4801053 w 8636594"/>
              <a:gd name="connsiteY32" fmla="*/ 5237614 h 6031671"/>
              <a:gd name="connsiteX33" fmla="*/ 4830420 w 8636594"/>
              <a:gd name="connsiteY33" fmla="*/ 5206458 h 6031671"/>
              <a:gd name="connsiteX34" fmla="*/ 4859516 w 8636594"/>
              <a:gd name="connsiteY34" fmla="*/ 5175087 h 6031671"/>
              <a:gd name="connsiteX35" fmla="*/ 4888347 w 8636594"/>
              <a:gd name="connsiteY35" fmla="*/ 5143504 h 6031671"/>
              <a:gd name="connsiteX36" fmla="*/ 4916919 w 8636594"/>
              <a:gd name="connsiteY36" fmla="*/ 5111713 h 6031671"/>
              <a:gd name="connsiteX37" fmla="*/ 4945238 w 8636594"/>
              <a:gd name="connsiteY37" fmla="*/ 5079717 h 6031671"/>
              <a:gd name="connsiteX38" fmla="*/ 4973311 w 8636594"/>
              <a:gd name="connsiteY38" fmla="*/ 5047519 h 6031671"/>
              <a:gd name="connsiteX39" fmla="*/ 5001145 w 8636594"/>
              <a:gd name="connsiteY39" fmla="*/ 5015124 h 6031671"/>
              <a:gd name="connsiteX40" fmla="*/ 5028745 w 8636594"/>
              <a:gd name="connsiteY40" fmla="*/ 4982535 h 6031671"/>
              <a:gd name="connsiteX41" fmla="*/ 5056117 w 8636594"/>
              <a:gd name="connsiteY41" fmla="*/ 4949755 h 6031671"/>
              <a:gd name="connsiteX42" fmla="*/ 5083269 w 8636594"/>
              <a:gd name="connsiteY42" fmla="*/ 4916787 h 6031671"/>
              <a:gd name="connsiteX43" fmla="*/ 5110207 w 8636594"/>
              <a:gd name="connsiteY43" fmla="*/ 4883636 h 6031671"/>
              <a:gd name="connsiteX44" fmla="*/ 5136937 w 8636594"/>
              <a:gd name="connsiteY44" fmla="*/ 4850305 h 6031671"/>
              <a:gd name="connsiteX45" fmla="*/ 5163464 w 8636594"/>
              <a:gd name="connsiteY45" fmla="*/ 4816797 h 6031671"/>
              <a:gd name="connsiteX46" fmla="*/ 5215940 w 8636594"/>
              <a:gd name="connsiteY46" fmla="*/ 4749265 h 6031671"/>
              <a:gd name="connsiteX47" fmla="*/ 5267684 w 8636594"/>
              <a:gd name="connsiteY47" fmla="*/ 4681068 h 6031671"/>
              <a:gd name="connsiteX48" fmla="*/ 5318748 w 8636594"/>
              <a:gd name="connsiteY48" fmla="*/ 4612234 h 6031671"/>
              <a:gd name="connsiteX49" fmla="*/ 5369182 w 8636594"/>
              <a:gd name="connsiteY49" fmla="*/ 4542793 h 6031671"/>
              <a:gd name="connsiteX50" fmla="*/ 5419038 w 8636594"/>
              <a:gd name="connsiteY50" fmla="*/ 4472771 h 6031671"/>
              <a:gd name="connsiteX51" fmla="*/ 5468365 w 8636594"/>
              <a:gd name="connsiteY51" fmla="*/ 4402196 h 6031671"/>
              <a:gd name="connsiteX52" fmla="*/ 5517215 w 8636594"/>
              <a:gd name="connsiteY52" fmla="*/ 4331098 h 6031671"/>
              <a:gd name="connsiteX53" fmla="*/ 5565637 w 8636594"/>
              <a:gd name="connsiteY53" fmla="*/ 4259503 h 6031671"/>
              <a:gd name="connsiteX54" fmla="*/ 5613684 w 8636594"/>
              <a:gd name="connsiteY54" fmla="*/ 4187441 h 6031671"/>
              <a:gd name="connsiteX55" fmla="*/ 5685160 w 8636594"/>
              <a:gd name="connsiteY55" fmla="*/ 4078531 h 6031671"/>
              <a:gd name="connsiteX56" fmla="*/ 5756074 w 8636594"/>
              <a:gd name="connsiteY56" fmla="*/ 3968727 h 6031671"/>
              <a:gd name="connsiteX57" fmla="*/ 5873483 w 8636594"/>
              <a:gd name="connsiteY57" fmla="*/ 3783989 h 6031671"/>
              <a:gd name="connsiteX58" fmla="*/ 6203209 w 8636594"/>
              <a:gd name="connsiteY58" fmla="*/ 3258640 h 6031671"/>
              <a:gd name="connsiteX59" fmla="*/ 6299430 w 8636594"/>
              <a:gd name="connsiteY59" fmla="*/ 3107321 h 6031671"/>
              <a:gd name="connsiteX60" fmla="*/ 6372650 w 8636594"/>
              <a:gd name="connsiteY60" fmla="*/ 2993735 h 6031671"/>
              <a:gd name="connsiteX61" fmla="*/ 6453197 w 8636594"/>
              <a:gd name="connsiteY61" fmla="*/ 2869788 h 6031671"/>
              <a:gd name="connsiteX62" fmla="*/ 6564167 w 8636594"/>
              <a:gd name="connsiteY62" fmla="*/ 2696807 h 6031671"/>
              <a:gd name="connsiteX63" fmla="*/ 6976233 w 8636594"/>
              <a:gd name="connsiteY63" fmla="*/ 2045274 h 6031671"/>
              <a:gd name="connsiteX64" fmla="*/ 7086755 w 8636594"/>
              <a:gd name="connsiteY64" fmla="*/ 1872743 h 6031671"/>
              <a:gd name="connsiteX65" fmla="*/ 7170279 w 8636594"/>
              <a:gd name="connsiteY65" fmla="*/ 1744202 h 6031671"/>
              <a:gd name="connsiteX66" fmla="*/ 7226351 w 8636594"/>
              <a:gd name="connsiteY66" fmla="*/ 1659017 h 6031671"/>
              <a:gd name="connsiteX67" fmla="*/ 7282789 w 8636594"/>
              <a:gd name="connsiteY67" fmla="*/ 1574303 h 6031671"/>
              <a:gd name="connsiteX68" fmla="*/ 7339643 w 8636594"/>
              <a:gd name="connsiteY68" fmla="*/ 1490113 h 6031671"/>
              <a:gd name="connsiteX69" fmla="*/ 7396957 w 8636594"/>
              <a:gd name="connsiteY69" fmla="*/ 1406503 h 6031671"/>
              <a:gd name="connsiteX70" fmla="*/ 7454781 w 8636594"/>
              <a:gd name="connsiteY70" fmla="*/ 1323526 h 6031671"/>
              <a:gd name="connsiteX71" fmla="*/ 7513161 w 8636594"/>
              <a:gd name="connsiteY71" fmla="*/ 1241237 h 6031671"/>
              <a:gd name="connsiteX72" fmla="*/ 7572144 w 8636594"/>
              <a:gd name="connsiteY72" fmla="*/ 1159689 h 6031671"/>
              <a:gd name="connsiteX73" fmla="*/ 7601877 w 8636594"/>
              <a:gd name="connsiteY73" fmla="*/ 1119210 h 6031671"/>
              <a:gd name="connsiteX74" fmla="*/ 7631779 w 8636594"/>
              <a:gd name="connsiteY74" fmla="*/ 1078937 h 6031671"/>
              <a:gd name="connsiteX75" fmla="*/ 7661855 w 8636594"/>
              <a:gd name="connsiteY75" fmla="*/ 1038876 h 6031671"/>
              <a:gd name="connsiteX76" fmla="*/ 7692111 w 8636594"/>
              <a:gd name="connsiteY76" fmla="*/ 999035 h 6031671"/>
              <a:gd name="connsiteX77" fmla="*/ 7722554 w 8636594"/>
              <a:gd name="connsiteY77" fmla="*/ 959419 h 6031671"/>
              <a:gd name="connsiteX78" fmla="*/ 7753190 w 8636594"/>
              <a:gd name="connsiteY78" fmla="*/ 920037 h 6031671"/>
              <a:gd name="connsiteX79" fmla="*/ 7784023 w 8636594"/>
              <a:gd name="connsiteY79" fmla="*/ 880894 h 6031671"/>
              <a:gd name="connsiteX80" fmla="*/ 7815061 w 8636594"/>
              <a:gd name="connsiteY80" fmla="*/ 841997 h 6031671"/>
              <a:gd name="connsiteX81" fmla="*/ 7846308 w 8636594"/>
              <a:gd name="connsiteY81" fmla="*/ 803354 h 6031671"/>
              <a:gd name="connsiteX82" fmla="*/ 7877772 w 8636594"/>
              <a:gd name="connsiteY82" fmla="*/ 764970 h 6031671"/>
              <a:gd name="connsiteX83" fmla="*/ 7909458 w 8636594"/>
              <a:gd name="connsiteY83" fmla="*/ 726853 h 6031671"/>
              <a:gd name="connsiteX84" fmla="*/ 7941371 w 8636594"/>
              <a:gd name="connsiteY84" fmla="*/ 689010 h 6031671"/>
              <a:gd name="connsiteX85" fmla="*/ 7973518 w 8636594"/>
              <a:gd name="connsiteY85" fmla="*/ 651447 h 6031671"/>
              <a:gd name="connsiteX86" fmla="*/ 8005905 w 8636594"/>
              <a:gd name="connsiteY86" fmla="*/ 614171 h 6031671"/>
              <a:gd name="connsiteX87" fmla="*/ 8038538 w 8636594"/>
              <a:gd name="connsiteY87" fmla="*/ 577189 h 6031671"/>
              <a:gd name="connsiteX88" fmla="*/ 8071421 w 8636594"/>
              <a:gd name="connsiteY88" fmla="*/ 540507 h 6031671"/>
              <a:gd name="connsiteX89" fmla="*/ 8104563 w 8636594"/>
              <a:gd name="connsiteY89" fmla="*/ 504132 h 6031671"/>
              <a:gd name="connsiteX90" fmla="*/ 8137967 w 8636594"/>
              <a:gd name="connsiteY90" fmla="*/ 468072 h 6031671"/>
              <a:gd name="connsiteX91" fmla="*/ 8171641 w 8636594"/>
              <a:gd name="connsiteY91" fmla="*/ 432332 h 6031671"/>
              <a:gd name="connsiteX92" fmla="*/ 8205590 w 8636594"/>
              <a:gd name="connsiteY92" fmla="*/ 396920 h 6031671"/>
              <a:gd name="connsiteX93" fmla="*/ 8239820 w 8636594"/>
              <a:gd name="connsiteY93" fmla="*/ 361843 h 6031671"/>
              <a:gd name="connsiteX94" fmla="*/ 8274337 w 8636594"/>
              <a:gd name="connsiteY94" fmla="*/ 327107 h 6031671"/>
              <a:gd name="connsiteX95" fmla="*/ 8309147 w 8636594"/>
              <a:gd name="connsiteY95" fmla="*/ 292718 h 6031671"/>
              <a:gd name="connsiteX96" fmla="*/ 8344256 w 8636594"/>
              <a:gd name="connsiteY96" fmla="*/ 258685 h 6031671"/>
              <a:gd name="connsiteX97" fmla="*/ 8379669 w 8636594"/>
              <a:gd name="connsiteY97" fmla="*/ 225013 h 6031671"/>
              <a:gd name="connsiteX98" fmla="*/ 8415394 w 8636594"/>
              <a:gd name="connsiteY98" fmla="*/ 191709 h 6031671"/>
              <a:gd name="connsiteX99" fmla="*/ 8451434 w 8636594"/>
              <a:gd name="connsiteY99" fmla="*/ 158780 h 6031671"/>
              <a:gd name="connsiteX100" fmla="*/ 8487798 w 8636594"/>
              <a:gd name="connsiteY100" fmla="*/ 126233 h 6031671"/>
              <a:gd name="connsiteX101" fmla="*/ 8524489 w 8636594"/>
              <a:gd name="connsiteY101" fmla="*/ 94075 h 6031671"/>
              <a:gd name="connsiteX102" fmla="*/ 8561515 w 8636594"/>
              <a:gd name="connsiteY102" fmla="*/ 62312 h 6031671"/>
              <a:gd name="connsiteX103" fmla="*/ 8598881 w 8636594"/>
              <a:gd name="connsiteY103" fmla="*/ 30951 h 6031671"/>
              <a:gd name="connsiteX104" fmla="*/ 8636594 w 8636594"/>
              <a:gd name="connsiteY104" fmla="*/ 0 h 6031671"/>
              <a:gd name="connsiteX0" fmla="*/ 8636594 w 8636594"/>
              <a:gd name="connsiteY0" fmla="*/ 0 h 6008288"/>
              <a:gd name="connsiteX1" fmla="*/ 5293 w 8636594"/>
              <a:gd name="connsiteY1" fmla="*/ 0 h 6008288"/>
              <a:gd name="connsiteX2" fmla="*/ 0 w 8636594"/>
              <a:gd name="connsiteY2" fmla="*/ 5587843 h 6008288"/>
              <a:gd name="connsiteX3" fmla="*/ 3842810 w 8636594"/>
              <a:gd name="connsiteY3" fmla="*/ 6008288 h 6008288"/>
              <a:gd name="connsiteX4" fmla="*/ 3882352 w 8636594"/>
              <a:gd name="connsiteY4" fmla="*/ 5984588 h 6008288"/>
              <a:gd name="connsiteX5" fmla="*/ 3921445 w 8636594"/>
              <a:gd name="connsiteY5" fmla="*/ 5960574 h 6008288"/>
              <a:gd name="connsiteX6" fmla="*/ 3960096 w 8636594"/>
              <a:gd name="connsiteY6" fmla="*/ 5936250 h 6008288"/>
              <a:gd name="connsiteX7" fmla="*/ 3998311 w 8636594"/>
              <a:gd name="connsiteY7" fmla="*/ 5911619 h 6008288"/>
              <a:gd name="connsiteX8" fmla="*/ 4036095 w 8636594"/>
              <a:gd name="connsiteY8" fmla="*/ 5886685 h 6008288"/>
              <a:gd name="connsiteX9" fmla="*/ 4073456 w 8636594"/>
              <a:gd name="connsiteY9" fmla="*/ 5861452 h 6008288"/>
              <a:gd name="connsiteX10" fmla="*/ 4110400 w 8636594"/>
              <a:gd name="connsiteY10" fmla="*/ 5835922 h 6008288"/>
              <a:gd name="connsiteX11" fmla="*/ 4146933 w 8636594"/>
              <a:gd name="connsiteY11" fmla="*/ 5810100 h 6008288"/>
              <a:gd name="connsiteX12" fmla="*/ 4183061 w 8636594"/>
              <a:gd name="connsiteY12" fmla="*/ 5783988 h 6008288"/>
              <a:gd name="connsiteX13" fmla="*/ 4218791 w 8636594"/>
              <a:gd name="connsiteY13" fmla="*/ 5757591 h 6008288"/>
              <a:gd name="connsiteX14" fmla="*/ 4254129 w 8636594"/>
              <a:gd name="connsiteY14" fmla="*/ 5730912 h 6008288"/>
              <a:gd name="connsiteX15" fmla="*/ 4289081 w 8636594"/>
              <a:gd name="connsiteY15" fmla="*/ 5703955 h 6008288"/>
              <a:gd name="connsiteX16" fmla="*/ 4323654 w 8636594"/>
              <a:gd name="connsiteY16" fmla="*/ 5676722 h 6008288"/>
              <a:gd name="connsiteX17" fmla="*/ 4357854 w 8636594"/>
              <a:gd name="connsiteY17" fmla="*/ 5649218 h 6008288"/>
              <a:gd name="connsiteX18" fmla="*/ 4391688 w 8636594"/>
              <a:gd name="connsiteY18" fmla="*/ 5621446 h 6008288"/>
              <a:gd name="connsiteX19" fmla="*/ 4425162 w 8636594"/>
              <a:gd name="connsiteY19" fmla="*/ 5593409 h 6008288"/>
              <a:gd name="connsiteX20" fmla="*/ 4458281 w 8636594"/>
              <a:gd name="connsiteY20" fmla="*/ 5565111 h 6008288"/>
              <a:gd name="connsiteX21" fmla="*/ 4491053 w 8636594"/>
              <a:gd name="connsiteY21" fmla="*/ 5536556 h 6008288"/>
              <a:gd name="connsiteX22" fmla="*/ 4523484 w 8636594"/>
              <a:gd name="connsiteY22" fmla="*/ 5507747 h 6008288"/>
              <a:gd name="connsiteX23" fmla="*/ 4555580 w 8636594"/>
              <a:gd name="connsiteY23" fmla="*/ 5478687 h 6008288"/>
              <a:gd name="connsiteX24" fmla="*/ 4587347 w 8636594"/>
              <a:gd name="connsiteY24" fmla="*/ 5449380 h 6008288"/>
              <a:gd name="connsiteX25" fmla="*/ 4618793 w 8636594"/>
              <a:gd name="connsiteY25" fmla="*/ 5419830 h 6008288"/>
              <a:gd name="connsiteX26" fmla="*/ 4649922 w 8636594"/>
              <a:gd name="connsiteY26" fmla="*/ 5390040 h 6008288"/>
              <a:gd name="connsiteX27" fmla="*/ 4680742 w 8636594"/>
              <a:gd name="connsiteY27" fmla="*/ 5360014 h 6008288"/>
              <a:gd name="connsiteX28" fmla="*/ 4711259 w 8636594"/>
              <a:gd name="connsiteY28" fmla="*/ 5329755 h 6008288"/>
              <a:gd name="connsiteX29" fmla="*/ 4741478 w 8636594"/>
              <a:gd name="connsiteY29" fmla="*/ 5299266 h 6008288"/>
              <a:gd name="connsiteX30" fmla="*/ 4771408 w 8636594"/>
              <a:gd name="connsiteY30" fmla="*/ 5268551 h 6008288"/>
              <a:gd name="connsiteX31" fmla="*/ 4801053 w 8636594"/>
              <a:gd name="connsiteY31" fmla="*/ 5237614 h 6008288"/>
              <a:gd name="connsiteX32" fmla="*/ 4830420 w 8636594"/>
              <a:gd name="connsiteY32" fmla="*/ 5206458 h 6008288"/>
              <a:gd name="connsiteX33" fmla="*/ 4859516 w 8636594"/>
              <a:gd name="connsiteY33" fmla="*/ 5175087 h 6008288"/>
              <a:gd name="connsiteX34" fmla="*/ 4888347 w 8636594"/>
              <a:gd name="connsiteY34" fmla="*/ 5143504 h 6008288"/>
              <a:gd name="connsiteX35" fmla="*/ 4916919 w 8636594"/>
              <a:gd name="connsiteY35" fmla="*/ 5111713 h 6008288"/>
              <a:gd name="connsiteX36" fmla="*/ 4945238 w 8636594"/>
              <a:gd name="connsiteY36" fmla="*/ 5079717 h 6008288"/>
              <a:gd name="connsiteX37" fmla="*/ 4973311 w 8636594"/>
              <a:gd name="connsiteY37" fmla="*/ 5047519 h 6008288"/>
              <a:gd name="connsiteX38" fmla="*/ 5001145 w 8636594"/>
              <a:gd name="connsiteY38" fmla="*/ 5015124 h 6008288"/>
              <a:gd name="connsiteX39" fmla="*/ 5028745 w 8636594"/>
              <a:gd name="connsiteY39" fmla="*/ 4982535 h 6008288"/>
              <a:gd name="connsiteX40" fmla="*/ 5056117 w 8636594"/>
              <a:gd name="connsiteY40" fmla="*/ 4949755 h 6008288"/>
              <a:gd name="connsiteX41" fmla="*/ 5083269 w 8636594"/>
              <a:gd name="connsiteY41" fmla="*/ 4916787 h 6008288"/>
              <a:gd name="connsiteX42" fmla="*/ 5110207 w 8636594"/>
              <a:gd name="connsiteY42" fmla="*/ 4883636 h 6008288"/>
              <a:gd name="connsiteX43" fmla="*/ 5136937 w 8636594"/>
              <a:gd name="connsiteY43" fmla="*/ 4850305 h 6008288"/>
              <a:gd name="connsiteX44" fmla="*/ 5163464 w 8636594"/>
              <a:gd name="connsiteY44" fmla="*/ 4816797 h 6008288"/>
              <a:gd name="connsiteX45" fmla="*/ 5215940 w 8636594"/>
              <a:gd name="connsiteY45" fmla="*/ 4749265 h 6008288"/>
              <a:gd name="connsiteX46" fmla="*/ 5267684 w 8636594"/>
              <a:gd name="connsiteY46" fmla="*/ 4681068 h 6008288"/>
              <a:gd name="connsiteX47" fmla="*/ 5318748 w 8636594"/>
              <a:gd name="connsiteY47" fmla="*/ 4612234 h 6008288"/>
              <a:gd name="connsiteX48" fmla="*/ 5369182 w 8636594"/>
              <a:gd name="connsiteY48" fmla="*/ 4542793 h 6008288"/>
              <a:gd name="connsiteX49" fmla="*/ 5419038 w 8636594"/>
              <a:gd name="connsiteY49" fmla="*/ 4472771 h 6008288"/>
              <a:gd name="connsiteX50" fmla="*/ 5468365 w 8636594"/>
              <a:gd name="connsiteY50" fmla="*/ 4402196 h 6008288"/>
              <a:gd name="connsiteX51" fmla="*/ 5517215 w 8636594"/>
              <a:gd name="connsiteY51" fmla="*/ 4331098 h 6008288"/>
              <a:gd name="connsiteX52" fmla="*/ 5565637 w 8636594"/>
              <a:gd name="connsiteY52" fmla="*/ 4259503 h 6008288"/>
              <a:gd name="connsiteX53" fmla="*/ 5613684 w 8636594"/>
              <a:gd name="connsiteY53" fmla="*/ 4187441 h 6008288"/>
              <a:gd name="connsiteX54" fmla="*/ 5685160 w 8636594"/>
              <a:gd name="connsiteY54" fmla="*/ 4078531 h 6008288"/>
              <a:gd name="connsiteX55" fmla="*/ 5756074 w 8636594"/>
              <a:gd name="connsiteY55" fmla="*/ 3968727 h 6008288"/>
              <a:gd name="connsiteX56" fmla="*/ 5873483 w 8636594"/>
              <a:gd name="connsiteY56" fmla="*/ 3783989 h 6008288"/>
              <a:gd name="connsiteX57" fmla="*/ 6203209 w 8636594"/>
              <a:gd name="connsiteY57" fmla="*/ 3258640 h 6008288"/>
              <a:gd name="connsiteX58" fmla="*/ 6299430 w 8636594"/>
              <a:gd name="connsiteY58" fmla="*/ 3107321 h 6008288"/>
              <a:gd name="connsiteX59" fmla="*/ 6372650 w 8636594"/>
              <a:gd name="connsiteY59" fmla="*/ 2993735 h 6008288"/>
              <a:gd name="connsiteX60" fmla="*/ 6453197 w 8636594"/>
              <a:gd name="connsiteY60" fmla="*/ 2869788 h 6008288"/>
              <a:gd name="connsiteX61" fmla="*/ 6564167 w 8636594"/>
              <a:gd name="connsiteY61" fmla="*/ 2696807 h 6008288"/>
              <a:gd name="connsiteX62" fmla="*/ 6976233 w 8636594"/>
              <a:gd name="connsiteY62" fmla="*/ 2045274 h 6008288"/>
              <a:gd name="connsiteX63" fmla="*/ 7086755 w 8636594"/>
              <a:gd name="connsiteY63" fmla="*/ 1872743 h 6008288"/>
              <a:gd name="connsiteX64" fmla="*/ 7170279 w 8636594"/>
              <a:gd name="connsiteY64" fmla="*/ 1744202 h 6008288"/>
              <a:gd name="connsiteX65" fmla="*/ 7226351 w 8636594"/>
              <a:gd name="connsiteY65" fmla="*/ 1659017 h 6008288"/>
              <a:gd name="connsiteX66" fmla="*/ 7282789 w 8636594"/>
              <a:gd name="connsiteY66" fmla="*/ 1574303 h 6008288"/>
              <a:gd name="connsiteX67" fmla="*/ 7339643 w 8636594"/>
              <a:gd name="connsiteY67" fmla="*/ 1490113 h 6008288"/>
              <a:gd name="connsiteX68" fmla="*/ 7396957 w 8636594"/>
              <a:gd name="connsiteY68" fmla="*/ 1406503 h 6008288"/>
              <a:gd name="connsiteX69" fmla="*/ 7454781 w 8636594"/>
              <a:gd name="connsiteY69" fmla="*/ 1323526 h 6008288"/>
              <a:gd name="connsiteX70" fmla="*/ 7513161 w 8636594"/>
              <a:gd name="connsiteY70" fmla="*/ 1241237 h 6008288"/>
              <a:gd name="connsiteX71" fmla="*/ 7572144 w 8636594"/>
              <a:gd name="connsiteY71" fmla="*/ 1159689 h 6008288"/>
              <a:gd name="connsiteX72" fmla="*/ 7601877 w 8636594"/>
              <a:gd name="connsiteY72" fmla="*/ 1119210 h 6008288"/>
              <a:gd name="connsiteX73" fmla="*/ 7631779 w 8636594"/>
              <a:gd name="connsiteY73" fmla="*/ 1078937 h 6008288"/>
              <a:gd name="connsiteX74" fmla="*/ 7661855 w 8636594"/>
              <a:gd name="connsiteY74" fmla="*/ 1038876 h 6008288"/>
              <a:gd name="connsiteX75" fmla="*/ 7692111 w 8636594"/>
              <a:gd name="connsiteY75" fmla="*/ 999035 h 6008288"/>
              <a:gd name="connsiteX76" fmla="*/ 7722554 w 8636594"/>
              <a:gd name="connsiteY76" fmla="*/ 959419 h 6008288"/>
              <a:gd name="connsiteX77" fmla="*/ 7753190 w 8636594"/>
              <a:gd name="connsiteY77" fmla="*/ 920037 h 6008288"/>
              <a:gd name="connsiteX78" fmla="*/ 7784023 w 8636594"/>
              <a:gd name="connsiteY78" fmla="*/ 880894 h 6008288"/>
              <a:gd name="connsiteX79" fmla="*/ 7815061 w 8636594"/>
              <a:gd name="connsiteY79" fmla="*/ 841997 h 6008288"/>
              <a:gd name="connsiteX80" fmla="*/ 7846308 w 8636594"/>
              <a:gd name="connsiteY80" fmla="*/ 803354 h 6008288"/>
              <a:gd name="connsiteX81" fmla="*/ 7877772 w 8636594"/>
              <a:gd name="connsiteY81" fmla="*/ 764970 h 6008288"/>
              <a:gd name="connsiteX82" fmla="*/ 7909458 w 8636594"/>
              <a:gd name="connsiteY82" fmla="*/ 726853 h 6008288"/>
              <a:gd name="connsiteX83" fmla="*/ 7941371 w 8636594"/>
              <a:gd name="connsiteY83" fmla="*/ 689010 h 6008288"/>
              <a:gd name="connsiteX84" fmla="*/ 7973518 w 8636594"/>
              <a:gd name="connsiteY84" fmla="*/ 651447 h 6008288"/>
              <a:gd name="connsiteX85" fmla="*/ 8005905 w 8636594"/>
              <a:gd name="connsiteY85" fmla="*/ 614171 h 6008288"/>
              <a:gd name="connsiteX86" fmla="*/ 8038538 w 8636594"/>
              <a:gd name="connsiteY86" fmla="*/ 577189 h 6008288"/>
              <a:gd name="connsiteX87" fmla="*/ 8071421 w 8636594"/>
              <a:gd name="connsiteY87" fmla="*/ 540507 h 6008288"/>
              <a:gd name="connsiteX88" fmla="*/ 8104563 w 8636594"/>
              <a:gd name="connsiteY88" fmla="*/ 504132 h 6008288"/>
              <a:gd name="connsiteX89" fmla="*/ 8137967 w 8636594"/>
              <a:gd name="connsiteY89" fmla="*/ 468072 h 6008288"/>
              <a:gd name="connsiteX90" fmla="*/ 8171641 w 8636594"/>
              <a:gd name="connsiteY90" fmla="*/ 432332 h 6008288"/>
              <a:gd name="connsiteX91" fmla="*/ 8205590 w 8636594"/>
              <a:gd name="connsiteY91" fmla="*/ 396920 h 6008288"/>
              <a:gd name="connsiteX92" fmla="*/ 8239820 w 8636594"/>
              <a:gd name="connsiteY92" fmla="*/ 361843 h 6008288"/>
              <a:gd name="connsiteX93" fmla="*/ 8274337 w 8636594"/>
              <a:gd name="connsiteY93" fmla="*/ 327107 h 6008288"/>
              <a:gd name="connsiteX94" fmla="*/ 8309147 w 8636594"/>
              <a:gd name="connsiteY94" fmla="*/ 292718 h 6008288"/>
              <a:gd name="connsiteX95" fmla="*/ 8344256 w 8636594"/>
              <a:gd name="connsiteY95" fmla="*/ 258685 h 6008288"/>
              <a:gd name="connsiteX96" fmla="*/ 8379669 w 8636594"/>
              <a:gd name="connsiteY96" fmla="*/ 225013 h 6008288"/>
              <a:gd name="connsiteX97" fmla="*/ 8415394 w 8636594"/>
              <a:gd name="connsiteY97" fmla="*/ 191709 h 6008288"/>
              <a:gd name="connsiteX98" fmla="*/ 8451434 w 8636594"/>
              <a:gd name="connsiteY98" fmla="*/ 158780 h 6008288"/>
              <a:gd name="connsiteX99" fmla="*/ 8487798 w 8636594"/>
              <a:gd name="connsiteY99" fmla="*/ 126233 h 6008288"/>
              <a:gd name="connsiteX100" fmla="*/ 8524489 w 8636594"/>
              <a:gd name="connsiteY100" fmla="*/ 94075 h 6008288"/>
              <a:gd name="connsiteX101" fmla="*/ 8561515 w 8636594"/>
              <a:gd name="connsiteY101" fmla="*/ 62312 h 6008288"/>
              <a:gd name="connsiteX102" fmla="*/ 8598881 w 8636594"/>
              <a:gd name="connsiteY102" fmla="*/ 30951 h 6008288"/>
              <a:gd name="connsiteX103" fmla="*/ 8636594 w 8636594"/>
              <a:gd name="connsiteY103" fmla="*/ 0 h 6008288"/>
              <a:gd name="connsiteX0" fmla="*/ 8636594 w 8636594"/>
              <a:gd name="connsiteY0" fmla="*/ 0 h 5984588"/>
              <a:gd name="connsiteX1" fmla="*/ 5293 w 8636594"/>
              <a:gd name="connsiteY1" fmla="*/ 0 h 5984588"/>
              <a:gd name="connsiteX2" fmla="*/ 0 w 8636594"/>
              <a:gd name="connsiteY2" fmla="*/ 5587843 h 5984588"/>
              <a:gd name="connsiteX3" fmla="*/ 3882352 w 8636594"/>
              <a:gd name="connsiteY3" fmla="*/ 5984588 h 5984588"/>
              <a:gd name="connsiteX4" fmla="*/ 3921445 w 8636594"/>
              <a:gd name="connsiteY4" fmla="*/ 5960574 h 5984588"/>
              <a:gd name="connsiteX5" fmla="*/ 3960096 w 8636594"/>
              <a:gd name="connsiteY5" fmla="*/ 5936250 h 5984588"/>
              <a:gd name="connsiteX6" fmla="*/ 3998311 w 8636594"/>
              <a:gd name="connsiteY6" fmla="*/ 5911619 h 5984588"/>
              <a:gd name="connsiteX7" fmla="*/ 4036095 w 8636594"/>
              <a:gd name="connsiteY7" fmla="*/ 5886685 h 5984588"/>
              <a:gd name="connsiteX8" fmla="*/ 4073456 w 8636594"/>
              <a:gd name="connsiteY8" fmla="*/ 5861452 h 5984588"/>
              <a:gd name="connsiteX9" fmla="*/ 4110400 w 8636594"/>
              <a:gd name="connsiteY9" fmla="*/ 5835922 h 5984588"/>
              <a:gd name="connsiteX10" fmla="*/ 4146933 w 8636594"/>
              <a:gd name="connsiteY10" fmla="*/ 5810100 h 5984588"/>
              <a:gd name="connsiteX11" fmla="*/ 4183061 w 8636594"/>
              <a:gd name="connsiteY11" fmla="*/ 5783988 h 5984588"/>
              <a:gd name="connsiteX12" fmla="*/ 4218791 w 8636594"/>
              <a:gd name="connsiteY12" fmla="*/ 5757591 h 5984588"/>
              <a:gd name="connsiteX13" fmla="*/ 4254129 w 8636594"/>
              <a:gd name="connsiteY13" fmla="*/ 5730912 h 5984588"/>
              <a:gd name="connsiteX14" fmla="*/ 4289081 w 8636594"/>
              <a:gd name="connsiteY14" fmla="*/ 5703955 h 5984588"/>
              <a:gd name="connsiteX15" fmla="*/ 4323654 w 8636594"/>
              <a:gd name="connsiteY15" fmla="*/ 5676722 h 5984588"/>
              <a:gd name="connsiteX16" fmla="*/ 4357854 w 8636594"/>
              <a:gd name="connsiteY16" fmla="*/ 5649218 h 5984588"/>
              <a:gd name="connsiteX17" fmla="*/ 4391688 w 8636594"/>
              <a:gd name="connsiteY17" fmla="*/ 5621446 h 5984588"/>
              <a:gd name="connsiteX18" fmla="*/ 4425162 w 8636594"/>
              <a:gd name="connsiteY18" fmla="*/ 5593409 h 5984588"/>
              <a:gd name="connsiteX19" fmla="*/ 4458281 w 8636594"/>
              <a:gd name="connsiteY19" fmla="*/ 5565111 h 5984588"/>
              <a:gd name="connsiteX20" fmla="*/ 4491053 w 8636594"/>
              <a:gd name="connsiteY20" fmla="*/ 5536556 h 5984588"/>
              <a:gd name="connsiteX21" fmla="*/ 4523484 w 8636594"/>
              <a:gd name="connsiteY21" fmla="*/ 5507747 h 5984588"/>
              <a:gd name="connsiteX22" fmla="*/ 4555580 w 8636594"/>
              <a:gd name="connsiteY22" fmla="*/ 5478687 h 5984588"/>
              <a:gd name="connsiteX23" fmla="*/ 4587347 w 8636594"/>
              <a:gd name="connsiteY23" fmla="*/ 5449380 h 5984588"/>
              <a:gd name="connsiteX24" fmla="*/ 4618793 w 8636594"/>
              <a:gd name="connsiteY24" fmla="*/ 5419830 h 5984588"/>
              <a:gd name="connsiteX25" fmla="*/ 4649922 w 8636594"/>
              <a:gd name="connsiteY25" fmla="*/ 5390040 h 5984588"/>
              <a:gd name="connsiteX26" fmla="*/ 4680742 w 8636594"/>
              <a:gd name="connsiteY26" fmla="*/ 5360014 h 5984588"/>
              <a:gd name="connsiteX27" fmla="*/ 4711259 w 8636594"/>
              <a:gd name="connsiteY27" fmla="*/ 5329755 h 5984588"/>
              <a:gd name="connsiteX28" fmla="*/ 4741478 w 8636594"/>
              <a:gd name="connsiteY28" fmla="*/ 5299266 h 5984588"/>
              <a:gd name="connsiteX29" fmla="*/ 4771408 w 8636594"/>
              <a:gd name="connsiteY29" fmla="*/ 5268551 h 5984588"/>
              <a:gd name="connsiteX30" fmla="*/ 4801053 w 8636594"/>
              <a:gd name="connsiteY30" fmla="*/ 5237614 h 5984588"/>
              <a:gd name="connsiteX31" fmla="*/ 4830420 w 8636594"/>
              <a:gd name="connsiteY31" fmla="*/ 5206458 h 5984588"/>
              <a:gd name="connsiteX32" fmla="*/ 4859516 w 8636594"/>
              <a:gd name="connsiteY32" fmla="*/ 5175087 h 5984588"/>
              <a:gd name="connsiteX33" fmla="*/ 4888347 w 8636594"/>
              <a:gd name="connsiteY33" fmla="*/ 5143504 h 5984588"/>
              <a:gd name="connsiteX34" fmla="*/ 4916919 w 8636594"/>
              <a:gd name="connsiteY34" fmla="*/ 5111713 h 5984588"/>
              <a:gd name="connsiteX35" fmla="*/ 4945238 w 8636594"/>
              <a:gd name="connsiteY35" fmla="*/ 5079717 h 5984588"/>
              <a:gd name="connsiteX36" fmla="*/ 4973311 w 8636594"/>
              <a:gd name="connsiteY36" fmla="*/ 5047519 h 5984588"/>
              <a:gd name="connsiteX37" fmla="*/ 5001145 w 8636594"/>
              <a:gd name="connsiteY37" fmla="*/ 5015124 h 5984588"/>
              <a:gd name="connsiteX38" fmla="*/ 5028745 w 8636594"/>
              <a:gd name="connsiteY38" fmla="*/ 4982535 h 5984588"/>
              <a:gd name="connsiteX39" fmla="*/ 5056117 w 8636594"/>
              <a:gd name="connsiteY39" fmla="*/ 4949755 h 5984588"/>
              <a:gd name="connsiteX40" fmla="*/ 5083269 w 8636594"/>
              <a:gd name="connsiteY40" fmla="*/ 4916787 h 5984588"/>
              <a:gd name="connsiteX41" fmla="*/ 5110207 w 8636594"/>
              <a:gd name="connsiteY41" fmla="*/ 4883636 h 5984588"/>
              <a:gd name="connsiteX42" fmla="*/ 5136937 w 8636594"/>
              <a:gd name="connsiteY42" fmla="*/ 4850305 h 5984588"/>
              <a:gd name="connsiteX43" fmla="*/ 5163464 w 8636594"/>
              <a:gd name="connsiteY43" fmla="*/ 4816797 h 5984588"/>
              <a:gd name="connsiteX44" fmla="*/ 5215940 w 8636594"/>
              <a:gd name="connsiteY44" fmla="*/ 4749265 h 5984588"/>
              <a:gd name="connsiteX45" fmla="*/ 5267684 w 8636594"/>
              <a:gd name="connsiteY45" fmla="*/ 4681068 h 5984588"/>
              <a:gd name="connsiteX46" fmla="*/ 5318748 w 8636594"/>
              <a:gd name="connsiteY46" fmla="*/ 4612234 h 5984588"/>
              <a:gd name="connsiteX47" fmla="*/ 5369182 w 8636594"/>
              <a:gd name="connsiteY47" fmla="*/ 4542793 h 5984588"/>
              <a:gd name="connsiteX48" fmla="*/ 5419038 w 8636594"/>
              <a:gd name="connsiteY48" fmla="*/ 4472771 h 5984588"/>
              <a:gd name="connsiteX49" fmla="*/ 5468365 w 8636594"/>
              <a:gd name="connsiteY49" fmla="*/ 4402196 h 5984588"/>
              <a:gd name="connsiteX50" fmla="*/ 5517215 w 8636594"/>
              <a:gd name="connsiteY50" fmla="*/ 4331098 h 5984588"/>
              <a:gd name="connsiteX51" fmla="*/ 5565637 w 8636594"/>
              <a:gd name="connsiteY51" fmla="*/ 4259503 h 5984588"/>
              <a:gd name="connsiteX52" fmla="*/ 5613684 w 8636594"/>
              <a:gd name="connsiteY52" fmla="*/ 4187441 h 5984588"/>
              <a:gd name="connsiteX53" fmla="*/ 5685160 w 8636594"/>
              <a:gd name="connsiteY53" fmla="*/ 4078531 h 5984588"/>
              <a:gd name="connsiteX54" fmla="*/ 5756074 w 8636594"/>
              <a:gd name="connsiteY54" fmla="*/ 3968727 h 5984588"/>
              <a:gd name="connsiteX55" fmla="*/ 5873483 w 8636594"/>
              <a:gd name="connsiteY55" fmla="*/ 3783989 h 5984588"/>
              <a:gd name="connsiteX56" fmla="*/ 6203209 w 8636594"/>
              <a:gd name="connsiteY56" fmla="*/ 3258640 h 5984588"/>
              <a:gd name="connsiteX57" fmla="*/ 6299430 w 8636594"/>
              <a:gd name="connsiteY57" fmla="*/ 3107321 h 5984588"/>
              <a:gd name="connsiteX58" fmla="*/ 6372650 w 8636594"/>
              <a:gd name="connsiteY58" fmla="*/ 2993735 h 5984588"/>
              <a:gd name="connsiteX59" fmla="*/ 6453197 w 8636594"/>
              <a:gd name="connsiteY59" fmla="*/ 2869788 h 5984588"/>
              <a:gd name="connsiteX60" fmla="*/ 6564167 w 8636594"/>
              <a:gd name="connsiteY60" fmla="*/ 2696807 h 5984588"/>
              <a:gd name="connsiteX61" fmla="*/ 6976233 w 8636594"/>
              <a:gd name="connsiteY61" fmla="*/ 2045274 h 5984588"/>
              <a:gd name="connsiteX62" fmla="*/ 7086755 w 8636594"/>
              <a:gd name="connsiteY62" fmla="*/ 1872743 h 5984588"/>
              <a:gd name="connsiteX63" fmla="*/ 7170279 w 8636594"/>
              <a:gd name="connsiteY63" fmla="*/ 1744202 h 5984588"/>
              <a:gd name="connsiteX64" fmla="*/ 7226351 w 8636594"/>
              <a:gd name="connsiteY64" fmla="*/ 1659017 h 5984588"/>
              <a:gd name="connsiteX65" fmla="*/ 7282789 w 8636594"/>
              <a:gd name="connsiteY65" fmla="*/ 1574303 h 5984588"/>
              <a:gd name="connsiteX66" fmla="*/ 7339643 w 8636594"/>
              <a:gd name="connsiteY66" fmla="*/ 1490113 h 5984588"/>
              <a:gd name="connsiteX67" fmla="*/ 7396957 w 8636594"/>
              <a:gd name="connsiteY67" fmla="*/ 1406503 h 5984588"/>
              <a:gd name="connsiteX68" fmla="*/ 7454781 w 8636594"/>
              <a:gd name="connsiteY68" fmla="*/ 1323526 h 5984588"/>
              <a:gd name="connsiteX69" fmla="*/ 7513161 w 8636594"/>
              <a:gd name="connsiteY69" fmla="*/ 1241237 h 5984588"/>
              <a:gd name="connsiteX70" fmla="*/ 7572144 w 8636594"/>
              <a:gd name="connsiteY70" fmla="*/ 1159689 h 5984588"/>
              <a:gd name="connsiteX71" fmla="*/ 7601877 w 8636594"/>
              <a:gd name="connsiteY71" fmla="*/ 1119210 h 5984588"/>
              <a:gd name="connsiteX72" fmla="*/ 7631779 w 8636594"/>
              <a:gd name="connsiteY72" fmla="*/ 1078937 h 5984588"/>
              <a:gd name="connsiteX73" fmla="*/ 7661855 w 8636594"/>
              <a:gd name="connsiteY73" fmla="*/ 1038876 h 5984588"/>
              <a:gd name="connsiteX74" fmla="*/ 7692111 w 8636594"/>
              <a:gd name="connsiteY74" fmla="*/ 999035 h 5984588"/>
              <a:gd name="connsiteX75" fmla="*/ 7722554 w 8636594"/>
              <a:gd name="connsiteY75" fmla="*/ 959419 h 5984588"/>
              <a:gd name="connsiteX76" fmla="*/ 7753190 w 8636594"/>
              <a:gd name="connsiteY76" fmla="*/ 920037 h 5984588"/>
              <a:gd name="connsiteX77" fmla="*/ 7784023 w 8636594"/>
              <a:gd name="connsiteY77" fmla="*/ 880894 h 5984588"/>
              <a:gd name="connsiteX78" fmla="*/ 7815061 w 8636594"/>
              <a:gd name="connsiteY78" fmla="*/ 841997 h 5984588"/>
              <a:gd name="connsiteX79" fmla="*/ 7846308 w 8636594"/>
              <a:gd name="connsiteY79" fmla="*/ 803354 h 5984588"/>
              <a:gd name="connsiteX80" fmla="*/ 7877772 w 8636594"/>
              <a:gd name="connsiteY80" fmla="*/ 764970 h 5984588"/>
              <a:gd name="connsiteX81" fmla="*/ 7909458 w 8636594"/>
              <a:gd name="connsiteY81" fmla="*/ 726853 h 5984588"/>
              <a:gd name="connsiteX82" fmla="*/ 7941371 w 8636594"/>
              <a:gd name="connsiteY82" fmla="*/ 689010 h 5984588"/>
              <a:gd name="connsiteX83" fmla="*/ 7973518 w 8636594"/>
              <a:gd name="connsiteY83" fmla="*/ 651447 h 5984588"/>
              <a:gd name="connsiteX84" fmla="*/ 8005905 w 8636594"/>
              <a:gd name="connsiteY84" fmla="*/ 614171 h 5984588"/>
              <a:gd name="connsiteX85" fmla="*/ 8038538 w 8636594"/>
              <a:gd name="connsiteY85" fmla="*/ 577189 h 5984588"/>
              <a:gd name="connsiteX86" fmla="*/ 8071421 w 8636594"/>
              <a:gd name="connsiteY86" fmla="*/ 540507 h 5984588"/>
              <a:gd name="connsiteX87" fmla="*/ 8104563 w 8636594"/>
              <a:gd name="connsiteY87" fmla="*/ 504132 h 5984588"/>
              <a:gd name="connsiteX88" fmla="*/ 8137967 w 8636594"/>
              <a:gd name="connsiteY88" fmla="*/ 468072 h 5984588"/>
              <a:gd name="connsiteX89" fmla="*/ 8171641 w 8636594"/>
              <a:gd name="connsiteY89" fmla="*/ 432332 h 5984588"/>
              <a:gd name="connsiteX90" fmla="*/ 8205590 w 8636594"/>
              <a:gd name="connsiteY90" fmla="*/ 396920 h 5984588"/>
              <a:gd name="connsiteX91" fmla="*/ 8239820 w 8636594"/>
              <a:gd name="connsiteY91" fmla="*/ 361843 h 5984588"/>
              <a:gd name="connsiteX92" fmla="*/ 8274337 w 8636594"/>
              <a:gd name="connsiteY92" fmla="*/ 327107 h 5984588"/>
              <a:gd name="connsiteX93" fmla="*/ 8309147 w 8636594"/>
              <a:gd name="connsiteY93" fmla="*/ 292718 h 5984588"/>
              <a:gd name="connsiteX94" fmla="*/ 8344256 w 8636594"/>
              <a:gd name="connsiteY94" fmla="*/ 258685 h 5984588"/>
              <a:gd name="connsiteX95" fmla="*/ 8379669 w 8636594"/>
              <a:gd name="connsiteY95" fmla="*/ 225013 h 5984588"/>
              <a:gd name="connsiteX96" fmla="*/ 8415394 w 8636594"/>
              <a:gd name="connsiteY96" fmla="*/ 191709 h 5984588"/>
              <a:gd name="connsiteX97" fmla="*/ 8451434 w 8636594"/>
              <a:gd name="connsiteY97" fmla="*/ 158780 h 5984588"/>
              <a:gd name="connsiteX98" fmla="*/ 8487798 w 8636594"/>
              <a:gd name="connsiteY98" fmla="*/ 126233 h 5984588"/>
              <a:gd name="connsiteX99" fmla="*/ 8524489 w 8636594"/>
              <a:gd name="connsiteY99" fmla="*/ 94075 h 5984588"/>
              <a:gd name="connsiteX100" fmla="*/ 8561515 w 8636594"/>
              <a:gd name="connsiteY100" fmla="*/ 62312 h 5984588"/>
              <a:gd name="connsiteX101" fmla="*/ 8598881 w 8636594"/>
              <a:gd name="connsiteY101" fmla="*/ 30951 h 5984588"/>
              <a:gd name="connsiteX102" fmla="*/ 8636594 w 8636594"/>
              <a:gd name="connsiteY102" fmla="*/ 0 h 5984588"/>
              <a:gd name="connsiteX0" fmla="*/ 8636594 w 8636594"/>
              <a:gd name="connsiteY0" fmla="*/ 0 h 5960574"/>
              <a:gd name="connsiteX1" fmla="*/ 5293 w 8636594"/>
              <a:gd name="connsiteY1" fmla="*/ 0 h 5960574"/>
              <a:gd name="connsiteX2" fmla="*/ 0 w 8636594"/>
              <a:gd name="connsiteY2" fmla="*/ 5587843 h 5960574"/>
              <a:gd name="connsiteX3" fmla="*/ 3921445 w 8636594"/>
              <a:gd name="connsiteY3" fmla="*/ 5960574 h 5960574"/>
              <a:gd name="connsiteX4" fmla="*/ 3960096 w 8636594"/>
              <a:gd name="connsiteY4" fmla="*/ 5936250 h 5960574"/>
              <a:gd name="connsiteX5" fmla="*/ 3998311 w 8636594"/>
              <a:gd name="connsiteY5" fmla="*/ 5911619 h 5960574"/>
              <a:gd name="connsiteX6" fmla="*/ 4036095 w 8636594"/>
              <a:gd name="connsiteY6" fmla="*/ 5886685 h 5960574"/>
              <a:gd name="connsiteX7" fmla="*/ 4073456 w 8636594"/>
              <a:gd name="connsiteY7" fmla="*/ 5861452 h 5960574"/>
              <a:gd name="connsiteX8" fmla="*/ 4110400 w 8636594"/>
              <a:gd name="connsiteY8" fmla="*/ 5835922 h 5960574"/>
              <a:gd name="connsiteX9" fmla="*/ 4146933 w 8636594"/>
              <a:gd name="connsiteY9" fmla="*/ 5810100 h 5960574"/>
              <a:gd name="connsiteX10" fmla="*/ 4183061 w 8636594"/>
              <a:gd name="connsiteY10" fmla="*/ 5783988 h 5960574"/>
              <a:gd name="connsiteX11" fmla="*/ 4218791 w 8636594"/>
              <a:gd name="connsiteY11" fmla="*/ 5757591 h 5960574"/>
              <a:gd name="connsiteX12" fmla="*/ 4254129 w 8636594"/>
              <a:gd name="connsiteY12" fmla="*/ 5730912 h 5960574"/>
              <a:gd name="connsiteX13" fmla="*/ 4289081 w 8636594"/>
              <a:gd name="connsiteY13" fmla="*/ 5703955 h 5960574"/>
              <a:gd name="connsiteX14" fmla="*/ 4323654 w 8636594"/>
              <a:gd name="connsiteY14" fmla="*/ 5676722 h 5960574"/>
              <a:gd name="connsiteX15" fmla="*/ 4357854 w 8636594"/>
              <a:gd name="connsiteY15" fmla="*/ 5649218 h 5960574"/>
              <a:gd name="connsiteX16" fmla="*/ 4391688 w 8636594"/>
              <a:gd name="connsiteY16" fmla="*/ 5621446 h 5960574"/>
              <a:gd name="connsiteX17" fmla="*/ 4425162 w 8636594"/>
              <a:gd name="connsiteY17" fmla="*/ 5593409 h 5960574"/>
              <a:gd name="connsiteX18" fmla="*/ 4458281 w 8636594"/>
              <a:gd name="connsiteY18" fmla="*/ 5565111 h 5960574"/>
              <a:gd name="connsiteX19" fmla="*/ 4491053 w 8636594"/>
              <a:gd name="connsiteY19" fmla="*/ 5536556 h 5960574"/>
              <a:gd name="connsiteX20" fmla="*/ 4523484 w 8636594"/>
              <a:gd name="connsiteY20" fmla="*/ 5507747 h 5960574"/>
              <a:gd name="connsiteX21" fmla="*/ 4555580 w 8636594"/>
              <a:gd name="connsiteY21" fmla="*/ 5478687 h 5960574"/>
              <a:gd name="connsiteX22" fmla="*/ 4587347 w 8636594"/>
              <a:gd name="connsiteY22" fmla="*/ 5449380 h 5960574"/>
              <a:gd name="connsiteX23" fmla="*/ 4618793 w 8636594"/>
              <a:gd name="connsiteY23" fmla="*/ 5419830 h 5960574"/>
              <a:gd name="connsiteX24" fmla="*/ 4649922 w 8636594"/>
              <a:gd name="connsiteY24" fmla="*/ 5390040 h 5960574"/>
              <a:gd name="connsiteX25" fmla="*/ 4680742 w 8636594"/>
              <a:gd name="connsiteY25" fmla="*/ 5360014 h 5960574"/>
              <a:gd name="connsiteX26" fmla="*/ 4711259 w 8636594"/>
              <a:gd name="connsiteY26" fmla="*/ 5329755 h 5960574"/>
              <a:gd name="connsiteX27" fmla="*/ 4741478 w 8636594"/>
              <a:gd name="connsiteY27" fmla="*/ 5299266 h 5960574"/>
              <a:gd name="connsiteX28" fmla="*/ 4771408 w 8636594"/>
              <a:gd name="connsiteY28" fmla="*/ 5268551 h 5960574"/>
              <a:gd name="connsiteX29" fmla="*/ 4801053 w 8636594"/>
              <a:gd name="connsiteY29" fmla="*/ 5237614 h 5960574"/>
              <a:gd name="connsiteX30" fmla="*/ 4830420 w 8636594"/>
              <a:gd name="connsiteY30" fmla="*/ 5206458 h 5960574"/>
              <a:gd name="connsiteX31" fmla="*/ 4859516 w 8636594"/>
              <a:gd name="connsiteY31" fmla="*/ 5175087 h 5960574"/>
              <a:gd name="connsiteX32" fmla="*/ 4888347 w 8636594"/>
              <a:gd name="connsiteY32" fmla="*/ 5143504 h 5960574"/>
              <a:gd name="connsiteX33" fmla="*/ 4916919 w 8636594"/>
              <a:gd name="connsiteY33" fmla="*/ 5111713 h 5960574"/>
              <a:gd name="connsiteX34" fmla="*/ 4945238 w 8636594"/>
              <a:gd name="connsiteY34" fmla="*/ 5079717 h 5960574"/>
              <a:gd name="connsiteX35" fmla="*/ 4973311 w 8636594"/>
              <a:gd name="connsiteY35" fmla="*/ 5047519 h 5960574"/>
              <a:gd name="connsiteX36" fmla="*/ 5001145 w 8636594"/>
              <a:gd name="connsiteY36" fmla="*/ 5015124 h 5960574"/>
              <a:gd name="connsiteX37" fmla="*/ 5028745 w 8636594"/>
              <a:gd name="connsiteY37" fmla="*/ 4982535 h 5960574"/>
              <a:gd name="connsiteX38" fmla="*/ 5056117 w 8636594"/>
              <a:gd name="connsiteY38" fmla="*/ 4949755 h 5960574"/>
              <a:gd name="connsiteX39" fmla="*/ 5083269 w 8636594"/>
              <a:gd name="connsiteY39" fmla="*/ 4916787 h 5960574"/>
              <a:gd name="connsiteX40" fmla="*/ 5110207 w 8636594"/>
              <a:gd name="connsiteY40" fmla="*/ 4883636 h 5960574"/>
              <a:gd name="connsiteX41" fmla="*/ 5136937 w 8636594"/>
              <a:gd name="connsiteY41" fmla="*/ 4850305 h 5960574"/>
              <a:gd name="connsiteX42" fmla="*/ 5163464 w 8636594"/>
              <a:gd name="connsiteY42" fmla="*/ 4816797 h 5960574"/>
              <a:gd name="connsiteX43" fmla="*/ 5215940 w 8636594"/>
              <a:gd name="connsiteY43" fmla="*/ 4749265 h 5960574"/>
              <a:gd name="connsiteX44" fmla="*/ 5267684 w 8636594"/>
              <a:gd name="connsiteY44" fmla="*/ 4681068 h 5960574"/>
              <a:gd name="connsiteX45" fmla="*/ 5318748 w 8636594"/>
              <a:gd name="connsiteY45" fmla="*/ 4612234 h 5960574"/>
              <a:gd name="connsiteX46" fmla="*/ 5369182 w 8636594"/>
              <a:gd name="connsiteY46" fmla="*/ 4542793 h 5960574"/>
              <a:gd name="connsiteX47" fmla="*/ 5419038 w 8636594"/>
              <a:gd name="connsiteY47" fmla="*/ 4472771 h 5960574"/>
              <a:gd name="connsiteX48" fmla="*/ 5468365 w 8636594"/>
              <a:gd name="connsiteY48" fmla="*/ 4402196 h 5960574"/>
              <a:gd name="connsiteX49" fmla="*/ 5517215 w 8636594"/>
              <a:gd name="connsiteY49" fmla="*/ 4331098 h 5960574"/>
              <a:gd name="connsiteX50" fmla="*/ 5565637 w 8636594"/>
              <a:gd name="connsiteY50" fmla="*/ 4259503 h 5960574"/>
              <a:gd name="connsiteX51" fmla="*/ 5613684 w 8636594"/>
              <a:gd name="connsiteY51" fmla="*/ 4187441 h 5960574"/>
              <a:gd name="connsiteX52" fmla="*/ 5685160 w 8636594"/>
              <a:gd name="connsiteY52" fmla="*/ 4078531 h 5960574"/>
              <a:gd name="connsiteX53" fmla="*/ 5756074 w 8636594"/>
              <a:gd name="connsiteY53" fmla="*/ 3968727 h 5960574"/>
              <a:gd name="connsiteX54" fmla="*/ 5873483 w 8636594"/>
              <a:gd name="connsiteY54" fmla="*/ 3783989 h 5960574"/>
              <a:gd name="connsiteX55" fmla="*/ 6203209 w 8636594"/>
              <a:gd name="connsiteY55" fmla="*/ 3258640 h 5960574"/>
              <a:gd name="connsiteX56" fmla="*/ 6299430 w 8636594"/>
              <a:gd name="connsiteY56" fmla="*/ 3107321 h 5960574"/>
              <a:gd name="connsiteX57" fmla="*/ 6372650 w 8636594"/>
              <a:gd name="connsiteY57" fmla="*/ 2993735 h 5960574"/>
              <a:gd name="connsiteX58" fmla="*/ 6453197 w 8636594"/>
              <a:gd name="connsiteY58" fmla="*/ 2869788 h 5960574"/>
              <a:gd name="connsiteX59" fmla="*/ 6564167 w 8636594"/>
              <a:gd name="connsiteY59" fmla="*/ 2696807 h 5960574"/>
              <a:gd name="connsiteX60" fmla="*/ 6976233 w 8636594"/>
              <a:gd name="connsiteY60" fmla="*/ 2045274 h 5960574"/>
              <a:gd name="connsiteX61" fmla="*/ 7086755 w 8636594"/>
              <a:gd name="connsiteY61" fmla="*/ 1872743 h 5960574"/>
              <a:gd name="connsiteX62" fmla="*/ 7170279 w 8636594"/>
              <a:gd name="connsiteY62" fmla="*/ 1744202 h 5960574"/>
              <a:gd name="connsiteX63" fmla="*/ 7226351 w 8636594"/>
              <a:gd name="connsiteY63" fmla="*/ 1659017 h 5960574"/>
              <a:gd name="connsiteX64" fmla="*/ 7282789 w 8636594"/>
              <a:gd name="connsiteY64" fmla="*/ 1574303 h 5960574"/>
              <a:gd name="connsiteX65" fmla="*/ 7339643 w 8636594"/>
              <a:gd name="connsiteY65" fmla="*/ 1490113 h 5960574"/>
              <a:gd name="connsiteX66" fmla="*/ 7396957 w 8636594"/>
              <a:gd name="connsiteY66" fmla="*/ 1406503 h 5960574"/>
              <a:gd name="connsiteX67" fmla="*/ 7454781 w 8636594"/>
              <a:gd name="connsiteY67" fmla="*/ 1323526 h 5960574"/>
              <a:gd name="connsiteX68" fmla="*/ 7513161 w 8636594"/>
              <a:gd name="connsiteY68" fmla="*/ 1241237 h 5960574"/>
              <a:gd name="connsiteX69" fmla="*/ 7572144 w 8636594"/>
              <a:gd name="connsiteY69" fmla="*/ 1159689 h 5960574"/>
              <a:gd name="connsiteX70" fmla="*/ 7601877 w 8636594"/>
              <a:gd name="connsiteY70" fmla="*/ 1119210 h 5960574"/>
              <a:gd name="connsiteX71" fmla="*/ 7631779 w 8636594"/>
              <a:gd name="connsiteY71" fmla="*/ 1078937 h 5960574"/>
              <a:gd name="connsiteX72" fmla="*/ 7661855 w 8636594"/>
              <a:gd name="connsiteY72" fmla="*/ 1038876 h 5960574"/>
              <a:gd name="connsiteX73" fmla="*/ 7692111 w 8636594"/>
              <a:gd name="connsiteY73" fmla="*/ 999035 h 5960574"/>
              <a:gd name="connsiteX74" fmla="*/ 7722554 w 8636594"/>
              <a:gd name="connsiteY74" fmla="*/ 959419 h 5960574"/>
              <a:gd name="connsiteX75" fmla="*/ 7753190 w 8636594"/>
              <a:gd name="connsiteY75" fmla="*/ 920037 h 5960574"/>
              <a:gd name="connsiteX76" fmla="*/ 7784023 w 8636594"/>
              <a:gd name="connsiteY76" fmla="*/ 880894 h 5960574"/>
              <a:gd name="connsiteX77" fmla="*/ 7815061 w 8636594"/>
              <a:gd name="connsiteY77" fmla="*/ 841997 h 5960574"/>
              <a:gd name="connsiteX78" fmla="*/ 7846308 w 8636594"/>
              <a:gd name="connsiteY78" fmla="*/ 803354 h 5960574"/>
              <a:gd name="connsiteX79" fmla="*/ 7877772 w 8636594"/>
              <a:gd name="connsiteY79" fmla="*/ 764970 h 5960574"/>
              <a:gd name="connsiteX80" fmla="*/ 7909458 w 8636594"/>
              <a:gd name="connsiteY80" fmla="*/ 726853 h 5960574"/>
              <a:gd name="connsiteX81" fmla="*/ 7941371 w 8636594"/>
              <a:gd name="connsiteY81" fmla="*/ 689010 h 5960574"/>
              <a:gd name="connsiteX82" fmla="*/ 7973518 w 8636594"/>
              <a:gd name="connsiteY82" fmla="*/ 651447 h 5960574"/>
              <a:gd name="connsiteX83" fmla="*/ 8005905 w 8636594"/>
              <a:gd name="connsiteY83" fmla="*/ 614171 h 5960574"/>
              <a:gd name="connsiteX84" fmla="*/ 8038538 w 8636594"/>
              <a:gd name="connsiteY84" fmla="*/ 577189 h 5960574"/>
              <a:gd name="connsiteX85" fmla="*/ 8071421 w 8636594"/>
              <a:gd name="connsiteY85" fmla="*/ 540507 h 5960574"/>
              <a:gd name="connsiteX86" fmla="*/ 8104563 w 8636594"/>
              <a:gd name="connsiteY86" fmla="*/ 504132 h 5960574"/>
              <a:gd name="connsiteX87" fmla="*/ 8137967 w 8636594"/>
              <a:gd name="connsiteY87" fmla="*/ 468072 h 5960574"/>
              <a:gd name="connsiteX88" fmla="*/ 8171641 w 8636594"/>
              <a:gd name="connsiteY88" fmla="*/ 432332 h 5960574"/>
              <a:gd name="connsiteX89" fmla="*/ 8205590 w 8636594"/>
              <a:gd name="connsiteY89" fmla="*/ 396920 h 5960574"/>
              <a:gd name="connsiteX90" fmla="*/ 8239820 w 8636594"/>
              <a:gd name="connsiteY90" fmla="*/ 361843 h 5960574"/>
              <a:gd name="connsiteX91" fmla="*/ 8274337 w 8636594"/>
              <a:gd name="connsiteY91" fmla="*/ 327107 h 5960574"/>
              <a:gd name="connsiteX92" fmla="*/ 8309147 w 8636594"/>
              <a:gd name="connsiteY92" fmla="*/ 292718 h 5960574"/>
              <a:gd name="connsiteX93" fmla="*/ 8344256 w 8636594"/>
              <a:gd name="connsiteY93" fmla="*/ 258685 h 5960574"/>
              <a:gd name="connsiteX94" fmla="*/ 8379669 w 8636594"/>
              <a:gd name="connsiteY94" fmla="*/ 225013 h 5960574"/>
              <a:gd name="connsiteX95" fmla="*/ 8415394 w 8636594"/>
              <a:gd name="connsiteY95" fmla="*/ 191709 h 5960574"/>
              <a:gd name="connsiteX96" fmla="*/ 8451434 w 8636594"/>
              <a:gd name="connsiteY96" fmla="*/ 158780 h 5960574"/>
              <a:gd name="connsiteX97" fmla="*/ 8487798 w 8636594"/>
              <a:gd name="connsiteY97" fmla="*/ 126233 h 5960574"/>
              <a:gd name="connsiteX98" fmla="*/ 8524489 w 8636594"/>
              <a:gd name="connsiteY98" fmla="*/ 94075 h 5960574"/>
              <a:gd name="connsiteX99" fmla="*/ 8561515 w 8636594"/>
              <a:gd name="connsiteY99" fmla="*/ 62312 h 5960574"/>
              <a:gd name="connsiteX100" fmla="*/ 8598881 w 8636594"/>
              <a:gd name="connsiteY100" fmla="*/ 30951 h 5960574"/>
              <a:gd name="connsiteX101" fmla="*/ 8636594 w 8636594"/>
              <a:gd name="connsiteY101" fmla="*/ 0 h 5960574"/>
              <a:gd name="connsiteX0" fmla="*/ 8636594 w 8636594"/>
              <a:gd name="connsiteY0" fmla="*/ 0 h 5936250"/>
              <a:gd name="connsiteX1" fmla="*/ 5293 w 8636594"/>
              <a:gd name="connsiteY1" fmla="*/ 0 h 5936250"/>
              <a:gd name="connsiteX2" fmla="*/ 0 w 8636594"/>
              <a:gd name="connsiteY2" fmla="*/ 5587843 h 5936250"/>
              <a:gd name="connsiteX3" fmla="*/ 3960096 w 8636594"/>
              <a:gd name="connsiteY3" fmla="*/ 5936250 h 5936250"/>
              <a:gd name="connsiteX4" fmla="*/ 3998311 w 8636594"/>
              <a:gd name="connsiteY4" fmla="*/ 5911619 h 5936250"/>
              <a:gd name="connsiteX5" fmla="*/ 4036095 w 8636594"/>
              <a:gd name="connsiteY5" fmla="*/ 5886685 h 5936250"/>
              <a:gd name="connsiteX6" fmla="*/ 4073456 w 8636594"/>
              <a:gd name="connsiteY6" fmla="*/ 5861452 h 5936250"/>
              <a:gd name="connsiteX7" fmla="*/ 4110400 w 8636594"/>
              <a:gd name="connsiteY7" fmla="*/ 5835922 h 5936250"/>
              <a:gd name="connsiteX8" fmla="*/ 4146933 w 8636594"/>
              <a:gd name="connsiteY8" fmla="*/ 5810100 h 5936250"/>
              <a:gd name="connsiteX9" fmla="*/ 4183061 w 8636594"/>
              <a:gd name="connsiteY9" fmla="*/ 5783988 h 5936250"/>
              <a:gd name="connsiteX10" fmla="*/ 4218791 w 8636594"/>
              <a:gd name="connsiteY10" fmla="*/ 5757591 h 5936250"/>
              <a:gd name="connsiteX11" fmla="*/ 4254129 w 8636594"/>
              <a:gd name="connsiteY11" fmla="*/ 5730912 h 5936250"/>
              <a:gd name="connsiteX12" fmla="*/ 4289081 w 8636594"/>
              <a:gd name="connsiteY12" fmla="*/ 5703955 h 5936250"/>
              <a:gd name="connsiteX13" fmla="*/ 4323654 w 8636594"/>
              <a:gd name="connsiteY13" fmla="*/ 5676722 h 5936250"/>
              <a:gd name="connsiteX14" fmla="*/ 4357854 w 8636594"/>
              <a:gd name="connsiteY14" fmla="*/ 5649218 h 5936250"/>
              <a:gd name="connsiteX15" fmla="*/ 4391688 w 8636594"/>
              <a:gd name="connsiteY15" fmla="*/ 5621446 h 5936250"/>
              <a:gd name="connsiteX16" fmla="*/ 4425162 w 8636594"/>
              <a:gd name="connsiteY16" fmla="*/ 5593409 h 5936250"/>
              <a:gd name="connsiteX17" fmla="*/ 4458281 w 8636594"/>
              <a:gd name="connsiteY17" fmla="*/ 5565111 h 5936250"/>
              <a:gd name="connsiteX18" fmla="*/ 4491053 w 8636594"/>
              <a:gd name="connsiteY18" fmla="*/ 5536556 h 5936250"/>
              <a:gd name="connsiteX19" fmla="*/ 4523484 w 8636594"/>
              <a:gd name="connsiteY19" fmla="*/ 5507747 h 5936250"/>
              <a:gd name="connsiteX20" fmla="*/ 4555580 w 8636594"/>
              <a:gd name="connsiteY20" fmla="*/ 5478687 h 5936250"/>
              <a:gd name="connsiteX21" fmla="*/ 4587347 w 8636594"/>
              <a:gd name="connsiteY21" fmla="*/ 5449380 h 5936250"/>
              <a:gd name="connsiteX22" fmla="*/ 4618793 w 8636594"/>
              <a:gd name="connsiteY22" fmla="*/ 5419830 h 5936250"/>
              <a:gd name="connsiteX23" fmla="*/ 4649922 w 8636594"/>
              <a:gd name="connsiteY23" fmla="*/ 5390040 h 5936250"/>
              <a:gd name="connsiteX24" fmla="*/ 4680742 w 8636594"/>
              <a:gd name="connsiteY24" fmla="*/ 5360014 h 5936250"/>
              <a:gd name="connsiteX25" fmla="*/ 4711259 w 8636594"/>
              <a:gd name="connsiteY25" fmla="*/ 5329755 h 5936250"/>
              <a:gd name="connsiteX26" fmla="*/ 4741478 w 8636594"/>
              <a:gd name="connsiteY26" fmla="*/ 5299266 h 5936250"/>
              <a:gd name="connsiteX27" fmla="*/ 4771408 w 8636594"/>
              <a:gd name="connsiteY27" fmla="*/ 5268551 h 5936250"/>
              <a:gd name="connsiteX28" fmla="*/ 4801053 w 8636594"/>
              <a:gd name="connsiteY28" fmla="*/ 5237614 h 5936250"/>
              <a:gd name="connsiteX29" fmla="*/ 4830420 w 8636594"/>
              <a:gd name="connsiteY29" fmla="*/ 5206458 h 5936250"/>
              <a:gd name="connsiteX30" fmla="*/ 4859516 w 8636594"/>
              <a:gd name="connsiteY30" fmla="*/ 5175087 h 5936250"/>
              <a:gd name="connsiteX31" fmla="*/ 4888347 w 8636594"/>
              <a:gd name="connsiteY31" fmla="*/ 5143504 h 5936250"/>
              <a:gd name="connsiteX32" fmla="*/ 4916919 w 8636594"/>
              <a:gd name="connsiteY32" fmla="*/ 5111713 h 5936250"/>
              <a:gd name="connsiteX33" fmla="*/ 4945238 w 8636594"/>
              <a:gd name="connsiteY33" fmla="*/ 5079717 h 5936250"/>
              <a:gd name="connsiteX34" fmla="*/ 4973311 w 8636594"/>
              <a:gd name="connsiteY34" fmla="*/ 5047519 h 5936250"/>
              <a:gd name="connsiteX35" fmla="*/ 5001145 w 8636594"/>
              <a:gd name="connsiteY35" fmla="*/ 5015124 h 5936250"/>
              <a:gd name="connsiteX36" fmla="*/ 5028745 w 8636594"/>
              <a:gd name="connsiteY36" fmla="*/ 4982535 h 5936250"/>
              <a:gd name="connsiteX37" fmla="*/ 5056117 w 8636594"/>
              <a:gd name="connsiteY37" fmla="*/ 4949755 h 5936250"/>
              <a:gd name="connsiteX38" fmla="*/ 5083269 w 8636594"/>
              <a:gd name="connsiteY38" fmla="*/ 4916787 h 5936250"/>
              <a:gd name="connsiteX39" fmla="*/ 5110207 w 8636594"/>
              <a:gd name="connsiteY39" fmla="*/ 4883636 h 5936250"/>
              <a:gd name="connsiteX40" fmla="*/ 5136937 w 8636594"/>
              <a:gd name="connsiteY40" fmla="*/ 4850305 h 5936250"/>
              <a:gd name="connsiteX41" fmla="*/ 5163464 w 8636594"/>
              <a:gd name="connsiteY41" fmla="*/ 4816797 h 5936250"/>
              <a:gd name="connsiteX42" fmla="*/ 5215940 w 8636594"/>
              <a:gd name="connsiteY42" fmla="*/ 4749265 h 5936250"/>
              <a:gd name="connsiteX43" fmla="*/ 5267684 w 8636594"/>
              <a:gd name="connsiteY43" fmla="*/ 4681068 h 5936250"/>
              <a:gd name="connsiteX44" fmla="*/ 5318748 w 8636594"/>
              <a:gd name="connsiteY44" fmla="*/ 4612234 h 5936250"/>
              <a:gd name="connsiteX45" fmla="*/ 5369182 w 8636594"/>
              <a:gd name="connsiteY45" fmla="*/ 4542793 h 5936250"/>
              <a:gd name="connsiteX46" fmla="*/ 5419038 w 8636594"/>
              <a:gd name="connsiteY46" fmla="*/ 4472771 h 5936250"/>
              <a:gd name="connsiteX47" fmla="*/ 5468365 w 8636594"/>
              <a:gd name="connsiteY47" fmla="*/ 4402196 h 5936250"/>
              <a:gd name="connsiteX48" fmla="*/ 5517215 w 8636594"/>
              <a:gd name="connsiteY48" fmla="*/ 4331098 h 5936250"/>
              <a:gd name="connsiteX49" fmla="*/ 5565637 w 8636594"/>
              <a:gd name="connsiteY49" fmla="*/ 4259503 h 5936250"/>
              <a:gd name="connsiteX50" fmla="*/ 5613684 w 8636594"/>
              <a:gd name="connsiteY50" fmla="*/ 4187441 h 5936250"/>
              <a:gd name="connsiteX51" fmla="*/ 5685160 w 8636594"/>
              <a:gd name="connsiteY51" fmla="*/ 4078531 h 5936250"/>
              <a:gd name="connsiteX52" fmla="*/ 5756074 w 8636594"/>
              <a:gd name="connsiteY52" fmla="*/ 3968727 h 5936250"/>
              <a:gd name="connsiteX53" fmla="*/ 5873483 w 8636594"/>
              <a:gd name="connsiteY53" fmla="*/ 3783989 h 5936250"/>
              <a:gd name="connsiteX54" fmla="*/ 6203209 w 8636594"/>
              <a:gd name="connsiteY54" fmla="*/ 3258640 h 5936250"/>
              <a:gd name="connsiteX55" fmla="*/ 6299430 w 8636594"/>
              <a:gd name="connsiteY55" fmla="*/ 3107321 h 5936250"/>
              <a:gd name="connsiteX56" fmla="*/ 6372650 w 8636594"/>
              <a:gd name="connsiteY56" fmla="*/ 2993735 h 5936250"/>
              <a:gd name="connsiteX57" fmla="*/ 6453197 w 8636594"/>
              <a:gd name="connsiteY57" fmla="*/ 2869788 h 5936250"/>
              <a:gd name="connsiteX58" fmla="*/ 6564167 w 8636594"/>
              <a:gd name="connsiteY58" fmla="*/ 2696807 h 5936250"/>
              <a:gd name="connsiteX59" fmla="*/ 6976233 w 8636594"/>
              <a:gd name="connsiteY59" fmla="*/ 2045274 h 5936250"/>
              <a:gd name="connsiteX60" fmla="*/ 7086755 w 8636594"/>
              <a:gd name="connsiteY60" fmla="*/ 1872743 h 5936250"/>
              <a:gd name="connsiteX61" fmla="*/ 7170279 w 8636594"/>
              <a:gd name="connsiteY61" fmla="*/ 1744202 h 5936250"/>
              <a:gd name="connsiteX62" fmla="*/ 7226351 w 8636594"/>
              <a:gd name="connsiteY62" fmla="*/ 1659017 h 5936250"/>
              <a:gd name="connsiteX63" fmla="*/ 7282789 w 8636594"/>
              <a:gd name="connsiteY63" fmla="*/ 1574303 h 5936250"/>
              <a:gd name="connsiteX64" fmla="*/ 7339643 w 8636594"/>
              <a:gd name="connsiteY64" fmla="*/ 1490113 h 5936250"/>
              <a:gd name="connsiteX65" fmla="*/ 7396957 w 8636594"/>
              <a:gd name="connsiteY65" fmla="*/ 1406503 h 5936250"/>
              <a:gd name="connsiteX66" fmla="*/ 7454781 w 8636594"/>
              <a:gd name="connsiteY66" fmla="*/ 1323526 h 5936250"/>
              <a:gd name="connsiteX67" fmla="*/ 7513161 w 8636594"/>
              <a:gd name="connsiteY67" fmla="*/ 1241237 h 5936250"/>
              <a:gd name="connsiteX68" fmla="*/ 7572144 w 8636594"/>
              <a:gd name="connsiteY68" fmla="*/ 1159689 h 5936250"/>
              <a:gd name="connsiteX69" fmla="*/ 7601877 w 8636594"/>
              <a:gd name="connsiteY69" fmla="*/ 1119210 h 5936250"/>
              <a:gd name="connsiteX70" fmla="*/ 7631779 w 8636594"/>
              <a:gd name="connsiteY70" fmla="*/ 1078937 h 5936250"/>
              <a:gd name="connsiteX71" fmla="*/ 7661855 w 8636594"/>
              <a:gd name="connsiteY71" fmla="*/ 1038876 h 5936250"/>
              <a:gd name="connsiteX72" fmla="*/ 7692111 w 8636594"/>
              <a:gd name="connsiteY72" fmla="*/ 999035 h 5936250"/>
              <a:gd name="connsiteX73" fmla="*/ 7722554 w 8636594"/>
              <a:gd name="connsiteY73" fmla="*/ 959419 h 5936250"/>
              <a:gd name="connsiteX74" fmla="*/ 7753190 w 8636594"/>
              <a:gd name="connsiteY74" fmla="*/ 920037 h 5936250"/>
              <a:gd name="connsiteX75" fmla="*/ 7784023 w 8636594"/>
              <a:gd name="connsiteY75" fmla="*/ 880894 h 5936250"/>
              <a:gd name="connsiteX76" fmla="*/ 7815061 w 8636594"/>
              <a:gd name="connsiteY76" fmla="*/ 841997 h 5936250"/>
              <a:gd name="connsiteX77" fmla="*/ 7846308 w 8636594"/>
              <a:gd name="connsiteY77" fmla="*/ 803354 h 5936250"/>
              <a:gd name="connsiteX78" fmla="*/ 7877772 w 8636594"/>
              <a:gd name="connsiteY78" fmla="*/ 764970 h 5936250"/>
              <a:gd name="connsiteX79" fmla="*/ 7909458 w 8636594"/>
              <a:gd name="connsiteY79" fmla="*/ 726853 h 5936250"/>
              <a:gd name="connsiteX80" fmla="*/ 7941371 w 8636594"/>
              <a:gd name="connsiteY80" fmla="*/ 689010 h 5936250"/>
              <a:gd name="connsiteX81" fmla="*/ 7973518 w 8636594"/>
              <a:gd name="connsiteY81" fmla="*/ 651447 h 5936250"/>
              <a:gd name="connsiteX82" fmla="*/ 8005905 w 8636594"/>
              <a:gd name="connsiteY82" fmla="*/ 614171 h 5936250"/>
              <a:gd name="connsiteX83" fmla="*/ 8038538 w 8636594"/>
              <a:gd name="connsiteY83" fmla="*/ 577189 h 5936250"/>
              <a:gd name="connsiteX84" fmla="*/ 8071421 w 8636594"/>
              <a:gd name="connsiteY84" fmla="*/ 540507 h 5936250"/>
              <a:gd name="connsiteX85" fmla="*/ 8104563 w 8636594"/>
              <a:gd name="connsiteY85" fmla="*/ 504132 h 5936250"/>
              <a:gd name="connsiteX86" fmla="*/ 8137967 w 8636594"/>
              <a:gd name="connsiteY86" fmla="*/ 468072 h 5936250"/>
              <a:gd name="connsiteX87" fmla="*/ 8171641 w 8636594"/>
              <a:gd name="connsiteY87" fmla="*/ 432332 h 5936250"/>
              <a:gd name="connsiteX88" fmla="*/ 8205590 w 8636594"/>
              <a:gd name="connsiteY88" fmla="*/ 396920 h 5936250"/>
              <a:gd name="connsiteX89" fmla="*/ 8239820 w 8636594"/>
              <a:gd name="connsiteY89" fmla="*/ 361843 h 5936250"/>
              <a:gd name="connsiteX90" fmla="*/ 8274337 w 8636594"/>
              <a:gd name="connsiteY90" fmla="*/ 327107 h 5936250"/>
              <a:gd name="connsiteX91" fmla="*/ 8309147 w 8636594"/>
              <a:gd name="connsiteY91" fmla="*/ 292718 h 5936250"/>
              <a:gd name="connsiteX92" fmla="*/ 8344256 w 8636594"/>
              <a:gd name="connsiteY92" fmla="*/ 258685 h 5936250"/>
              <a:gd name="connsiteX93" fmla="*/ 8379669 w 8636594"/>
              <a:gd name="connsiteY93" fmla="*/ 225013 h 5936250"/>
              <a:gd name="connsiteX94" fmla="*/ 8415394 w 8636594"/>
              <a:gd name="connsiteY94" fmla="*/ 191709 h 5936250"/>
              <a:gd name="connsiteX95" fmla="*/ 8451434 w 8636594"/>
              <a:gd name="connsiteY95" fmla="*/ 158780 h 5936250"/>
              <a:gd name="connsiteX96" fmla="*/ 8487798 w 8636594"/>
              <a:gd name="connsiteY96" fmla="*/ 126233 h 5936250"/>
              <a:gd name="connsiteX97" fmla="*/ 8524489 w 8636594"/>
              <a:gd name="connsiteY97" fmla="*/ 94075 h 5936250"/>
              <a:gd name="connsiteX98" fmla="*/ 8561515 w 8636594"/>
              <a:gd name="connsiteY98" fmla="*/ 62312 h 5936250"/>
              <a:gd name="connsiteX99" fmla="*/ 8598881 w 8636594"/>
              <a:gd name="connsiteY99" fmla="*/ 30951 h 5936250"/>
              <a:gd name="connsiteX100" fmla="*/ 8636594 w 8636594"/>
              <a:gd name="connsiteY100" fmla="*/ 0 h 5936250"/>
              <a:gd name="connsiteX0" fmla="*/ 8636594 w 8636594"/>
              <a:gd name="connsiteY0" fmla="*/ 0 h 5911619"/>
              <a:gd name="connsiteX1" fmla="*/ 5293 w 8636594"/>
              <a:gd name="connsiteY1" fmla="*/ 0 h 5911619"/>
              <a:gd name="connsiteX2" fmla="*/ 0 w 8636594"/>
              <a:gd name="connsiteY2" fmla="*/ 5587843 h 5911619"/>
              <a:gd name="connsiteX3" fmla="*/ 3998311 w 8636594"/>
              <a:gd name="connsiteY3" fmla="*/ 5911619 h 5911619"/>
              <a:gd name="connsiteX4" fmla="*/ 4036095 w 8636594"/>
              <a:gd name="connsiteY4" fmla="*/ 5886685 h 5911619"/>
              <a:gd name="connsiteX5" fmla="*/ 4073456 w 8636594"/>
              <a:gd name="connsiteY5" fmla="*/ 5861452 h 5911619"/>
              <a:gd name="connsiteX6" fmla="*/ 4110400 w 8636594"/>
              <a:gd name="connsiteY6" fmla="*/ 5835922 h 5911619"/>
              <a:gd name="connsiteX7" fmla="*/ 4146933 w 8636594"/>
              <a:gd name="connsiteY7" fmla="*/ 5810100 h 5911619"/>
              <a:gd name="connsiteX8" fmla="*/ 4183061 w 8636594"/>
              <a:gd name="connsiteY8" fmla="*/ 5783988 h 5911619"/>
              <a:gd name="connsiteX9" fmla="*/ 4218791 w 8636594"/>
              <a:gd name="connsiteY9" fmla="*/ 5757591 h 5911619"/>
              <a:gd name="connsiteX10" fmla="*/ 4254129 w 8636594"/>
              <a:gd name="connsiteY10" fmla="*/ 5730912 h 5911619"/>
              <a:gd name="connsiteX11" fmla="*/ 4289081 w 8636594"/>
              <a:gd name="connsiteY11" fmla="*/ 5703955 h 5911619"/>
              <a:gd name="connsiteX12" fmla="*/ 4323654 w 8636594"/>
              <a:gd name="connsiteY12" fmla="*/ 5676722 h 5911619"/>
              <a:gd name="connsiteX13" fmla="*/ 4357854 w 8636594"/>
              <a:gd name="connsiteY13" fmla="*/ 5649218 h 5911619"/>
              <a:gd name="connsiteX14" fmla="*/ 4391688 w 8636594"/>
              <a:gd name="connsiteY14" fmla="*/ 5621446 h 5911619"/>
              <a:gd name="connsiteX15" fmla="*/ 4425162 w 8636594"/>
              <a:gd name="connsiteY15" fmla="*/ 5593409 h 5911619"/>
              <a:gd name="connsiteX16" fmla="*/ 4458281 w 8636594"/>
              <a:gd name="connsiteY16" fmla="*/ 5565111 h 5911619"/>
              <a:gd name="connsiteX17" fmla="*/ 4491053 w 8636594"/>
              <a:gd name="connsiteY17" fmla="*/ 5536556 h 5911619"/>
              <a:gd name="connsiteX18" fmla="*/ 4523484 w 8636594"/>
              <a:gd name="connsiteY18" fmla="*/ 5507747 h 5911619"/>
              <a:gd name="connsiteX19" fmla="*/ 4555580 w 8636594"/>
              <a:gd name="connsiteY19" fmla="*/ 5478687 h 5911619"/>
              <a:gd name="connsiteX20" fmla="*/ 4587347 w 8636594"/>
              <a:gd name="connsiteY20" fmla="*/ 5449380 h 5911619"/>
              <a:gd name="connsiteX21" fmla="*/ 4618793 w 8636594"/>
              <a:gd name="connsiteY21" fmla="*/ 5419830 h 5911619"/>
              <a:gd name="connsiteX22" fmla="*/ 4649922 w 8636594"/>
              <a:gd name="connsiteY22" fmla="*/ 5390040 h 5911619"/>
              <a:gd name="connsiteX23" fmla="*/ 4680742 w 8636594"/>
              <a:gd name="connsiteY23" fmla="*/ 5360014 h 5911619"/>
              <a:gd name="connsiteX24" fmla="*/ 4711259 w 8636594"/>
              <a:gd name="connsiteY24" fmla="*/ 5329755 h 5911619"/>
              <a:gd name="connsiteX25" fmla="*/ 4741478 w 8636594"/>
              <a:gd name="connsiteY25" fmla="*/ 5299266 h 5911619"/>
              <a:gd name="connsiteX26" fmla="*/ 4771408 w 8636594"/>
              <a:gd name="connsiteY26" fmla="*/ 5268551 h 5911619"/>
              <a:gd name="connsiteX27" fmla="*/ 4801053 w 8636594"/>
              <a:gd name="connsiteY27" fmla="*/ 5237614 h 5911619"/>
              <a:gd name="connsiteX28" fmla="*/ 4830420 w 8636594"/>
              <a:gd name="connsiteY28" fmla="*/ 5206458 h 5911619"/>
              <a:gd name="connsiteX29" fmla="*/ 4859516 w 8636594"/>
              <a:gd name="connsiteY29" fmla="*/ 5175087 h 5911619"/>
              <a:gd name="connsiteX30" fmla="*/ 4888347 w 8636594"/>
              <a:gd name="connsiteY30" fmla="*/ 5143504 h 5911619"/>
              <a:gd name="connsiteX31" fmla="*/ 4916919 w 8636594"/>
              <a:gd name="connsiteY31" fmla="*/ 5111713 h 5911619"/>
              <a:gd name="connsiteX32" fmla="*/ 4945238 w 8636594"/>
              <a:gd name="connsiteY32" fmla="*/ 5079717 h 5911619"/>
              <a:gd name="connsiteX33" fmla="*/ 4973311 w 8636594"/>
              <a:gd name="connsiteY33" fmla="*/ 5047519 h 5911619"/>
              <a:gd name="connsiteX34" fmla="*/ 5001145 w 8636594"/>
              <a:gd name="connsiteY34" fmla="*/ 5015124 h 5911619"/>
              <a:gd name="connsiteX35" fmla="*/ 5028745 w 8636594"/>
              <a:gd name="connsiteY35" fmla="*/ 4982535 h 5911619"/>
              <a:gd name="connsiteX36" fmla="*/ 5056117 w 8636594"/>
              <a:gd name="connsiteY36" fmla="*/ 4949755 h 5911619"/>
              <a:gd name="connsiteX37" fmla="*/ 5083269 w 8636594"/>
              <a:gd name="connsiteY37" fmla="*/ 4916787 h 5911619"/>
              <a:gd name="connsiteX38" fmla="*/ 5110207 w 8636594"/>
              <a:gd name="connsiteY38" fmla="*/ 4883636 h 5911619"/>
              <a:gd name="connsiteX39" fmla="*/ 5136937 w 8636594"/>
              <a:gd name="connsiteY39" fmla="*/ 4850305 h 5911619"/>
              <a:gd name="connsiteX40" fmla="*/ 5163464 w 8636594"/>
              <a:gd name="connsiteY40" fmla="*/ 4816797 h 5911619"/>
              <a:gd name="connsiteX41" fmla="*/ 5215940 w 8636594"/>
              <a:gd name="connsiteY41" fmla="*/ 4749265 h 5911619"/>
              <a:gd name="connsiteX42" fmla="*/ 5267684 w 8636594"/>
              <a:gd name="connsiteY42" fmla="*/ 4681068 h 5911619"/>
              <a:gd name="connsiteX43" fmla="*/ 5318748 w 8636594"/>
              <a:gd name="connsiteY43" fmla="*/ 4612234 h 5911619"/>
              <a:gd name="connsiteX44" fmla="*/ 5369182 w 8636594"/>
              <a:gd name="connsiteY44" fmla="*/ 4542793 h 5911619"/>
              <a:gd name="connsiteX45" fmla="*/ 5419038 w 8636594"/>
              <a:gd name="connsiteY45" fmla="*/ 4472771 h 5911619"/>
              <a:gd name="connsiteX46" fmla="*/ 5468365 w 8636594"/>
              <a:gd name="connsiteY46" fmla="*/ 4402196 h 5911619"/>
              <a:gd name="connsiteX47" fmla="*/ 5517215 w 8636594"/>
              <a:gd name="connsiteY47" fmla="*/ 4331098 h 5911619"/>
              <a:gd name="connsiteX48" fmla="*/ 5565637 w 8636594"/>
              <a:gd name="connsiteY48" fmla="*/ 4259503 h 5911619"/>
              <a:gd name="connsiteX49" fmla="*/ 5613684 w 8636594"/>
              <a:gd name="connsiteY49" fmla="*/ 4187441 h 5911619"/>
              <a:gd name="connsiteX50" fmla="*/ 5685160 w 8636594"/>
              <a:gd name="connsiteY50" fmla="*/ 4078531 h 5911619"/>
              <a:gd name="connsiteX51" fmla="*/ 5756074 w 8636594"/>
              <a:gd name="connsiteY51" fmla="*/ 3968727 h 5911619"/>
              <a:gd name="connsiteX52" fmla="*/ 5873483 w 8636594"/>
              <a:gd name="connsiteY52" fmla="*/ 3783989 h 5911619"/>
              <a:gd name="connsiteX53" fmla="*/ 6203209 w 8636594"/>
              <a:gd name="connsiteY53" fmla="*/ 3258640 h 5911619"/>
              <a:gd name="connsiteX54" fmla="*/ 6299430 w 8636594"/>
              <a:gd name="connsiteY54" fmla="*/ 3107321 h 5911619"/>
              <a:gd name="connsiteX55" fmla="*/ 6372650 w 8636594"/>
              <a:gd name="connsiteY55" fmla="*/ 2993735 h 5911619"/>
              <a:gd name="connsiteX56" fmla="*/ 6453197 w 8636594"/>
              <a:gd name="connsiteY56" fmla="*/ 2869788 h 5911619"/>
              <a:gd name="connsiteX57" fmla="*/ 6564167 w 8636594"/>
              <a:gd name="connsiteY57" fmla="*/ 2696807 h 5911619"/>
              <a:gd name="connsiteX58" fmla="*/ 6976233 w 8636594"/>
              <a:gd name="connsiteY58" fmla="*/ 2045274 h 5911619"/>
              <a:gd name="connsiteX59" fmla="*/ 7086755 w 8636594"/>
              <a:gd name="connsiteY59" fmla="*/ 1872743 h 5911619"/>
              <a:gd name="connsiteX60" fmla="*/ 7170279 w 8636594"/>
              <a:gd name="connsiteY60" fmla="*/ 1744202 h 5911619"/>
              <a:gd name="connsiteX61" fmla="*/ 7226351 w 8636594"/>
              <a:gd name="connsiteY61" fmla="*/ 1659017 h 5911619"/>
              <a:gd name="connsiteX62" fmla="*/ 7282789 w 8636594"/>
              <a:gd name="connsiteY62" fmla="*/ 1574303 h 5911619"/>
              <a:gd name="connsiteX63" fmla="*/ 7339643 w 8636594"/>
              <a:gd name="connsiteY63" fmla="*/ 1490113 h 5911619"/>
              <a:gd name="connsiteX64" fmla="*/ 7396957 w 8636594"/>
              <a:gd name="connsiteY64" fmla="*/ 1406503 h 5911619"/>
              <a:gd name="connsiteX65" fmla="*/ 7454781 w 8636594"/>
              <a:gd name="connsiteY65" fmla="*/ 1323526 h 5911619"/>
              <a:gd name="connsiteX66" fmla="*/ 7513161 w 8636594"/>
              <a:gd name="connsiteY66" fmla="*/ 1241237 h 5911619"/>
              <a:gd name="connsiteX67" fmla="*/ 7572144 w 8636594"/>
              <a:gd name="connsiteY67" fmla="*/ 1159689 h 5911619"/>
              <a:gd name="connsiteX68" fmla="*/ 7601877 w 8636594"/>
              <a:gd name="connsiteY68" fmla="*/ 1119210 h 5911619"/>
              <a:gd name="connsiteX69" fmla="*/ 7631779 w 8636594"/>
              <a:gd name="connsiteY69" fmla="*/ 1078937 h 5911619"/>
              <a:gd name="connsiteX70" fmla="*/ 7661855 w 8636594"/>
              <a:gd name="connsiteY70" fmla="*/ 1038876 h 5911619"/>
              <a:gd name="connsiteX71" fmla="*/ 7692111 w 8636594"/>
              <a:gd name="connsiteY71" fmla="*/ 999035 h 5911619"/>
              <a:gd name="connsiteX72" fmla="*/ 7722554 w 8636594"/>
              <a:gd name="connsiteY72" fmla="*/ 959419 h 5911619"/>
              <a:gd name="connsiteX73" fmla="*/ 7753190 w 8636594"/>
              <a:gd name="connsiteY73" fmla="*/ 920037 h 5911619"/>
              <a:gd name="connsiteX74" fmla="*/ 7784023 w 8636594"/>
              <a:gd name="connsiteY74" fmla="*/ 880894 h 5911619"/>
              <a:gd name="connsiteX75" fmla="*/ 7815061 w 8636594"/>
              <a:gd name="connsiteY75" fmla="*/ 841997 h 5911619"/>
              <a:gd name="connsiteX76" fmla="*/ 7846308 w 8636594"/>
              <a:gd name="connsiteY76" fmla="*/ 803354 h 5911619"/>
              <a:gd name="connsiteX77" fmla="*/ 7877772 w 8636594"/>
              <a:gd name="connsiteY77" fmla="*/ 764970 h 5911619"/>
              <a:gd name="connsiteX78" fmla="*/ 7909458 w 8636594"/>
              <a:gd name="connsiteY78" fmla="*/ 726853 h 5911619"/>
              <a:gd name="connsiteX79" fmla="*/ 7941371 w 8636594"/>
              <a:gd name="connsiteY79" fmla="*/ 689010 h 5911619"/>
              <a:gd name="connsiteX80" fmla="*/ 7973518 w 8636594"/>
              <a:gd name="connsiteY80" fmla="*/ 651447 h 5911619"/>
              <a:gd name="connsiteX81" fmla="*/ 8005905 w 8636594"/>
              <a:gd name="connsiteY81" fmla="*/ 614171 h 5911619"/>
              <a:gd name="connsiteX82" fmla="*/ 8038538 w 8636594"/>
              <a:gd name="connsiteY82" fmla="*/ 577189 h 5911619"/>
              <a:gd name="connsiteX83" fmla="*/ 8071421 w 8636594"/>
              <a:gd name="connsiteY83" fmla="*/ 540507 h 5911619"/>
              <a:gd name="connsiteX84" fmla="*/ 8104563 w 8636594"/>
              <a:gd name="connsiteY84" fmla="*/ 504132 h 5911619"/>
              <a:gd name="connsiteX85" fmla="*/ 8137967 w 8636594"/>
              <a:gd name="connsiteY85" fmla="*/ 468072 h 5911619"/>
              <a:gd name="connsiteX86" fmla="*/ 8171641 w 8636594"/>
              <a:gd name="connsiteY86" fmla="*/ 432332 h 5911619"/>
              <a:gd name="connsiteX87" fmla="*/ 8205590 w 8636594"/>
              <a:gd name="connsiteY87" fmla="*/ 396920 h 5911619"/>
              <a:gd name="connsiteX88" fmla="*/ 8239820 w 8636594"/>
              <a:gd name="connsiteY88" fmla="*/ 361843 h 5911619"/>
              <a:gd name="connsiteX89" fmla="*/ 8274337 w 8636594"/>
              <a:gd name="connsiteY89" fmla="*/ 327107 h 5911619"/>
              <a:gd name="connsiteX90" fmla="*/ 8309147 w 8636594"/>
              <a:gd name="connsiteY90" fmla="*/ 292718 h 5911619"/>
              <a:gd name="connsiteX91" fmla="*/ 8344256 w 8636594"/>
              <a:gd name="connsiteY91" fmla="*/ 258685 h 5911619"/>
              <a:gd name="connsiteX92" fmla="*/ 8379669 w 8636594"/>
              <a:gd name="connsiteY92" fmla="*/ 225013 h 5911619"/>
              <a:gd name="connsiteX93" fmla="*/ 8415394 w 8636594"/>
              <a:gd name="connsiteY93" fmla="*/ 191709 h 5911619"/>
              <a:gd name="connsiteX94" fmla="*/ 8451434 w 8636594"/>
              <a:gd name="connsiteY94" fmla="*/ 158780 h 5911619"/>
              <a:gd name="connsiteX95" fmla="*/ 8487798 w 8636594"/>
              <a:gd name="connsiteY95" fmla="*/ 126233 h 5911619"/>
              <a:gd name="connsiteX96" fmla="*/ 8524489 w 8636594"/>
              <a:gd name="connsiteY96" fmla="*/ 94075 h 5911619"/>
              <a:gd name="connsiteX97" fmla="*/ 8561515 w 8636594"/>
              <a:gd name="connsiteY97" fmla="*/ 62312 h 5911619"/>
              <a:gd name="connsiteX98" fmla="*/ 8598881 w 8636594"/>
              <a:gd name="connsiteY98" fmla="*/ 30951 h 5911619"/>
              <a:gd name="connsiteX99" fmla="*/ 8636594 w 8636594"/>
              <a:gd name="connsiteY99" fmla="*/ 0 h 5911619"/>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073456 w 8636594"/>
              <a:gd name="connsiteY4" fmla="*/ 5861452 h 5886685"/>
              <a:gd name="connsiteX5" fmla="*/ 4110400 w 8636594"/>
              <a:gd name="connsiteY5" fmla="*/ 5835922 h 5886685"/>
              <a:gd name="connsiteX6" fmla="*/ 4146933 w 8636594"/>
              <a:gd name="connsiteY6" fmla="*/ 5810100 h 5886685"/>
              <a:gd name="connsiteX7" fmla="*/ 4183061 w 8636594"/>
              <a:gd name="connsiteY7" fmla="*/ 5783988 h 5886685"/>
              <a:gd name="connsiteX8" fmla="*/ 4218791 w 8636594"/>
              <a:gd name="connsiteY8" fmla="*/ 5757591 h 5886685"/>
              <a:gd name="connsiteX9" fmla="*/ 4254129 w 8636594"/>
              <a:gd name="connsiteY9" fmla="*/ 5730912 h 5886685"/>
              <a:gd name="connsiteX10" fmla="*/ 4289081 w 8636594"/>
              <a:gd name="connsiteY10" fmla="*/ 5703955 h 5886685"/>
              <a:gd name="connsiteX11" fmla="*/ 4323654 w 8636594"/>
              <a:gd name="connsiteY11" fmla="*/ 5676722 h 5886685"/>
              <a:gd name="connsiteX12" fmla="*/ 4357854 w 8636594"/>
              <a:gd name="connsiteY12" fmla="*/ 5649218 h 5886685"/>
              <a:gd name="connsiteX13" fmla="*/ 4391688 w 8636594"/>
              <a:gd name="connsiteY13" fmla="*/ 5621446 h 5886685"/>
              <a:gd name="connsiteX14" fmla="*/ 4425162 w 8636594"/>
              <a:gd name="connsiteY14" fmla="*/ 5593409 h 5886685"/>
              <a:gd name="connsiteX15" fmla="*/ 4458281 w 8636594"/>
              <a:gd name="connsiteY15" fmla="*/ 5565111 h 5886685"/>
              <a:gd name="connsiteX16" fmla="*/ 4491053 w 8636594"/>
              <a:gd name="connsiteY16" fmla="*/ 5536556 h 5886685"/>
              <a:gd name="connsiteX17" fmla="*/ 4523484 w 8636594"/>
              <a:gd name="connsiteY17" fmla="*/ 5507747 h 5886685"/>
              <a:gd name="connsiteX18" fmla="*/ 4555580 w 8636594"/>
              <a:gd name="connsiteY18" fmla="*/ 5478687 h 5886685"/>
              <a:gd name="connsiteX19" fmla="*/ 4587347 w 8636594"/>
              <a:gd name="connsiteY19" fmla="*/ 5449380 h 5886685"/>
              <a:gd name="connsiteX20" fmla="*/ 4618793 w 8636594"/>
              <a:gd name="connsiteY20" fmla="*/ 5419830 h 5886685"/>
              <a:gd name="connsiteX21" fmla="*/ 4649922 w 8636594"/>
              <a:gd name="connsiteY21" fmla="*/ 5390040 h 5886685"/>
              <a:gd name="connsiteX22" fmla="*/ 4680742 w 8636594"/>
              <a:gd name="connsiteY22" fmla="*/ 5360014 h 5886685"/>
              <a:gd name="connsiteX23" fmla="*/ 4711259 w 8636594"/>
              <a:gd name="connsiteY23" fmla="*/ 5329755 h 5886685"/>
              <a:gd name="connsiteX24" fmla="*/ 4741478 w 8636594"/>
              <a:gd name="connsiteY24" fmla="*/ 5299266 h 5886685"/>
              <a:gd name="connsiteX25" fmla="*/ 4771408 w 8636594"/>
              <a:gd name="connsiteY25" fmla="*/ 5268551 h 5886685"/>
              <a:gd name="connsiteX26" fmla="*/ 4801053 w 8636594"/>
              <a:gd name="connsiteY26" fmla="*/ 5237614 h 5886685"/>
              <a:gd name="connsiteX27" fmla="*/ 4830420 w 8636594"/>
              <a:gd name="connsiteY27" fmla="*/ 5206458 h 5886685"/>
              <a:gd name="connsiteX28" fmla="*/ 4859516 w 8636594"/>
              <a:gd name="connsiteY28" fmla="*/ 5175087 h 5886685"/>
              <a:gd name="connsiteX29" fmla="*/ 4888347 w 8636594"/>
              <a:gd name="connsiteY29" fmla="*/ 5143504 h 5886685"/>
              <a:gd name="connsiteX30" fmla="*/ 4916919 w 8636594"/>
              <a:gd name="connsiteY30" fmla="*/ 5111713 h 5886685"/>
              <a:gd name="connsiteX31" fmla="*/ 4945238 w 8636594"/>
              <a:gd name="connsiteY31" fmla="*/ 5079717 h 5886685"/>
              <a:gd name="connsiteX32" fmla="*/ 4973311 w 8636594"/>
              <a:gd name="connsiteY32" fmla="*/ 5047519 h 5886685"/>
              <a:gd name="connsiteX33" fmla="*/ 5001145 w 8636594"/>
              <a:gd name="connsiteY33" fmla="*/ 5015124 h 5886685"/>
              <a:gd name="connsiteX34" fmla="*/ 5028745 w 8636594"/>
              <a:gd name="connsiteY34" fmla="*/ 4982535 h 5886685"/>
              <a:gd name="connsiteX35" fmla="*/ 5056117 w 8636594"/>
              <a:gd name="connsiteY35" fmla="*/ 4949755 h 5886685"/>
              <a:gd name="connsiteX36" fmla="*/ 5083269 w 8636594"/>
              <a:gd name="connsiteY36" fmla="*/ 4916787 h 5886685"/>
              <a:gd name="connsiteX37" fmla="*/ 5110207 w 8636594"/>
              <a:gd name="connsiteY37" fmla="*/ 4883636 h 5886685"/>
              <a:gd name="connsiteX38" fmla="*/ 5136937 w 8636594"/>
              <a:gd name="connsiteY38" fmla="*/ 4850305 h 5886685"/>
              <a:gd name="connsiteX39" fmla="*/ 5163464 w 8636594"/>
              <a:gd name="connsiteY39" fmla="*/ 4816797 h 5886685"/>
              <a:gd name="connsiteX40" fmla="*/ 5215940 w 8636594"/>
              <a:gd name="connsiteY40" fmla="*/ 4749265 h 5886685"/>
              <a:gd name="connsiteX41" fmla="*/ 5267684 w 8636594"/>
              <a:gd name="connsiteY41" fmla="*/ 4681068 h 5886685"/>
              <a:gd name="connsiteX42" fmla="*/ 5318748 w 8636594"/>
              <a:gd name="connsiteY42" fmla="*/ 4612234 h 5886685"/>
              <a:gd name="connsiteX43" fmla="*/ 5369182 w 8636594"/>
              <a:gd name="connsiteY43" fmla="*/ 4542793 h 5886685"/>
              <a:gd name="connsiteX44" fmla="*/ 5419038 w 8636594"/>
              <a:gd name="connsiteY44" fmla="*/ 4472771 h 5886685"/>
              <a:gd name="connsiteX45" fmla="*/ 5468365 w 8636594"/>
              <a:gd name="connsiteY45" fmla="*/ 4402196 h 5886685"/>
              <a:gd name="connsiteX46" fmla="*/ 5517215 w 8636594"/>
              <a:gd name="connsiteY46" fmla="*/ 4331098 h 5886685"/>
              <a:gd name="connsiteX47" fmla="*/ 5565637 w 8636594"/>
              <a:gd name="connsiteY47" fmla="*/ 4259503 h 5886685"/>
              <a:gd name="connsiteX48" fmla="*/ 5613684 w 8636594"/>
              <a:gd name="connsiteY48" fmla="*/ 4187441 h 5886685"/>
              <a:gd name="connsiteX49" fmla="*/ 5685160 w 8636594"/>
              <a:gd name="connsiteY49" fmla="*/ 4078531 h 5886685"/>
              <a:gd name="connsiteX50" fmla="*/ 5756074 w 8636594"/>
              <a:gd name="connsiteY50" fmla="*/ 3968727 h 5886685"/>
              <a:gd name="connsiteX51" fmla="*/ 5873483 w 8636594"/>
              <a:gd name="connsiteY51" fmla="*/ 3783989 h 5886685"/>
              <a:gd name="connsiteX52" fmla="*/ 6203209 w 8636594"/>
              <a:gd name="connsiteY52" fmla="*/ 3258640 h 5886685"/>
              <a:gd name="connsiteX53" fmla="*/ 6299430 w 8636594"/>
              <a:gd name="connsiteY53" fmla="*/ 3107321 h 5886685"/>
              <a:gd name="connsiteX54" fmla="*/ 6372650 w 8636594"/>
              <a:gd name="connsiteY54" fmla="*/ 2993735 h 5886685"/>
              <a:gd name="connsiteX55" fmla="*/ 6453197 w 8636594"/>
              <a:gd name="connsiteY55" fmla="*/ 2869788 h 5886685"/>
              <a:gd name="connsiteX56" fmla="*/ 6564167 w 8636594"/>
              <a:gd name="connsiteY56" fmla="*/ 2696807 h 5886685"/>
              <a:gd name="connsiteX57" fmla="*/ 6976233 w 8636594"/>
              <a:gd name="connsiteY57" fmla="*/ 2045274 h 5886685"/>
              <a:gd name="connsiteX58" fmla="*/ 7086755 w 8636594"/>
              <a:gd name="connsiteY58" fmla="*/ 1872743 h 5886685"/>
              <a:gd name="connsiteX59" fmla="*/ 7170279 w 8636594"/>
              <a:gd name="connsiteY59" fmla="*/ 1744202 h 5886685"/>
              <a:gd name="connsiteX60" fmla="*/ 7226351 w 8636594"/>
              <a:gd name="connsiteY60" fmla="*/ 1659017 h 5886685"/>
              <a:gd name="connsiteX61" fmla="*/ 7282789 w 8636594"/>
              <a:gd name="connsiteY61" fmla="*/ 1574303 h 5886685"/>
              <a:gd name="connsiteX62" fmla="*/ 7339643 w 8636594"/>
              <a:gd name="connsiteY62" fmla="*/ 1490113 h 5886685"/>
              <a:gd name="connsiteX63" fmla="*/ 7396957 w 8636594"/>
              <a:gd name="connsiteY63" fmla="*/ 1406503 h 5886685"/>
              <a:gd name="connsiteX64" fmla="*/ 7454781 w 8636594"/>
              <a:gd name="connsiteY64" fmla="*/ 1323526 h 5886685"/>
              <a:gd name="connsiteX65" fmla="*/ 7513161 w 8636594"/>
              <a:gd name="connsiteY65" fmla="*/ 1241237 h 5886685"/>
              <a:gd name="connsiteX66" fmla="*/ 7572144 w 8636594"/>
              <a:gd name="connsiteY66" fmla="*/ 1159689 h 5886685"/>
              <a:gd name="connsiteX67" fmla="*/ 7601877 w 8636594"/>
              <a:gd name="connsiteY67" fmla="*/ 1119210 h 5886685"/>
              <a:gd name="connsiteX68" fmla="*/ 7631779 w 8636594"/>
              <a:gd name="connsiteY68" fmla="*/ 1078937 h 5886685"/>
              <a:gd name="connsiteX69" fmla="*/ 7661855 w 8636594"/>
              <a:gd name="connsiteY69" fmla="*/ 1038876 h 5886685"/>
              <a:gd name="connsiteX70" fmla="*/ 7692111 w 8636594"/>
              <a:gd name="connsiteY70" fmla="*/ 999035 h 5886685"/>
              <a:gd name="connsiteX71" fmla="*/ 7722554 w 8636594"/>
              <a:gd name="connsiteY71" fmla="*/ 959419 h 5886685"/>
              <a:gd name="connsiteX72" fmla="*/ 7753190 w 8636594"/>
              <a:gd name="connsiteY72" fmla="*/ 920037 h 5886685"/>
              <a:gd name="connsiteX73" fmla="*/ 7784023 w 8636594"/>
              <a:gd name="connsiteY73" fmla="*/ 880894 h 5886685"/>
              <a:gd name="connsiteX74" fmla="*/ 7815061 w 8636594"/>
              <a:gd name="connsiteY74" fmla="*/ 841997 h 5886685"/>
              <a:gd name="connsiteX75" fmla="*/ 7846308 w 8636594"/>
              <a:gd name="connsiteY75" fmla="*/ 803354 h 5886685"/>
              <a:gd name="connsiteX76" fmla="*/ 7877772 w 8636594"/>
              <a:gd name="connsiteY76" fmla="*/ 764970 h 5886685"/>
              <a:gd name="connsiteX77" fmla="*/ 7909458 w 8636594"/>
              <a:gd name="connsiteY77" fmla="*/ 726853 h 5886685"/>
              <a:gd name="connsiteX78" fmla="*/ 7941371 w 8636594"/>
              <a:gd name="connsiteY78" fmla="*/ 689010 h 5886685"/>
              <a:gd name="connsiteX79" fmla="*/ 7973518 w 8636594"/>
              <a:gd name="connsiteY79" fmla="*/ 651447 h 5886685"/>
              <a:gd name="connsiteX80" fmla="*/ 8005905 w 8636594"/>
              <a:gd name="connsiteY80" fmla="*/ 614171 h 5886685"/>
              <a:gd name="connsiteX81" fmla="*/ 8038538 w 8636594"/>
              <a:gd name="connsiteY81" fmla="*/ 577189 h 5886685"/>
              <a:gd name="connsiteX82" fmla="*/ 8071421 w 8636594"/>
              <a:gd name="connsiteY82" fmla="*/ 540507 h 5886685"/>
              <a:gd name="connsiteX83" fmla="*/ 8104563 w 8636594"/>
              <a:gd name="connsiteY83" fmla="*/ 504132 h 5886685"/>
              <a:gd name="connsiteX84" fmla="*/ 8137967 w 8636594"/>
              <a:gd name="connsiteY84" fmla="*/ 468072 h 5886685"/>
              <a:gd name="connsiteX85" fmla="*/ 8171641 w 8636594"/>
              <a:gd name="connsiteY85" fmla="*/ 432332 h 5886685"/>
              <a:gd name="connsiteX86" fmla="*/ 8205590 w 8636594"/>
              <a:gd name="connsiteY86" fmla="*/ 396920 h 5886685"/>
              <a:gd name="connsiteX87" fmla="*/ 8239820 w 8636594"/>
              <a:gd name="connsiteY87" fmla="*/ 361843 h 5886685"/>
              <a:gd name="connsiteX88" fmla="*/ 8274337 w 8636594"/>
              <a:gd name="connsiteY88" fmla="*/ 327107 h 5886685"/>
              <a:gd name="connsiteX89" fmla="*/ 8309147 w 8636594"/>
              <a:gd name="connsiteY89" fmla="*/ 292718 h 5886685"/>
              <a:gd name="connsiteX90" fmla="*/ 8344256 w 8636594"/>
              <a:gd name="connsiteY90" fmla="*/ 258685 h 5886685"/>
              <a:gd name="connsiteX91" fmla="*/ 8379669 w 8636594"/>
              <a:gd name="connsiteY91" fmla="*/ 225013 h 5886685"/>
              <a:gd name="connsiteX92" fmla="*/ 8415394 w 8636594"/>
              <a:gd name="connsiteY92" fmla="*/ 191709 h 5886685"/>
              <a:gd name="connsiteX93" fmla="*/ 8451434 w 8636594"/>
              <a:gd name="connsiteY93" fmla="*/ 158780 h 5886685"/>
              <a:gd name="connsiteX94" fmla="*/ 8487798 w 8636594"/>
              <a:gd name="connsiteY94" fmla="*/ 126233 h 5886685"/>
              <a:gd name="connsiteX95" fmla="*/ 8524489 w 8636594"/>
              <a:gd name="connsiteY95" fmla="*/ 94075 h 5886685"/>
              <a:gd name="connsiteX96" fmla="*/ 8561515 w 8636594"/>
              <a:gd name="connsiteY96" fmla="*/ 62312 h 5886685"/>
              <a:gd name="connsiteX97" fmla="*/ 8598881 w 8636594"/>
              <a:gd name="connsiteY97" fmla="*/ 30951 h 5886685"/>
              <a:gd name="connsiteX98" fmla="*/ 8636594 w 8636594"/>
              <a:gd name="connsiteY98" fmla="*/ 0 h 5886685"/>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110400 w 8636594"/>
              <a:gd name="connsiteY4" fmla="*/ 5835922 h 5886685"/>
              <a:gd name="connsiteX5" fmla="*/ 4146933 w 8636594"/>
              <a:gd name="connsiteY5" fmla="*/ 5810100 h 5886685"/>
              <a:gd name="connsiteX6" fmla="*/ 4183061 w 8636594"/>
              <a:gd name="connsiteY6" fmla="*/ 5783988 h 5886685"/>
              <a:gd name="connsiteX7" fmla="*/ 4218791 w 8636594"/>
              <a:gd name="connsiteY7" fmla="*/ 5757591 h 5886685"/>
              <a:gd name="connsiteX8" fmla="*/ 4254129 w 8636594"/>
              <a:gd name="connsiteY8" fmla="*/ 5730912 h 5886685"/>
              <a:gd name="connsiteX9" fmla="*/ 4289081 w 8636594"/>
              <a:gd name="connsiteY9" fmla="*/ 5703955 h 5886685"/>
              <a:gd name="connsiteX10" fmla="*/ 4323654 w 8636594"/>
              <a:gd name="connsiteY10" fmla="*/ 5676722 h 5886685"/>
              <a:gd name="connsiteX11" fmla="*/ 4357854 w 8636594"/>
              <a:gd name="connsiteY11" fmla="*/ 5649218 h 5886685"/>
              <a:gd name="connsiteX12" fmla="*/ 4391688 w 8636594"/>
              <a:gd name="connsiteY12" fmla="*/ 5621446 h 5886685"/>
              <a:gd name="connsiteX13" fmla="*/ 4425162 w 8636594"/>
              <a:gd name="connsiteY13" fmla="*/ 5593409 h 5886685"/>
              <a:gd name="connsiteX14" fmla="*/ 4458281 w 8636594"/>
              <a:gd name="connsiteY14" fmla="*/ 5565111 h 5886685"/>
              <a:gd name="connsiteX15" fmla="*/ 4491053 w 8636594"/>
              <a:gd name="connsiteY15" fmla="*/ 5536556 h 5886685"/>
              <a:gd name="connsiteX16" fmla="*/ 4523484 w 8636594"/>
              <a:gd name="connsiteY16" fmla="*/ 5507747 h 5886685"/>
              <a:gd name="connsiteX17" fmla="*/ 4555580 w 8636594"/>
              <a:gd name="connsiteY17" fmla="*/ 5478687 h 5886685"/>
              <a:gd name="connsiteX18" fmla="*/ 4587347 w 8636594"/>
              <a:gd name="connsiteY18" fmla="*/ 5449380 h 5886685"/>
              <a:gd name="connsiteX19" fmla="*/ 4618793 w 8636594"/>
              <a:gd name="connsiteY19" fmla="*/ 5419830 h 5886685"/>
              <a:gd name="connsiteX20" fmla="*/ 4649922 w 8636594"/>
              <a:gd name="connsiteY20" fmla="*/ 5390040 h 5886685"/>
              <a:gd name="connsiteX21" fmla="*/ 4680742 w 8636594"/>
              <a:gd name="connsiteY21" fmla="*/ 5360014 h 5886685"/>
              <a:gd name="connsiteX22" fmla="*/ 4711259 w 8636594"/>
              <a:gd name="connsiteY22" fmla="*/ 5329755 h 5886685"/>
              <a:gd name="connsiteX23" fmla="*/ 4741478 w 8636594"/>
              <a:gd name="connsiteY23" fmla="*/ 5299266 h 5886685"/>
              <a:gd name="connsiteX24" fmla="*/ 4771408 w 8636594"/>
              <a:gd name="connsiteY24" fmla="*/ 5268551 h 5886685"/>
              <a:gd name="connsiteX25" fmla="*/ 4801053 w 8636594"/>
              <a:gd name="connsiteY25" fmla="*/ 5237614 h 5886685"/>
              <a:gd name="connsiteX26" fmla="*/ 4830420 w 8636594"/>
              <a:gd name="connsiteY26" fmla="*/ 5206458 h 5886685"/>
              <a:gd name="connsiteX27" fmla="*/ 4859516 w 8636594"/>
              <a:gd name="connsiteY27" fmla="*/ 5175087 h 5886685"/>
              <a:gd name="connsiteX28" fmla="*/ 4888347 w 8636594"/>
              <a:gd name="connsiteY28" fmla="*/ 5143504 h 5886685"/>
              <a:gd name="connsiteX29" fmla="*/ 4916919 w 8636594"/>
              <a:gd name="connsiteY29" fmla="*/ 5111713 h 5886685"/>
              <a:gd name="connsiteX30" fmla="*/ 4945238 w 8636594"/>
              <a:gd name="connsiteY30" fmla="*/ 5079717 h 5886685"/>
              <a:gd name="connsiteX31" fmla="*/ 4973311 w 8636594"/>
              <a:gd name="connsiteY31" fmla="*/ 5047519 h 5886685"/>
              <a:gd name="connsiteX32" fmla="*/ 5001145 w 8636594"/>
              <a:gd name="connsiteY32" fmla="*/ 5015124 h 5886685"/>
              <a:gd name="connsiteX33" fmla="*/ 5028745 w 8636594"/>
              <a:gd name="connsiteY33" fmla="*/ 4982535 h 5886685"/>
              <a:gd name="connsiteX34" fmla="*/ 5056117 w 8636594"/>
              <a:gd name="connsiteY34" fmla="*/ 4949755 h 5886685"/>
              <a:gd name="connsiteX35" fmla="*/ 5083269 w 8636594"/>
              <a:gd name="connsiteY35" fmla="*/ 4916787 h 5886685"/>
              <a:gd name="connsiteX36" fmla="*/ 5110207 w 8636594"/>
              <a:gd name="connsiteY36" fmla="*/ 4883636 h 5886685"/>
              <a:gd name="connsiteX37" fmla="*/ 5136937 w 8636594"/>
              <a:gd name="connsiteY37" fmla="*/ 4850305 h 5886685"/>
              <a:gd name="connsiteX38" fmla="*/ 5163464 w 8636594"/>
              <a:gd name="connsiteY38" fmla="*/ 4816797 h 5886685"/>
              <a:gd name="connsiteX39" fmla="*/ 5215940 w 8636594"/>
              <a:gd name="connsiteY39" fmla="*/ 4749265 h 5886685"/>
              <a:gd name="connsiteX40" fmla="*/ 5267684 w 8636594"/>
              <a:gd name="connsiteY40" fmla="*/ 4681068 h 5886685"/>
              <a:gd name="connsiteX41" fmla="*/ 5318748 w 8636594"/>
              <a:gd name="connsiteY41" fmla="*/ 4612234 h 5886685"/>
              <a:gd name="connsiteX42" fmla="*/ 5369182 w 8636594"/>
              <a:gd name="connsiteY42" fmla="*/ 4542793 h 5886685"/>
              <a:gd name="connsiteX43" fmla="*/ 5419038 w 8636594"/>
              <a:gd name="connsiteY43" fmla="*/ 4472771 h 5886685"/>
              <a:gd name="connsiteX44" fmla="*/ 5468365 w 8636594"/>
              <a:gd name="connsiteY44" fmla="*/ 4402196 h 5886685"/>
              <a:gd name="connsiteX45" fmla="*/ 5517215 w 8636594"/>
              <a:gd name="connsiteY45" fmla="*/ 4331098 h 5886685"/>
              <a:gd name="connsiteX46" fmla="*/ 5565637 w 8636594"/>
              <a:gd name="connsiteY46" fmla="*/ 4259503 h 5886685"/>
              <a:gd name="connsiteX47" fmla="*/ 5613684 w 8636594"/>
              <a:gd name="connsiteY47" fmla="*/ 4187441 h 5886685"/>
              <a:gd name="connsiteX48" fmla="*/ 5685160 w 8636594"/>
              <a:gd name="connsiteY48" fmla="*/ 4078531 h 5886685"/>
              <a:gd name="connsiteX49" fmla="*/ 5756074 w 8636594"/>
              <a:gd name="connsiteY49" fmla="*/ 3968727 h 5886685"/>
              <a:gd name="connsiteX50" fmla="*/ 5873483 w 8636594"/>
              <a:gd name="connsiteY50" fmla="*/ 3783989 h 5886685"/>
              <a:gd name="connsiteX51" fmla="*/ 6203209 w 8636594"/>
              <a:gd name="connsiteY51" fmla="*/ 3258640 h 5886685"/>
              <a:gd name="connsiteX52" fmla="*/ 6299430 w 8636594"/>
              <a:gd name="connsiteY52" fmla="*/ 3107321 h 5886685"/>
              <a:gd name="connsiteX53" fmla="*/ 6372650 w 8636594"/>
              <a:gd name="connsiteY53" fmla="*/ 2993735 h 5886685"/>
              <a:gd name="connsiteX54" fmla="*/ 6453197 w 8636594"/>
              <a:gd name="connsiteY54" fmla="*/ 2869788 h 5886685"/>
              <a:gd name="connsiteX55" fmla="*/ 6564167 w 8636594"/>
              <a:gd name="connsiteY55" fmla="*/ 2696807 h 5886685"/>
              <a:gd name="connsiteX56" fmla="*/ 6976233 w 8636594"/>
              <a:gd name="connsiteY56" fmla="*/ 2045274 h 5886685"/>
              <a:gd name="connsiteX57" fmla="*/ 7086755 w 8636594"/>
              <a:gd name="connsiteY57" fmla="*/ 1872743 h 5886685"/>
              <a:gd name="connsiteX58" fmla="*/ 7170279 w 8636594"/>
              <a:gd name="connsiteY58" fmla="*/ 1744202 h 5886685"/>
              <a:gd name="connsiteX59" fmla="*/ 7226351 w 8636594"/>
              <a:gd name="connsiteY59" fmla="*/ 1659017 h 5886685"/>
              <a:gd name="connsiteX60" fmla="*/ 7282789 w 8636594"/>
              <a:gd name="connsiteY60" fmla="*/ 1574303 h 5886685"/>
              <a:gd name="connsiteX61" fmla="*/ 7339643 w 8636594"/>
              <a:gd name="connsiteY61" fmla="*/ 1490113 h 5886685"/>
              <a:gd name="connsiteX62" fmla="*/ 7396957 w 8636594"/>
              <a:gd name="connsiteY62" fmla="*/ 1406503 h 5886685"/>
              <a:gd name="connsiteX63" fmla="*/ 7454781 w 8636594"/>
              <a:gd name="connsiteY63" fmla="*/ 1323526 h 5886685"/>
              <a:gd name="connsiteX64" fmla="*/ 7513161 w 8636594"/>
              <a:gd name="connsiteY64" fmla="*/ 1241237 h 5886685"/>
              <a:gd name="connsiteX65" fmla="*/ 7572144 w 8636594"/>
              <a:gd name="connsiteY65" fmla="*/ 1159689 h 5886685"/>
              <a:gd name="connsiteX66" fmla="*/ 7601877 w 8636594"/>
              <a:gd name="connsiteY66" fmla="*/ 1119210 h 5886685"/>
              <a:gd name="connsiteX67" fmla="*/ 7631779 w 8636594"/>
              <a:gd name="connsiteY67" fmla="*/ 1078937 h 5886685"/>
              <a:gd name="connsiteX68" fmla="*/ 7661855 w 8636594"/>
              <a:gd name="connsiteY68" fmla="*/ 1038876 h 5886685"/>
              <a:gd name="connsiteX69" fmla="*/ 7692111 w 8636594"/>
              <a:gd name="connsiteY69" fmla="*/ 999035 h 5886685"/>
              <a:gd name="connsiteX70" fmla="*/ 7722554 w 8636594"/>
              <a:gd name="connsiteY70" fmla="*/ 959419 h 5886685"/>
              <a:gd name="connsiteX71" fmla="*/ 7753190 w 8636594"/>
              <a:gd name="connsiteY71" fmla="*/ 920037 h 5886685"/>
              <a:gd name="connsiteX72" fmla="*/ 7784023 w 8636594"/>
              <a:gd name="connsiteY72" fmla="*/ 880894 h 5886685"/>
              <a:gd name="connsiteX73" fmla="*/ 7815061 w 8636594"/>
              <a:gd name="connsiteY73" fmla="*/ 841997 h 5886685"/>
              <a:gd name="connsiteX74" fmla="*/ 7846308 w 8636594"/>
              <a:gd name="connsiteY74" fmla="*/ 803354 h 5886685"/>
              <a:gd name="connsiteX75" fmla="*/ 7877772 w 8636594"/>
              <a:gd name="connsiteY75" fmla="*/ 764970 h 5886685"/>
              <a:gd name="connsiteX76" fmla="*/ 7909458 w 8636594"/>
              <a:gd name="connsiteY76" fmla="*/ 726853 h 5886685"/>
              <a:gd name="connsiteX77" fmla="*/ 7941371 w 8636594"/>
              <a:gd name="connsiteY77" fmla="*/ 689010 h 5886685"/>
              <a:gd name="connsiteX78" fmla="*/ 7973518 w 8636594"/>
              <a:gd name="connsiteY78" fmla="*/ 651447 h 5886685"/>
              <a:gd name="connsiteX79" fmla="*/ 8005905 w 8636594"/>
              <a:gd name="connsiteY79" fmla="*/ 614171 h 5886685"/>
              <a:gd name="connsiteX80" fmla="*/ 8038538 w 8636594"/>
              <a:gd name="connsiteY80" fmla="*/ 577189 h 5886685"/>
              <a:gd name="connsiteX81" fmla="*/ 8071421 w 8636594"/>
              <a:gd name="connsiteY81" fmla="*/ 540507 h 5886685"/>
              <a:gd name="connsiteX82" fmla="*/ 8104563 w 8636594"/>
              <a:gd name="connsiteY82" fmla="*/ 504132 h 5886685"/>
              <a:gd name="connsiteX83" fmla="*/ 8137967 w 8636594"/>
              <a:gd name="connsiteY83" fmla="*/ 468072 h 5886685"/>
              <a:gd name="connsiteX84" fmla="*/ 8171641 w 8636594"/>
              <a:gd name="connsiteY84" fmla="*/ 432332 h 5886685"/>
              <a:gd name="connsiteX85" fmla="*/ 8205590 w 8636594"/>
              <a:gd name="connsiteY85" fmla="*/ 396920 h 5886685"/>
              <a:gd name="connsiteX86" fmla="*/ 8239820 w 8636594"/>
              <a:gd name="connsiteY86" fmla="*/ 361843 h 5886685"/>
              <a:gd name="connsiteX87" fmla="*/ 8274337 w 8636594"/>
              <a:gd name="connsiteY87" fmla="*/ 327107 h 5886685"/>
              <a:gd name="connsiteX88" fmla="*/ 8309147 w 8636594"/>
              <a:gd name="connsiteY88" fmla="*/ 292718 h 5886685"/>
              <a:gd name="connsiteX89" fmla="*/ 8344256 w 8636594"/>
              <a:gd name="connsiteY89" fmla="*/ 258685 h 5886685"/>
              <a:gd name="connsiteX90" fmla="*/ 8379669 w 8636594"/>
              <a:gd name="connsiteY90" fmla="*/ 225013 h 5886685"/>
              <a:gd name="connsiteX91" fmla="*/ 8415394 w 8636594"/>
              <a:gd name="connsiteY91" fmla="*/ 191709 h 5886685"/>
              <a:gd name="connsiteX92" fmla="*/ 8451434 w 8636594"/>
              <a:gd name="connsiteY92" fmla="*/ 158780 h 5886685"/>
              <a:gd name="connsiteX93" fmla="*/ 8487798 w 8636594"/>
              <a:gd name="connsiteY93" fmla="*/ 126233 h 5886685"/>
              <a:gd name="connsiteX94" fmla="*/ 8524489 w 8636594"/>
              <a:gd name="connsiteY94" fmla="*/ 94075 h 5886685"/>
              <a:gd name="connsiteX95" fmla="*/ 8561515 w 8636594"/>
              <a:gd name="connsiteY95" fmla="*/ 62312 h 5886685"/>
              <a:gd name="connsiteX96" fmla="*/ 8598881 w 8636594"/>
              <a:gd name="connsiteY96" fmla="*/ 30951 h 5886685"/>
              <a:gd name="connsiteX97" fmla="*/ 8636594 w 8636594"/>
              <a:gd name="connsiteY97" fmla="*/ 0 h 5886685"/>
              <a:gd name="connsiteX0" fmla="*/ 8636594 w 8636594"/>
              <a:gd name="connsiteY0" fmla="*/ 0 h 5835922"/>
              <a:gd name="connsiteX1" fmla="*/ 5293 w 8636594"/>
              <a:gd name="connsiteY1" fmla="*/ 0 h 5835922"/>
              <a:gd name="connsiteX2" fmla="*/ 0 w 8636594"/>
              <a:gd name="connsiteY2" fmla="*/ 5587843 h 5835922"/>
              <a:gd name="connsiteX3" fmla="*/ 4110400 w 8636594"/>
              <a:gd name="connsiteY3" fmla="*/ 5835922 h 5835922"/>
              <a:gd name="connsiteX4" fmla="*/ 4146933 w 8636594"/>
              <a:gd name="connsiteY4" fmla="*/ 5810100 h 5835922"/>
              <a:gd name="connsiteX5" fmla="*/ 4183061 w 8636594"/>
              <a:gd name="connsiteY5" fmla="*/ 5783988 h 5835922"/>
              <a:gd name="connsiteX6" fmla="*/ 4218791 w 8636594"/>
              <a:gd name="connsiteY6" fmla="*/ 5757591 h 5835922"/>
              <a:gd name="connsiteX7" fmla="*/ 4254129 w 8636594"/>
              <a:gd name="connsiteY7" fmla="*/ 5730912 h 5835922"/>
              <a:gd name="connsiteX8" fmla="*/ 4289081 w 8636594"/>
              <a:gd name="connsiteY8" fmla="*/ 5703955 h 5835922"/>
              <a:gd name="connsiteX9" fmla="*/ 4323654 w 8636594"/>
              <a:gd name="connsiteY9" fmla="*/ 5676722 h 5835922"/>
              <a:gd name="connsiteX10" fmla="*/ 4357854 w 8636594"/>
              <a:gd name="connsiteY10" fmla="*/ 5649218 h 5835922"/>
              <a:gd name="connsiteX11" fmla="*/ 4391688 w 8636594"/>
              <a:gd name="connsiteY11" fmla="*/ 5621446 h 5835922"/>
              <a:gd name="connsiteX12" fmla="*/ 4425162 w 8636594"/>
              <a:gd name="connsiteY12" fmla="*/ 5593409 h 5835922"/>
              <a:gd name="connsiteX13" fmla="*/ 4458281 w 8636594"/>
              <a:gd name="connsiteY13" fmla="*/ 5565111 h 5835922"/>
              <a:gd name="connsiteX14" fmla="*/ 4491053 w 8636594"/>
              <a:gd name="connsiteY14" fmla="*/ 5536556 h 5835922"/>
              <a:gd name="connsiteX15" fmla="*/ 4523484 w 8636594"/>
              <a:gd name="connsiteY15" fmla="*/ 5507747 h 5835922"/>
              <a:gd name="connsiteX16" fmla="*/ 4555580 w 8636594"/>
              <a:gd name="connsiteY16" fmla="*/ 5478687 h 5835922"/>
              <a:gd name="connsiteX17" fmla="*/ 4587347 w 8636594"/>
              <a:gd name="connsiteY17" fmla="*/ 5449380 h 5835922"/>
              <a:gd name="connsiteX18" fmla="*/ 4618793 w 8636594"/>
              <a:gd name="connsiteY18" fmla="*/ 5419830 h 5835922"/>
              <a:gd name="connsiteX19" fmla="*/ 4649922 w 8636594"/>
              <a:gd name="connsiteY19" fmla="*/ 5390040 h 5835922"/>
              <a:gd name="connsiteX20" fmla="*/ 4680742 w 8636594"/>
              <a:gd name="connsiteY20" fmla="*/ 5360014 h 5835922"/>
              <a:gd name="connsiteX21" fmla="*/ 4711259 w 8636594"/>
              <a:gd name="connsiteY21" fmla="*/ 5329755 h 5835922"/>
              <a:gd name="connsiteX22" fmla="*/ 4741478 w 8636594"/>
              <a:gd name="connsiteY22" fmla="*/ 5299266 h 5835922"/>
              <a:gd name="connsiteX23" fmla="*/ 4771408 w 8636594"/>
              <a:gd name="connsiteY23" fmla="*/ 5268551 h 5835922"/>
              <a:gd name="connsiteX24" fmla="*/ 4801053 w 8636594"/>
              <a:gd name="connsiteY24" fmla="*/ 5237614 h 5835922"/>
              <a:gd name="connsiteX25" fmla="*/ 4830420 w 8636594"/>
              <a:gd name="connsiteY25" fmla="*/ 5206458 h 5835922"/>
              <a:gd name="connsiteX26" fmla="*/ 4859516 w 8636594"/>
              <a:gd name="connsiteY26" fmla="*/ 5175087 h 5835922"/>
              <a:gd name="connsiteX27" fmla="*/ 4888347 w 8636594"/>
              <a:gd name="connsiteY27" fmla="*/ 5143504 h 5835922"/>
              <a:gd name="connsiteX28" fmla="*/ 4916919 w 8636594"/>
              <a:gd name="connsiteY28" fmla="*/ 5111713 h 5835922"/>
              <a:gd name="connsiteX29" fmla="*/ 4945238 w 8636594"/>
              <a:gd name="connsiteY29" fmla="*/ 5079717 h 5835922"/>
              <a:gd name="connsiteX30" fmla="*/ 4973311 w 8636594"/>
              <a:gd name="connsiteY30" fmla="*/ 5047519 h 5835922"/>
              <a:gd name="connsiteX31" fmla="*/ 5001145 w 8636594"/>
              <a:gd name="connsiteY31" fmla="*/ 5015124 h 5835922"/>
              <a:gd name="connsiteX32" fmla="*/ 5028745 w 8636594"/>
              <a:gd name="connsiteY32" fmla="*/ 4982535 h 5835922"/>
              <a:gd name="connsiteX33" fmla="*/ 5056117 w 8636594"/>
              <a:gd name="connsiteY33" fmla="*/ 4949755 h 5835922"/>
              <a:gd name="connsiteX34" fmla="*/ 5083269 w 8636594"/>
              <a:gd name="connsiteY34" fmla="*/ 4916787 h 5835922"/>
              <a:gd name="connsiteX35" fmla="*/ 5110207 w 8636594"/>
              <a:gd name="connsiteY35" fmla="*/ 4883636 h 5835922"/>
              <a:gd name="connsiteX36" fmla="*/ 5136937 w 8636594"/>
              <a:gd name="connsiteY36" fmla="*/ 4850305 h 5835922"/>
              <a:gd name="connsiteX37" fmla="*/ 5163464 w 8636594"/>
              <a:gd name="connsiteY37" fmla="*/ 4816797 h 5835922"/>
              <a:gd name="connsiteX38" fmla="*/ 5215940 w 8636594"/>
              <a:gd name="connsiteY38" fmla="*/ 4749265 h 5835922"/>
              <a:gd name="connsiteX39" fmla="*/ 5267684 w 8636594"/>
              <a:gd name="connsiteY39" fmla="*/ 4681068 h 5835922"/>
              <a:gd name="connsiteX40" fmla="*/ 5318748 w 8636594"/>
              <a:gd name="connsiteY40" fmla="*/ 4612234 h 5835922"/>
              <a:gd name="connsiteX41" fmla="*/ 5369182 w 8636594"/>
              <a:gd name="connsiteY41" fmla="*/ 4542793 h 5835922"/>
              <a:gd name="connsiteX42" fmla="*/ 5419038 w 8636594"/>
              <a:gd name="connsiteY42" fmla="*/ 4472771 h 5835922"/>
              <a:gd name="connsiteX43" fmla="*/ 5468365 w 8636594"/>
              <a:gd name="connsiteY43" fmla="*/ 4402196 h 5835922"/>
              <a:gd name="connsiteX44" fmla="*/ 5517215 w 8636594"/>
              <a:gd name="connsiteY44" fmla="*/ 4331098 h 5835922"/>
              <a:gd name="connsiteX45" fmla="*/ 5565637 w 8636594"/>
              <a:gd name="connsiteY45" fmla="*/ 4259503 h 5835922"/>
              <a:gd name="connsiteX46" fmla="*/ 5613684 w 8636594"/>
              <a:gd name="connsiteY46" fmla="*/ 4187441 h 5835922"/>
              <a:gd name="connsiteX47" fmla="*/ 5685160 w 8636594"/>
              <a:gd name="connsiteY47" fmla="*/ 4078531 h 5835922"/>
              <a:gd name="connsiteX48" fmla="*/ 5756074 w 8636594"/>
              <a:gd name="connsiteY48" fmla="*/ 3968727 h 5835922"/>
              <a:gd name="connsiteX49" fmla="*/ 5873483 w 8636594"/>
              <a:gd name="connsiteY49" fmla="*/ 3783989 h 5835922"/>
              <a:gd name="connsiteX50" fmla="*/ 6203209 w 8636594"/>
              <a:gd name="connsiteY50" fmla="*/ 3258640 h 5835922"/>
              <a:gd name="connsiteX51" fmla="*/ 6299430 w 8636594"/>
              <a:gd name="connsiteY51" fmla="*/ 3107321 h 5835922"/>
              <a:gd name="connsiteX52" fmla="*/ 6372650 w 8636594"/>
              <a:gd name="connsiteY52" fmla="*/ 2993735 h 5835922"/>
              <a:gd name="connsiteX53" fmla="*/ 6453197 w 8636594"/>
              <a:gd name="connsiteY53" fmla="*/ 2869788 h 5835922"/>
              <a:gd name="connsiteX54" fmla="*/ 6564167 w 8636594"/>
              <a:gd name="connsiteY54" fmla="*/ 2696807 h 5835922"/>
              <a:gd name="connsiteX55" fmla="*/ 6976233 w 8636594"/>
              <a:gd name="connsiteY55" fmla="*/ 2045274 h 5835922"/>
              <a:gd name="connsiteX56" fmla="*/ 7086755 w 8636594"/>
              <a:gd name="connsiteY56" fmla="*/ 1872743 h 5835922"/>
              <a:gd name="connsiteX57" fmla="*/ 7170279 w 8636594"/>
              <a:gd name="connsiteY57" fmla="*/ 1744202 h 5835922"/>
              <a:gd name="connsiteX58" fmla="*/ 7226351 w 8636594"/>
              <a:gd name="connsiteY58" fmla="*/ 1659017 h 5835922"/>
              <a:gd name="connsiteX59" fmla="*/ 7282789 w 8636594"/>
              <a:gd name="connsiteY59" fmla="*/ 1574303 h 5835922"/>
              <a:gd name="connsiteX60" fmla="*/ 7339643 w 8636594"/>
              <a:gd name="connsiteY60" fmla="*/ 1490113 h 5835922"/>
              <a:gd name="connsiteX61" fmla="*/ 7396957 w 8636594"/>
              <a:gd name="connsiteY61" fmla="*/ 1406503 h 5835922"/>
              <a:gd name="connsiteX62" fmla="*/ 7454781 w 8636594"/>
              <a:gd name="connsiteY62" fmla="*/ 1323526 h 5835922"/>
              <a:gd name="connsiteX63" fmla="*/ 7513161 w 8636594"/>
              <a:gd name="connsiteY63" fmla="*/ 1241237 h 5835922"/>
              <a:gd name="connsiteX64" fmla="*/ 7572144 w 8636594"/>
              <a:gd name="connsiteY64" fmla="*/ 1159689 h 5835922"/>
              <a:gd name="connsiteX65" fmla="*/ 7601877 w 8636594"/>
              <a:gd name="connsiteY65" fmla="*/ 1119210 h 5835922"/>
              <a:gd name="connsiteX66" fmla="*/ 7631779 w 8636594"/>
              <a:gd name="connsiteY66" fmla="*/ 1078937 h 5835922"/>
              <a:gd name="connsiteX67" fmla="*/ 7661855 w 8636594"/>
              <a:gd name="connsiteY67" fmla="*/ 1038876 h 5835922"/>
              <a:gd name="connsiteX68" fmla="*/ 7692111 w 8636594"/>
              <a:gd name="connsiteY68" fmla="*/ 999035 h 5835922"/>
              <a:gd name="connsiteX69" fmla="*/ 7722554 w 8636594"/>
              <a:gd name="connsiteY69" fmla="*/ 959419 h 5835922"/>
              <a:gd name="connsiteX70" fmla="*/ 7753190 w 8636594"/>
              <a:gd name="connsiteY70" fmla="*/ 920037 h 5835922"/>
              <a:gd name="connsiteX71" fmla="*/ 7784023 w 8636594"/>
              <a:gd name="connsiteY71" fmla="*/ 880894 h 5835922"/>
              <a:gd name="connsiteX72" fmla="*/ 7815061 w 8636594"/>
              <a:gd name="connsiteY72" fmla="*/ 841997 h 5835922"/>
              <a:gd name="connsiteX73" fmla="*/ 7846308 w 8636594"/>
              <a:gd name="connsiteY73" fmla="*/ 803354 h 5835922"/>
              <a:gd name="connsiteX74" fmla="*/ 7877772 w 8636594"/>
              <a:gd name="connsiteY74" fmla="*/ 764970 h 5835922"/>
              <a:gd name="connsiteX75" fmla="*/ 7909458 w 8636594"/>
              <a:gd name="connsiteY75" fmla="*/ 726853 h 5835922"/>
              <a:gd name="connsiteX76" fmla="*/ 7941371 w 8636594"/>
              <a:gd name="connsiteY76" fmla="*/ 689010 h 5835922"/>
              <a:gd name="connsiteX77" fmla="*/ 7973518 w 8636594"/>
              <a:gd name="connsiteY77" fmla="*/ 651447 h 5835922"/>
              <a:gd name="connsiteX78" fmla="*/ 8005905 w 8636594"/>
              <a:gd name="connsiteY78" fmla="*/ 614171 h 5835922"/>
              <a:gd name="connsiteX79" fmla="*/ 8038538 w 8636594"/>
              <a:gd name="connsiteY79" fmla="*/ 577189 h 5835922"/>
              <a:gd name="connsiteX80" fmla="*/ 8071421 w 8636594"/>
              <a:gd name="connsiteY80" fmla="*/ 540507 h 5835922"/>
              <a:gd name="connsiteX81" fmla="*/ 8104563 w 8636594"/>
              <a:gd name="connsiteY81" fmla="*/ 504132 h 5835922"/>
              <a:gd name="connsiteX82" fmla="*/ 8137967 w 8636594"/>
              <a:gd name="connsiteY82" fmla="*/ 468072 h 5835922"/>
              <a:gd name="connsiteX83" fmla="*/ 8171641 w 8636594"/>
              <a:gd name="connsiteY83" fmla="*/ 432332 h 5835922"/>
              <a:gd name="connsiteX84" fmla="*/ 8205590 w 8636594"/>
              <a:gd name="connsiteY84" fmla="*/ 396920 h 5835922"/>
              <a:gd name="connsiteX85" fmla="*/ 8239820 w 8636594"/>
              <a:gd name="connsiteY85" fmla="*/ 361843 h 5835922"/>
              <a:gd name="connsiteX86" fmla="*/ 8274337 w 8636594"/>
              <a:gd name="connsiteY86" fmla="*/ 327107 h 5835922"/>
              <a:gd name="connsiteX87" fmla="*/ 8309147 w 8636594"/>
              <a:gd name="connsiteY87" fmla="*/ 292718 h 5835922"/>
              <a:gd name="connsiteX88" fmla="*/ 8344256 w 8636594"/>
              <a:gd name="connsiteY88" fmla="*/ 258685 h 5835922"/>
              <a:gd name="connsiteX89" fmla="*/ 8379669 w 8636594"/>
              <a:gd name="connsiteY89" fmla="*/ 225013 h 5835922"/>
              <a:gd name="connsiteX90" fmla="*/ 8415394 w 8636594"/>
              <a:gd name="connsiteY90" fmla="*/ 191709 h 5835922"/>
              <a:gd name="connsiteX91" fmla="*/ 8451434 w 8636594"/>
              <a:gd name="connsiteY91" fmla="*/ 158780 h 5835922"/>
              <a:gd name="connsiteX92" fmla="*/ 8487798 w 8636594"/>
              <a:gd name="connsiteY92" fmla="*/ 126233 h 5835922"/>
              <a:gd name="connsiteX93" fmla="*/ 8524489 w 8636594"/>
              <a:gd name="connsiteY93" fmla="*/ 94075 h 5835922"/>
              <a:gd name="connsiteX94" fmla="*/ 8561515 w 8636594"/>
              <a:gd name="connsiteY94" fmla="*/ 62312 h 5835922"/>
              <a:gd name="connsiteX95" fmla="*/ 8598881 w 8636594"/>
              <a:gd name="connsiteY95" fmla="*/ 30951 h 5835922"/>
              <a:gd name="connsiteX96" fmla="*/ 8636594 w 8636594"/>
              <a:gd name="connsiteY96" fmla="*/ 0 h 5835922"/>
              <a:gd name="connsiteX0" fmla="*/ 8636594 w 8636594"/>
              <a:gd name="connsiteY0" fmla="*/ 0 h 5810100"/>
              <a:gd name="connsiteX1" fmla="*/ 5293 w 8636594"/>
              <a:gd name="connsiteY1" fmla="*/ 0 h 5810100"/>
              <a:gd name="connsiteX2" fmla="*/ 0 w 8636594"/>
              <a:gd name="connsiteY2" fmla="*/ 5587843 h 5810100"/>
              <a:gd name="connsiteX3" fmla="*/ 4146933 w 8636594"/>
              <a:gd name="connsiteY3" fmla="*/ 5810100 h 5810100"/>
              <a:gd name="connsiteX4" fmla="*/ 4183061 w 8636594"/>
              <a:gd name="connsiteY4" fmla="*/ 5783988 h 5810100"/>
              <a:gd name="connsiteX5" fmla="*/ 4218791 w 8636594"/>
              <a:gd name="connsiteY5" fmla="*/ 5757591 h 5810100"/>
              <a:gd name="connsiteX6" fmla="*/ 4254129 w 8636594"/>
              <a:gd name="connsiteY6" fmla="*/ 5730912 h 5810100"/>
              <a:gd name="connsiteX7" fmla="*/ 4289081 w 8636594"/>
              <a:gd name="connsiteY7" fmla="*/ 5703955 h 5810100"/>
              <a:gd name="connsiteX8" fmla="*/ 4323654 w 8636594"/>
              <a:gd name="connsiteY8" fmla="*/ 5676722 h 5810100"/>
              <a:gd name="connsiteX9" fmla="*/ 4357854 w 8636594"/>
              <a:gd name="connsiteY9" fmla="*/ 5649218 h 5810100"/>
              <a:gd name="connsiteX10" fmla="*/ 4391688 w 8636594"/>
              <a:gd name="connsiteY10" fmla="*/ 5621446 h 5810100"/>
              <a:gd name="connsiteX11" fmla="*/ 4425162 w 8636594"/>
              <a:gd name="connsiteY11" fmla="*/ 5593409 h 5810100"/>
              <a:gd name="connsiteX12" fmla="*/ 4458281 w 8636594"/>
              <a:gd name="connsiteY12" fmla="*/ 5565111 h 5810100"/>
              <a:gd name="connsiteX13" fmla="*/ 4491053 w 8636594"/>
              <a:gd name="connsiteY13" fmla="*/ 5536556 h 5810100"/>
              <a:gd name="connsiteX14" fmla="*/ 4523484 w 8636594"/>
              <a:gd name="connsiteY14" fmla="*/ 5507747 h 5810100"/>
              <a:gd name="connsiteX15" fmla="*/ 4555580 w 8636594"/>
              <a:gd name="connsiteY15" fmla="*/ 5478687 h 5810100"/>
              <a:gd name="connsiteX16" fmla="*/ 4587347 w 8636594"/>
              <a:gd name="connsiteY16" fmla="*/ 5449380 h 5810100"/>
              <a:gd name="connsiteX17" fmla="*/ 4618793 w 8636594"/>
              <a:gd name="connsiteY17" fmla="*/ 5419830 h 5810100"/>
              <a:gd name="connsiteX18" fmla="*/ 4649922 w 8636594"/>
              <a:gd name="connsiteY18" fmla="*/ 5390040 h 5810100"/>
              <a:gd name="connsiteX19" fmla="*/ 4680742 w 8636594"/>
              <a:gd name="connsiteY19" fmla="*/ 5360014 h 5810100"/>
              <a:gd name="connsiteX20" fmla="*/ 4711259 w 8636594"/>
              <a:gd name="connsiteY20" fmla="*/ 5329755 h 5810100"/>
              <a:gd name="connsiteX21" fmla="*/ 4741478 w 8636594"/>
              <a:gd name="connsiteY21" fmla="*/ 5299266 h 5810100"/>
              <a:gd name="connsiteX22" fmla="*/ 4771408 w 8636594"/>
              <a:gd name="connsiteY22" fmla="*/ 5268551 h 5810100"/>
              <a:gd name="connsiteX23" fmla="*/ 4801053 w 8636594"/>
              <a:gd name="connsiteY23" fmla="*/ 5237614 h 5810100"/>
              <a:gd name="connsiteX24" fmla="*/ 4830420 w 8636594"/>
              <a:gd name="connsiteY24" fmla="*/ 5206458 h 5810100"/>
              <a:gd name="connsiteX25" fmla="*/ 4859516 w 8636594"/>
              <a:gd name="connsiteY25" fmla="*/ 5175087 h 5810100"/>
              <a:gd name="connsiteX26" fmla="*/ 4888347 w 8636594"/>
              <a:gd name="connsiteY26" fmla="*/ 5143504 h 5810100"/>
              <a:gd name="connsiteX27" fmla="*/ 4916919 w 8636594"/>
              <a:gd name="connsiteY27" fmla="*/ 5111713 h 5810100"/>
              <a:gd name="connsiteX28" fmla="*/ 4945238 w 8636594"/>
              <a:gd name="connsiteY28" fmla="*/ 5079717 h 5810100"/>
              <a:gd name="connsiteX29" fmla="*/ 4973311 w 8636594"/>
              <a:gd name="connsiteY29" fmla="*/ 5047519 h 5810100"/>
              <a:gd name="connsiteX30" fmla="*/ 5001145 w 8636594"/>
              <a:gd name="connsiteY30" fmla="*/ 5015124 h 5810100"/>
              <a:gd name="connsiteX31" fmla="*/ 5028745 w 8636594"/>
              <a:gd name="connsiteY31" fmla="*/ 4982535 h 5810100"/>
              <a:gd name="connsiteX32" fmla="*/ 5056117 w 8636594"/>
              <a:gd name="connsiteY32" fmla="*/ 4949755 h 5810100"/>
              <a:gd name="connsiteX33" fmla="*/ 5083269 w 8636594"/>
              <a:gd name="connsiteY33" fmla="*/ 4916787 h 5810100"/>
              <a:gd name="connsiteX34" fmla="*/ 5110207 w 8636594"/>
              <a:gd name="connsiteY34" fmla="*/ 4883636 h 5810100"/>
              <a:gd name="connsiteX35" fmla="*/ 5136937 w 8636594"/>
              <a:gd name="connsiteY35" fmla="*/ 4850305 h 5810100"/>
              <a:gd name="connsiteX36" fmla="*/ 5163464 w 8636594"/>
              <a:gd name="connsiteY36" fmla="*/ 4816797 h 5810100"/>
              <a:gd name="connsiteX37" fmla="*/ 5215940 w 8636594"/>
              <a:gd name="connsiteY37" fmla="*/ 4749265 h 5810100"/>
              <a:gd name="connsiteX38" fmla="*/ 5267684 w 8636594"/>
              <a:gd name="connsiteY38" fmla="*/ 4681068 h 5810100"/>
              <a:gd name="connsiteX39" fmla="*/ 5318748 w 8636594"/>
              <a:gd name="connsiteY39" fmla="*/ 4612234 h 5810100"/>
              <a:gd name="connsiteX40" fmla="*/ 5369182 w 8636594"/>
              <a:gd name="connsiteY40" fmla="*/ 4542793 h 5810100"/>
              <a:gd name="connsiteX41" fmla="*/ 5419038 w 8636594"/>
              <a:gd name="connsiteY41" fmla="*/ 4472771 h 5810100"/>
              <a:gd name="connsiteX42" fmla="*/ 5468365 w 8636594"/>
              <a:gd name="connsiteY42" fmla="*/ 4402196 h 5810100"/>
              <a:gd name="connsiteX43" fmla="*/ 5517215 w 8636594"/>
              <a:gd name="connsiteY43" fmla="*/ 4331098 h 5810100"/>
              <a:gd name="connsiteX44" fmla="*/ 5565637 w 8636594"/>
              <a:gd name="connsiteY44" fmla="*/ 4259503 h 5810100"/>
              <a:gd name="connsiteX45" fmla="*/ 5613684 w 8636594"/>
              <a:gd name="connsiteY45" fmla="*/ 4187441 h 5810100"/>
              <a:gd name="connsiteX46" fmla="*/ 5685160 w 8636594"/>
              <a:gd name="connsiteY46" fmla="*/ 4078531 h 5810100"/>
              <a:gd name="connsiteX47" fmla="*/ 5756074 w 8636594"/>
              <a:gd name="connsiteY47" fmla="*/ 3968727 h 5810100"/>
              <a:gd name="connsiteX48" fmla="*/ 5873483 w 8636594"/>
              <a:gd name="connsiteY48" fmla="*/ 3783989 h 5810100"/>
              <a:gd name="connsiteX49" fmla="*/ 6203209 w 8636594"/>
              <a:gd name="connsiteY49" fmla="*/ 3258640 h 5810100"/>
              <a:gd name="connsiteX50" fmla="*/ 6299430 w 8636594"/>
              <a:gd name="connsiteY50" fmla="*/ 3107321 h 5810100"/>
              <a:gd name="connsiteX51" fmla="*/ 6372650 w 8636594"/>
              <a:gd name="connsiteY51" fmla="*/ 2993735 h 5810100"/>
              <a:gd name="connsiteX52" fmla="*/ 6453197 w 8636594"/>
              <a:gd name="connsiteY52" fmla="*/ 2869788 h 5810100"/>
              <a:gd name="connsiteX53" fmla="*/ 6564167 w 8636594"/>
              <a:gd name="connsiteY53" fmla="*/ 2696807 h 5810100"/>
              <a:gd name="connsiteX54" fmla="*/ 6976233 w 8636594"/>
              <a:gd name="connsiteY54" fmla="*/ 2045274 h 5810100"/>
              <a:gd name="connsiteX55" fmla="*/ 7086755 w 8636594"/>
              <a:gd name="connsiteY55" fmla="*/ 1872743 h 5810100"/>
              <a:gd name="connsiteX56" fmla="*/ 7170279 w 8636594"/>
              <a:gd name="connsiteY56" fmla="*/ 1744202 h 5810100"/>
              <a:gd name="connsiteX57" fmla="*/ 7226351 w 8636594"/>
              <a:gd name="connsiteY57" fmla="*/ 1659017 h 5810100"/>
              <a:gd name="connsiteX58" fmla="*/ 7282789 w 8636594"/>
              <a:gd name="connsiteY58" fmla="*/ 1574303 h 5810100"/>
              <a:gd name="connsiteX59" fmla="*/ 7339643 w 8636594"/>
              <a:gd name="connsiteY59" fmla="*/ 1490113 h 5810100"/>
              <a:gd name="connsiteX60" fmla="*/ 7396957 w 8636594"/>
              <a:gd name="connsiteY60" fmla="*/ 1406503 h 5810100"/>
              <a:gd name="connsiteX61" fmla="*/ 7454781 w 8636594"/>
              <a:gd name="connsiteY61" fmla="*/ 1323526 h 5810100"/>
              <a:gd name="connsiteX62" fmla="*/ 7513161 w 8636594"/>
              <a:gd name="connsiteY62" fmla="*/ 1241237 h 5810100"/>
              <a:gd name="connsiteX63" fmla="*/ 7572144 w 8636594"/>
              <a:gd name="connsiteY63" fmla="*/ 1159689 h 5810100"/>
              <a:gd name="connsiteX64" fmla="*/ 7601877 w 8636594"/>
              <a:gd name="connsiteY64" fmla="*/ 1119210 h 5810100"/>
              <a:gd name="connsiteX65" fmla="*/ 7631779 w 8636594"/>
              <a:gd name="connsiteY65" fmla="*/ 1078937 h 5810100"/>
              <a:gd name="connsiteX66" fmla="*/ 7661855 w 8636594"/>
              <a:gd name="connsiteY66" fmla="*/ 1038876 h 5810100"/>
              <a:gd name="connsiteX67" fmla="*/ 7692111 w 8636594"/>
              <a:gd name="connsiteY67" fmla="*/ 999035 h 5810100"/>
              <a:gd name="connsiteX68" fmla="*/ 7722554 w 8636594"/>
              <a:gd name="connsiteY68" fmla="*/ 959419 h 5810100"/>
              <a:gd name="connsiteX69" fmla="*/ 7753190 w 8636594"/>
              <a:gd name="connsiteY69" fmla="*/ 920037 h 5810100"/>
              <a:gd name="connsiteX70" fmla="*/ 7784023 w 8636594"/>
              <a:gd name="connsiteY70" fmla="*/ 880894 h 5810100"/>
              <a:gd name="connsiteX71" fmla="*/ 7815061 w 8636594"/>
              <a:gd name="connsiteY71" fmla="*/ 841997 h 5810100"/>
              <a:gd name="connsiteX72" fmla="*/ 7846308 w 8636594"/>
              <a:gd name="connsiteY72" fmla="*/ 803354 h 5810100"/>
              <a:gd name="connsiteX73" fmla="*/ 7877772 w 8636594"/>
              <a:gd name="connsiteY73" fmla="*/ 764970 h 5810100"/>
              <a:gd name="connsiteX74" fmla="*/ 7909458 w 8636594"/>
              <a:gd name="connsiteY74" fmla="*/ 726853 h 5810100"/>
              <a:gd name="connsiteX75" fmla="*/ 7941371 w 8636594"/>
              <a:gd name="connsiteY75" fmla="*/ 689010 h 5810100"/>
              <a:gd name="connsiteX76" fmla="*/ 7973518 w 8636594"/>
              <a:gd name="connsiteY76" fmla="*/ 651447 h 5810100"/>
              <a:gd name="connsiteX77" fmla="*/ 8005905 w 8636594"/>
              <a:gd name="connsiteY77" fmla="*/ 614171 h 5810100"/>
              <a:gd name="connsiteX78" fmla="*/ 8038538 w 8636594"/>
              <a:gd name="connsiteY78" fmla="*/ 577189 h 5810100"/>
              <a:gd name="connsiteX79" fmla="*/ 8071421 w 8636594"/>
              <a:gd name="connsiteY79" fmla="*/ 540507 h 5810100"/>
              <a:gd name="connsiteX80" fmla="*/ 8104563 w 8636594"/>
              <a:gd name="connsiteY80" fmla="*/ 504132 h 5810100"/>
              <a:gd name="connsiteX81" fmla="*/ 8137967 w 8636594"/>
              <a:gd name="connsiteY81" fmla="*/ 468072 h 5810100"/>
              <a:gd name="connsiteX82" fmla="*/ 8171641 w 8636594"/>
              <a:gd name="connsiteY82" fmla="*/ 432332 h 5810100"/>
              <a:gd name="connsiteX83" fmla="*/ 8205590 w 8636594"/>
              <a:gd name="connsiteY83" fmla="*/ 396920 h 5810100"/>
              <a:gd name="connsiteX84" fmla="*/ 8239820 w 8636594"/>
              <a:gd name="connsiteY84" fmla="*/ 361843 h 5810100"/>
              <a:gd name="connsiteX85" fmla="*/ 8274337 w 8636594"/>
              <a:gd name="connsiteY85" fmla="*/ 327107 h 5810100"/>
              <a:gd name="connsiteX86" fmla="*/ 8309147 w 8636594"/>
              <a:gd name="connsiteY86" fmla="*/ 292718 h 5810100"/>
              <a:gd name="connsiteX87" fmla="*/ 8344256 w 8636594"/>
              <a:gd name="connsiteY87" fmla="*/ 258685 h 5810100"/>
              <a:gd name="connsiteX88" fmla="*/ 8379669 w 8636594"/>
              <a:gd name="connsiteY88" fmla="*/ 225013 h 5810100"/>
              <a:gd name="connsiteX89" fmla="*/ 8415394 w 8636594"/>
              <a:gd name="connsiteY89" fmla="*/ 191709 h 5810100"/>
              <a:gd name="connsiteX90" fmla="*/ 8451434 w 8636594"/>
              <a:gd name="connsiteY90" fmla="*/ 158780 h 5810100"/>
              <a:gd name="connsiteX91" fmla="*/ 8487798 w 8636594"/>
              <a:gd name="connsiteY91" fmla="*/ 126233 h 5810100"/>
              <a:gd name="connsiteX92" fmla="*/ 8524489 w 8636594"/>
              <a:gd name="connsiteY92" fmla="*/ 94075 h 5810100"/>
              <a:gd name="connsiteX93" fmla="*/ 8561515 w 8636594"/>
              <a:gd name="connsiteY93" fmla="*/ 62312 h 5810100"/>
              <a:gd name="connsiteX94" fmla="*/ 8598881 w 8636594"/>
              <a:gd name="connsiteY94" fmla="*/ 30951 h 5810100"/>
              <a:gd name="connsiteX95" fmla="*/ 8636594 w 8636594"/>
              <a:gd name="connsiteY95" fmla="*/ 0 h 5810100"/>
              <a:gd name="connsiteX0" fmla="*/ 8636594 w 8636594"/>
              <a:gd name="connsiteY0" fmla="*/ 0 h 5783988"/>
              <a:gd name="connsiteX1" fmla="*/ 5293 w 8636594"/>
              <a:gd name="connsiteY1" fmla="*/ 0 h 5783988"/>
              <a:gd name="connsiteX2" fmla="*/ 0 w 8636594"/>
              <a:gd name="connsiteY2" fmla="*/ 5587843 h 5783988"/>
              <a:gd name="connsiteX3" fmla="*/ 4183061 w 8636594"/>
              <a:gd name="connsiteY3" fmla="*/ 5783988 h 5783988"/>
              <a:gd name="connsiteX4" fmla="*/ 4218791 w 8636594"/>
              <a:gd name="connsiteY4" fmla="*/ 5757591 h 5783988"/>
              <a:gd name="connsiteX5" fmla="*/ 4254129 w 8636594"/>
              <a:gd name="connsiteY5" fmla="*/ 5730912 h 5783988"/>
              <a:gd name="connsiteX6" fmla="*/ 4289081 w 8636594"/>
              <a:gd name="connsiteY6" fmla="*/ 5703955 h 5783988"/>
              <a:gd name="connsiteX7" fmla="*/ 4323654 w 8636594"/>
              <a:gd name="connsiteY7" fmla="*/ 5676722 h 5783988"/>
              <a:gd name="connsiteX8" fmla="*/ 4357854 w 8636594"/>
              <a:gd name="connsiteY8" fmla="*/ 5649218 h 5783988"/>
              <a:gd name="connsiteX9" fmla="*/ 4391688 w 8636594"/>
              <a:gd name="connsiteY9" fmla="*/ 5621446 h 5783988"/>
              <a:gd name="connsiteX10" fmla="*/ 4425162 w 8636594"/>
              <a:gd name="connsiteY10" fmla="*/ 5593409 h 5783988"/>
              <a:gd name="connsiteX11" fmla="*/ 4458281 w 8636594"/>
              <a:gd name="connsiteY11" fmla="*/ 5565111 h 5783988"/>
              <a:gd name="connsiteX12" fmla="*/ 4491053 w 8636594"/>
              <a:gd name="connsiteY12" fmla="*/ 5536556 h 5783988"/>
              <a:gd name="connsiteX13" fmla="*/ 4523484 w 8636594"/>
              <a:gd name="connsiteY13" fmla="*/ 5507747 h 5783988"/>
              <a:gd name="connsiteX14" fmla="*/ 4555580 w 8636594"/>
              <a:gd name="connsiteY14" fmla="*/ 5478687 h 5783988"/>
              <a:gd name="connsiteX15" fmla="*/ 4587347 w 8636594"/>
              <a:gd name="connsiteY15" fmla="*/ 5449380 h 5783988"/>
              <a:gd name="connsiteX16" fmla="*/ 4618793 w 8636594"/>
              <a:gd name="connsiteY16" fmla="*/ 5419830 h 5783988"/>
              <a:gd name="connsiteX17" fmla="*/ 4649922 w 8636594"/>
              <a:gd name="connsiteY17" fmla="*/ 5390040 h 5783988"/>
              <a:gd name="connsiteX18" fmla="*/ 4680742 w 8636594"/>
              <a:gd name="connsiteY18" fmla="*/ 5360014 h 5783988"/>
              <a:gd name="connsiteX19" fmla="*/ 4711259 w 8636594"/>
              <a:gd name="connsiteY19" fmla="*/ 5329755 h 5783988"/>
              <a:gd name="connsiteX20" fmla="*/ 4741478 w 8636594"/>
              <a:gd name="connsiteY20" fmla="*/ 5299266 h 5783988"/>
              <a:gd name="connsiteX21" fmla="*/ 4771408 w 8636594"/>
              <a:gd name="connsiteY21" fmla="*/ 5268551 h 5783988"/>
              <a:gd name="connsiteX22" fmla="*/ 4801053 w 8636594"/>
              <a:gd name="connsiteY22" fmla="*/ 5237614 h 5783988"/>
              <a:gd name="connsiteX23" fmla="*/ 4830420 w 8636594"/>
              <a:gd name="connsiteY23" fmla="*/ 5206458 h 5783988"/>
              <a:gd name="connsiteX24" fmla="*/ 4859516 w 8636594"/>
              <a:gd name="connsiteY24" fmla="*/ 5175087 h 5783988"/>
              <a:gd name="connsiteX25" fmla="*/ 4888347 w 8636594"/>
              <a:gd name="connsiteY25" fmla="*/ 5143504 h 5783988"/>
              <a:gd name="connsiteX26" fmla="*/ 4916919 w 8636594"/>
              <a:gd name="connsiteY26" fmla="*/ 5111713 h 5783988"/>
              <a:gd name="connsiteX27" fmla="*/ 4945238 w 8636594"/>
              <a:gd name="connsiteY27" fmla="*/ 5079717 h 5783988"/>
              <a:gd name="connsiteX28" fmla="*/ 4973311 w 8636594"/>
              <a:gd name="connsiteY28" fmla="*/ 5047519 h 5783988"/>
              <a:gd name="connsiteX29" fmla="*/ 5001145 w 8636594"/>
              <a:gd name="connsiteY29" fmla="*/ 5015124 h 5783988"/>
              <a:gd name="connsiteX30" fmla="*/ 5028745 w 8636594"/>
              <a:gd name="connsiteY30" fmla="*/ 4982535 h 5783988"/>
              <a:gd name="connsiteX31" fmla="*/ 5056117 w 8636594"/>
              <a:gd name="connsiteY31" fmla="*/ 4949755 h 5783988"/>
              <a:gd name="connsiteX32" fmla="*/ 5083269 w 8636594"/>
              <a:gd name="connsiteY32" fmla="*/ 4916787 h 5783988"/>
              <a:gd name="connsiteX33" fmla="*/ 5110207 w 8636594"/>
              <a:gd name="connsiteY33" fmla="*/ 4883636 h 5783988"/>
              <a:gd name="connsiteX34" fmla="*/ 5136937 w 8636594"/>
              <a:gd name="connsiteY34" fmla="*/ 4850305 h 5783988"/>
              <a:gd name="connsiteX35" fmla="*/ 5163464 w 8636594"/>
              <a:gd name="connsiteY35" fmla="*/ 4816797 h 5783988"/>
              <a:gd name="connsiteX36" fmla="*/ 5215940 w 8636594"/>
              <a:gd name="connsiteY36" fmla="*/ 4749265 h 5783988"/>
              <a:gd name="connsiteX37" fmla="*/ 5267684 w 8636594"/>
              <a:gd name="connsiteY37" fmla="*/ 4681068 h 5783988"/>
              <a:gd name="connsiteX38" fmla="*/ 5318748 w 8636594"/>
              <a:gd name="connsiteY38" fmla="*/ 4612234 h 5783988"/>
              <a:gd name="connsiteX39" fmla="*/ 5369182 w 8636594"/>
              <a:gd name="connsiteY39" fmla="*/ 4542793 h 5783988"/>
              <a:gd name="connsiteX40" fmla="*/ 5419038 w 8636594"/>
              <a:gd name="connsiteY40" fmla="*/ 4472771 h 5783988"/>
              <a:gd name="connsiteX41" fmla="*/ 5468365 w 8636594"/>
              <a:gd name="connsiteY41" fmla="*/ 4402196 h 5783988"/>
              <a:gd name="connsiteX42" fmla="*/ 5517215 w 8636594"/>
              <a:gd name="connsiteY42" fmla="*/ 4331098 h 5783988"/>
              <a:gd name="connsiteX43" fmla="*/ 5565637 w 8636594"/>
              <a:gd name="connsiteY43" fmla="*/ 4259503 h 5783988"/>
              <a:gd name="connsiteX44" fmla="*/ 5613684 w 8636594"/>
              <a:gd name="connsiteY44" fmla="*/ 4187441 h 5783988"/>
              <a:gd name="connsiteX45" fmla="*/ 5685160 w 8636594"/>
              <a:gd name="connsiteY45" fmla="*/ 4078531 h 5783988"/>
              <a:gd name="connsiteX46" fmla="*/ 5756074 w 8636594"/>
              <a:gd name="connsiteY46" fmla="*/ 3968727 h 5783988"/>
              <a:gd name="connsiteX47" fmla="*/ 5873483 w 8636594"/>
              <a:gd name="connsiteY47" fmla="*/ 3783989 h 5783988"/>
              <a:gd name="connsiteX48" fmla="*/ 6203209 w 8636594"/>
              <a:gd name="connsiteY48" fmla="*/ 3258640 h 5783988"/>
              <a:gd name="connsiteX49" fmla="*/ 6299430 w 8636594"/>
              <a:gd name="connsiteY49" fmla="*/ 3107321 h 5783988"/>
              <a:gd name="connsiteX50" fmla="*/ 6372650 w 8636594"/>
              <a:gd name="connsiteY50" fmla="*/ 2993735 h 5783988"/>
              <a:gd name="connsiteX51" fmla="*/ 6453197 w 8636594"/>
              <a:gd name="connsiteY51" fmla="*/ 2869788 h 5783988"/>
              <a:gd name="connsiteX52" fmla="*/ 6564167 w 8636594"/>
              <a:gd name="connsiteY52" fmla="*/ 2696807 h 5783988"/>
              <a:gd name="connsiteX53" fmla="*/ 6976233 w 8636594"/>
              <a:gd name="connsiteY53" fmla="*/ 2045274 h 5783988"/>
              <a:gd name="connsiteX54" fmla="*/ 7086755 w 8636594"/>
              <a:gd name="connsiteY54" fmla="*/ 1872743 h 5783988"/>
              <a:gd name="connsiteX55" fmla="*/ 7170279 w 8636594"/>
              <a:gd name="connsiteY55" fmla="*/ 1744202 h 5783988"/>
              <a:gd name="connsiteX56" fmla="*/ 7226351 w 8636594"/>
              <a:gd name="connsiteY56" fmla="*/ 1659017 h 5783988"/>
              <a:gd name="connsiteX57" fmla="*/ 7282789 w 8636594"/>
              <a:gd name="connsiteY57" fmla="*/ 1574303 h 5783988"/>
              <a:gd name="connsiteX58" fmla="*/ 7339643 w 8636594"/>
              <a:gd name="connsiteY58" fmla="*/ 1490113 h 5783988"/>
              <a:gd name="connsiteX59" fmla="*/ 7396957 w 8636594"/>
              <a:gd name="connsiteY59" fmla="*/ 1406503 h 5783988"/>
              <a:gd name="connsiteX60" fmla="*/ 7454781 w 8636594"/>
              <a:gd name="connsiteY60" fmla="*/ 1323526 h 5783988"/>
              <a:gd name="connsiteX61" fmla="*/ 7513161 w 8636594"/>
              <a:gd name="connsiteY61" fmla="*/ 1241237 h 5783988"/>
              <a:gd name="connsiteX62" fmla="*/ 7572144 w 8636594"/>
              <a:gd name="connsiteY62" fmla="*/ 1159689 h 5783988"/>
              <a:gd name="connsiteX63" fmla="*/ 7601877 w 8636594"/>
              <a:gd name="connsiteY63" fmla="*/ 1119210 h 5783988"/>
              <a:gd name="connsiteX64" fmla="*/ 7631779 w 8636594"/>
              <a:gd name="connsiteY64" fmla="*/ 1078937 h 5783988"/>
              <a:gd name="connsiteX65" fmla="*/ 7661855 w 8636594"/>
              <a:gd name="connsiteY65" fmla="*/ 1038876 h 5783988"/>
              <a:gd name="connsiteX66" fmla="*/ 7692111 w 8636594"/>
              <a:gd name="connsiteY66" fmla="*/ 999035 h 5783988"/>
              <a:gd name="connsiteX67" fmla="*/ 7722554 w 8636594"/>
              <a:gd name="connsiteY67" fmla="*/ 959419 h 5783988"/>
              <a:gd name="connsiteX68" fmla="*/ 7753190 w 8636594"/>
              <a:gd name="connsiteY68" fmla="*/ 920037 h 5783988"/>
              <a:gd name="connsiteX69" fmla="*/ 7784023 w 8636594"/>
              <a:gd name="connsiteY69" fmla="*/ 880894 h 5783988"/>
              <a:gd name="connsiteX70" fmla="*/ 7815061 w 8636594"/>
              <a:gd name="connsiteY70" fmla="*/ 841997 h 5783988"/>
              <a:gd name="connsiteX71" fmla="*/ 7846308 w 8636594"/>
              <a:gd name="connsiteY71" fmla="*/ 803354 h 5783988"/>
              <a:gd name="connsiteX72" fmla="*/ 7877772 w 8636594"/>
              <a:gd name="connsiteY72" fmla="*/ 764970 h 5783988"/>
              <a:gd name="connsiteX73" fmla="*/ 7909458 w 8636594"/>
              <a:gd name="connsiteY73" fmla="*/ 726853 h 5783988"/>
              <a:gd name="connsiteX74" fmla="*/ 7941371 w 8636594"/>
              <a:gd name="connsiteY74" fmla="*/ 689010 h 5783988"/>
              <a:gd name="connsiteX75" fmla="*/ 7973518 w 8636594"/>
              <a:gd name="connsiteY75" fmla="*/ 651447 h 5783988"/>
              <a:gd name="connsiteX76" fmla="*/ 8005905 w 8636594"/>
              <a:gd name="connsiteY76" fmla="*/ 614171 h 5783988"/>
              <a:gd name="connsiteX77" fmla="*/ 8038538 w 8636594"/>
              <a:gd name="connsiteY77" fmla="*/ 577189 h 5783988"/>
              <a:gd name="connsiteX78" fmla="*/ 8071421 w 8636594"/>
              <a:gd name="connsiteY78" fmla="*/ 540507 h 5783988"/>
              <a:gd name="connsiteX79" fmla="*/ 8104563 w 8636594"/>
              <a:gd name="connsiteY79" fmla="*/ 504132 h 5783988"/>
              <a:gd name="connsiteX80" fmla="*/ 8137967 w 8636594"/>
              <a:gd name="connsiteY80" fmla="*/ 468072 h 5783988"/>
              <a:gd name="connsiteX81" fmla="*/ 8171641 w 8636594"/>
              <a:gd name="connsiteY81" fmla="*/ 432332 h 5783988"/>
              <a:gd name="connsiteX82" fmla="*/ 8205590 w 8636594"/>
              <a:gd name="connsiteY82" fmla="*/ 396920 h 5783988"/>
              <a:gd name="connsiteX83" fmla="*/ 8239820 w 8636594"/>
              <a:gd name="connsiteY83" fmla="*/ 361843 h 5783988"/>
              <a:gd name="connsiteX84" fmla="*/ 8274337 w 8636594"/>
              <a:gd name="connsiteY84" fmla="*/ 327107 h 5783988"/>
              <a:gd name="connsiteX85" fmla="*/ 8309147 w 8636594"/>
              <a:gd name="connsiteY85" fmla="*/ 292718 h 5783988"/>
              <a:gd name="connsiteX86" fmla="*/ 8344256 w 8636594"/>
              <a:gd name="connsiteY86" fmla="*/ 258685 h 5783988"/>
              <a:gd name="connsiteX87" fmla="*/ 8379669 w 8636594"/>
              <a:gd name="connsiteY87" fmla="*/ 225013 h 5783988"/>
              <a:gd name="connsiteX88" fmla="*/ 8415394 w 8636594"/>
              <a:gd name="connsiteY88" fmla="*/ 191709 h 5783988"/>
              <a:gd name="connsiteX89" fmla="*/ 8451434 w 8636594"/>
              <a:gd name="connsiteY89" fmla="*/ 158780 h 5783988"/>
              <a:gd name="connsiteX90" fmla="*/ 8487798 w 8636594"/>
              <a:gd name="connsiteY90" fmla="*/ 126233 h 5783988"/>
              <a:gd name="connsiteX91" fmla="*/ 8524489 w 8636594"/>
              <a:gd name="connsiteY91" fmla="*/ 94075 h 5783988"/>
              <a:gd name="connsiteX92" fmla="*/ 8561515 w 8636594"/>
              <a:gd name="connsiteY92" fmla="*/ 62312 h 5783988"/>
              <a:gd name="connsiteX93" fmla="*/ 8598881 w 8636594"/>
              <a:gd name="connsiteY93" fmla="*/ 30951 h 5783988"/>
              <a:gd name="connsiteX94" fmla="*/ 8636594 w 8636594"/>
              <a:gd name="connsiteY94" fmla="*/ 0 h 5783988"/>
              <a:gd name="connsiteX0" fmla="*/ 8636594 w 8636594"/>
              <a:gd name="connsiteY0" fmla="*/ 0 h 5757591"/>
              <a:gd name="connsiteX1" fmla="*/ 5293 w 8636594"/>
              <a:gd name="connsiteY1" fmla="*/ 0 h 5757591"/>
              <a:gd name="connsiteX2" fmla="*/ 0 w 8636594"/>
              <a:gd name="connsiteY2" fmla="*/ 5587843 h 5757591"/>
              <a:gd name="connsiteX3" fmla="*/ 4218791 w 8636594"/>
              <a:gd name="connsiteY3" fmla="*/ 5757591 h 5757591"/>
              <a:gd name="connsiteX4" fmla="*/ 4254129 w 8636594"/>
              <a:gd name="connsiteY4" fmla="*/ 5730912 h 5757591"/>
              <a:gd name="connsiteX5" fmla="*/ 4289081 w 8636594"/>
              <a:gd name="connsiteY5" fmla="*/ 5703955 h 5757591"/>
              <a:gd name="connsiteX6" fmla="*/ 4323654 w 8636594"/>
              <a:gd name="connsiteY6" fmla="*/ 5676722 h 5757591"/>
              <a:gd name="connsiteX7" fmla="*/ 4357854 w 8636594"/>
              <a:gd name="connsiteY7" fmla="*/ 5649218 h 5757591"/>
              <a:gd name="connsiteX8" fmla="*/ 4391688 w 8636594"/>
              <a:gd name="connsiteY8" fmla="*/ 5621446 h 5757591"/>
              <a:gd name="connsiteX9" fmla="*/ 4425162 w 8636594"/>
              <a:gd name="connsiteY9" fmla="*/ 5593409 h 5757591"/>
              <a:gd name="connsiteX10" fmla="*/ 4458281 w 8636594"/>
              <a:gd name="connsiteY10" fmla="*/ 5565111 h 5757591"/>
              <a:gd name="connsiteX11" fmla="*/ 4491053 w 8636594"/>
              <a:gd name="connsiteY11" fmla="*/ 5536556 h 5757591"/>
              <a:gd name="connsiteX12" fmla="*/ 4523484 w 8636594"/>
              <a:gd name="connsiteY12" fmla="*/ 5507747 h 5757591"/>
              <a:gd name="connsiteX13" fmla="*/ 4555580 w 8636594"/>
              <a:gd name="connsiteY13" fmla="*/ 5478687 h 5757591"/>
              <a:gd name="connsiteX14" fmla="*/ 4587347 w 8636594"/>
              <a:gd name="connsiteY14" fmla="*/ 5449380 h 5757591"/>
              <a:gd name="connsiteX15" fmla="*/ 4618793 w 8636594"/>
              <a:gd name="connsiteY15" fmla="*/ 5419830 h 5757591"/>
              <a:gd name="connsiteX16" fmla="*/ 4649922 w 8636594"/>
              <a:gd name="connsiteY16" fmla="*/ 5390040 h 5757591"/>
              <a:gd name="connsiteX17" fmla="*/ 4680742 w 8636594"/>
              <a:gd name="connsiteY17" fmla="*/ 5360014 h 5757591"/>
              <a:gd name="connsiteX18" fmla="*/ 4711259 w 8636594"/>
              <a:gd name="connsiteY18" fmla="*/ 5329755 h 5757591"/>
              <a:gd name="connsiteX19" fmla="*/ 4741478 w 8636594"/>
              <a:gd name="connsiteY19" fmla="*/ 5299266 h 5757591"/>
              <a:gd name="connsiteX20" fmla="*/ 4771408 w 8636594"/>
              <a:gd name="connsiteY20" fmla="*/ 5268551 h 5757591"/>
              <a:gd name="connsiteX21" fmla="*/ 4801053 w 8636594"/>
              <a:gd name="connsiteY21" fmla="*/ 5237614 h 5757591"/>
              <a:gd name="connsiteX22" fmla="*/ 4830420 w 8636594"/>
              <a:gd name="connsiteY22" fmla="*/ 5206458 h 5757591"/>
              <a:gd name="connsiteX23" fmla="*/ 4859516 w 8636594"/>
              <a:gd name="connsiteY23" fmla="*/ 5175087 h 5757591"/>
              <a:gd name="connsiteX24" fmla="*/ 4888347 w 8636594"/>
              <a:gd name="connsiteY24" fmla="*/ 5143504 h 5757591"/>
              <a:gd name="connsiteX25" fmla="*/ 4916919 w 8636594"/>
              <a:gd name="connsiteY25" fmla="*/ 5111713 h 5757591"/>
              <a:gd name="connsiteX26" fmla="*/ 4945238 w 8636594"/>
              <a:gd name="connsiteY26" fmla="*/ 5079717 h 5757591"/>
              <a:gd name="connsiteX27" fmla="*/ 4973311 w 8636594"/>
              <a:gd name="connsiteY27" fmla="*/ 5047519 h 5757591"/>
              <a:gd name="connsiteX28" fmla="*/ 5001145 w 8636594"/>
              <a:gd name="connsiteY28" fmla="*/ 5015124 h 5757591"/>
              <a:gd name="connsiteX29" fmla="*/ 5028745 w 8636594"/>
              <a:gd name="connsiteY29" fmla="*/ 4982535 h 5757591"/>
              <a:gd name="connsiteX30" fmla="*/ 5056117 w 8636594"/>
              <a:gd name="connsiteY30" fmla="*/ 4949755 h 5757591"/>
              <a:gd name="connsiteX31" fmla="*/ 5083269 w 8636594"/>
              <a:gd name="connsiteY31" fmla="*/ 4916787 h 5757591"/>
              <a:gd name="connsiteX32" fmla="*/ 5110207 w 8636594"/>
              <a:gd name="connsiteY32" fmla="*/ 4883636 h 5757591"/>
              <a:gd name="connsiteX33" fmla="*/ 5136937 w 8636594"/>
              <a:gd name="connsiteY33" fmla="*/ 4850305 h 5757591"/>
              <a:gd name="connsiteX34" fmla="*/ 5163464 w 8636594"/>
              <a:gd name="connsiteY34" fmla="*/ 4816797 h 5757591"/>
              <a:gd name="connsiteX35" fmla="*/ 5215940 w 8636594"/>
              <a:gd name="connsiteY35" fmla="*/ 4749265 h 5757591"/>
              <a:gd name="connsiteX36" fmla="*/ 5267684 w 8636594"/>
              <a:gd name="connsiteY36" fmla="*/ 4681068 h 5757591"/>
              <a:gd name="connsiteX37" fmla="*/ 5318748 w 8636594"/>
              <a:gd name="connsiteY37" fmla="*/ 4612234 h 5757591"/>
              <a:gd name="connsiteX38" fmla="*/ 5369182 w 8636594"/>
              <a:gd name="connsiteY38" fmla="*/ 4542793 h 5757591"/>
              <a:gd name="connsiteX39" fmla="*/ 5419038 w 8636594"/>
              <a:gd name="connsiteY39" fmla="*/ 4472771 h 5757591"/>
              <a:gd name="connsiteX40" fmla="*/ 5468365 w 8636594"/>
              <a:gd name="connsiteY40" fmla="*/ 4402196 h 5757591"/>
              <a:gd name="connsiteX41" fmla="*/ 5517215 w 8636594"/>
              <a:gd name="connsiteY41" fmla="*/ 4331098 h 5757591"/>
              <a:gd name="connsiteX42" fmla="*/ 5565637 w 8636594"/>
              <a:gd name="connsiteY42" fmla="*/ 4259503 h 5757591"/>
              <a:gd name="connsiteX43" fmla="*/ 5613684 w 8636594"/>
              <a:gd name="connsiteY43" fmla="*/ 4187441 h 5757591"/>
              <a:gd name="connsiteX44" fmla="*/ 5685160 w 8636594"/>
              <a:gd name="connsiteY44" fmla="*/ 4078531 h 5757591"/>
              <a:gd name="connsiteX45" fmla="*/ 5756074 w 8636594"/>
              <a:gd name="connsiteY45" fmla="*/ 3968727 h 5757591"/>
              <a:gd name="connsiteX46" fmla="*/ 5873483 w 8636594"/>
              <a:gd name="connsiteY46" fmla="*/ 3783989 h 5757591"/>
              <a:gd name="connsiteX47" fmla="*/ 6203209 w 8636594"/>
              <a:gd name="connsiteY47" fmla="*/ 3258640 h 5757591"/>
              <a:gd name="connsiteX48" fmla="*/ 6299430 w 8636594"/>
              <a:gd name="connsiteY48" fmla="*/ 3107321 h 5757591"/>
              <a:gd name="connsiteX49" fmla="*/ 6372650 w 8636594"/>
              <a:gd name="connsiteY49" fmla="*/ 2993735 h 5757591"/>
              <a:gd name="connsiteX50" fmla="*/ 6453197 w 8636594"/>
              <a:gd name="connsiteY50" fmla="*/ 2869788 h 5757591"/>
              <a:gd name="connsiteX51" fmla="*/ 6564167 w 8636594"/>
              <a:gd name="connsiteY51" fmla="*/ 2696807 h 5757591"/>
              <a:gd name="connsiteX52" fmla="*/ 6976233 w 8636594"/>
              <a:gd name="connsiteY52" fmla="*/ 2045274 h 5757591"/>
              <a:gd name="connsiteX53" fmla="*/ 7086755 w 8636594"/>
              <a:gd name="connsiteY53" fmla="*/ 1872743 h 5757591"/>
              <a:gd name="connsiteX54" fmla="*/ 7170279 w 8636594"/>
              <a:gd name="connsiteY54" fmla="*/ 1744202 h 5757591"/>
              <a:gd name="connsiteX55" fmla="*/ 7226351 w 8636594"/>
              <a:gd name="connsiteY55" fmla="*/ 1659017 h 5757591"/>
              <a:gd name="connsiteX56" fmla="*/ 7282789 w 8636594"/>
              <a:gd name="connsiteY56" fmla="*/ 1574303 h 5757591"/>
              <a:gd name="connsiteX57" fmla="*/ 7339643 w 8636594"/>
              <a:gd name="connsiteY57" fmla="*/ 1490113 h 5757591"/>
              <a:gd name="connsiteX58" fmla="*/ 7396957 w 8636594"/>
              <a:gd name="connsiteY58" fmla="*/ 1406503 h 5757591"/>
              <a:gd name="connsiteX59" fmla="*/ 7454781 w 8636594"/>
              <a:gd name="connsiteY59" fmla="*/ 1323526 h 5757591"/>
              <a:gd name="connsiteX60" fmla="*/ 7513161 w 8636594"/>
              <a:gd name="connsiteY60" fmla="*/ 1241237 h 5757591"/>
              <a:gd name="connsiteX61" fmla="*/ 7572144 w 8636594"/>
              <a:gd name="connsiteY61" fmla="*/ 1159689 h 5757591"/>
              <a:gd name="connsiteX62" fmla="*/ 7601877 w 8636594"/>
              <a:gd name="connsiteY62" fmla="*/ 1119210 h 5757591"/>
              <a:gd name="connsiteX63" fmla="*/ 7631779 w 8636594"/>
              <a:gd name="connsiteY63" fmla="*/ 1078937 h 5757591"/>
              <a:gd name="connsiteX64" fmla="*/ 7661855 w 8636594"/>
              <a:gd name="connsiteY64" fmla="*/ 1038876 h 5757591"/>
              <a:gd name="connsiteX65" fmla="*/ 7692111 w 8636594"/>
              <a:gd name="connsiteY65" fmla="*/ 999035 h 5757591"/>
              <a:gd name="connsiteX66" fmla="*/ 7722554 w 8636594"/>
              <a:gd name="connsiteY66" fmla="*/ 959419 h 5757591"/>
              <a:gd name="connsiteX67" fmla="*/ 7753190 w 8636594"/>
              <a:gd name="connsiteY67" fmla="*/ 920037 h 5757591"/>
              <a:gd name="connsiteX68" fmla="*/ 7784023 w 8636594"/>
              <a:gd name="connsiteY68" fmla="*/ 880894 h 5757591"/>
              <a:gd name="connsiteX69" fmla="*/ 7815061 w 8636594"/>
              <a:gd name="connsiteY69" fmla="*/ 841997 h 5757591"/>
              <a:gd name="connsiteX70" fmla="*/ 7846308 w 8636594"/>
              <a:gd name="connsiteY70" fmla="*/ 803354 h 5757591"/>
              <a:gd name="connsiteX71" fmla="*/ 7877772 w 8636594"/>
              <a:gd name="connsiteY71" fmla="*/ 764970 h 5757591"/>
              <a:gd name="connsiteX72" fmla="*/ 7909458 w 8636594"/>
              <a:gd name="connsiteY72" fmla="*/ 726853 h 5757591"/>
              <a:gd name="connsiteX73" fmla="*/ 7941371 w 8636594"/>
              <a:gd name="connsiteY73" fmla="*/ 689010 h 5757591"/>
              <a:gd name="connsiteX74" fmla="*/ 7973518 w 8636594"/>
              <a:gd name="connsiteY74" fmla="*/ 651447 h 5757591"/>
              <a:gd name="connsiteX75" fmla="*/ 8005905 w 8636594"/>
              <a:gd name="connsiteY75" fmla="*/ 614171 h 5757591"/>
              <a:gd name="connsiteX76" fmla="*/ 8038538 w 8636594"/>
              <a:gd name="connsiteY76" fmla="*/ 577189 h 5757591"/>
              <a:gd name="connsiteX77" fmla="*/ 8071421 w 8636594"/>
              <a:gd name="connsiteY77" fmla="*/ 540507 h 5757591"/>
              <a:gd name="connsiteX78" fmla="*/ 8104563 w 8636594"/>
              <a:gd name="connsiteY78" fmla="*/ 504132 h 5757591"/>
              <a:gd name="connsiteX79" fmla="*/ 8137967 w 8636594"/>
              <a:gd name="connsiteY79" fmla="*/ 468072 h 5757591"/>
              <a:gd name="connsiteX80" fmla="*/ 8171641 w 8636594"/>
              <a:gd name="connsiteY80" fmla="*/ 432332 h 5757591"/>
              <a:gd name="connsiteX81" fmla="*/ 8205590 w 8636594"/>
              <a:gd name="connsiteY81" fmla="*/ 396920 h 5757591"/>
              <a:gd name="connsiteX82" fmla="*/ 8239820 w 8636594"/>
              <a:gd name="connsiteY82" fmla="*/ 361843 h 5757591"/>
              <a:gd name="connsiteX83" fmla="*/ 8274337 w 8636594"/>
              <a:gd name="connsiteY83" fmla="*/ 327107 h 5757591"/>
              <a:gd name="connsiteX84" fmla="*/ 8309147 w 8636594"/>
              <a:gd name="connsiteY84" fmla="*/ 292718 h 5757591"/>
              <a:gd name="connsiteX85" fmla="*/ 8344256 w 8636594"/>
              <a:gd name="connsiteY85" fmla="*/ 258685 h 5757591"/>
              <a:gd name="connsiteX86" fmla="*/ 8379669 w 8636594"/>
              <a:gd name="connsiteY86" fmla="*/ 225013 h 5757591"/>
              <a:gd name="connsiteX87" fmla="*/ 8415394 w 8636594"/>
              <a:gd name="connsiteY87" fmla="*/ 191709 h 5757591"/>
              <a:gd name="connsiteX88" fmla="*/ 8451434 w 8636594"/>
              <a:gd name="connsiteY88" fmla="*/ 158780 h 5757591"/>
              <a:gd name="connsiteX89" fmla="*/ 8487798 w 8636594"/>
              <a:gd name="connsiteY89" fmla="*/ 126233 h 5757591"/>
              <a:gd name="connsiteX90" fmla="*/ 8524489 w 8636594"/>
              <a:gd name="connsiteY90" fmla="*/ 94075 h 5757591"/>
              <a:gd name="connsiteX91" fmla="*/ 8561515 w 8636594"/>
              <a:gd name="connsiteY91" fmla="*/ 62312 h 5757591"/>
              <a:gd name="connsiteX92" fmla="*/ 8598881 w 8636594"/>
              <a:gd name="connsiteY92" fmla="*/ 30951 h 5757591"/>
              <a:gd name="connsiteX93" fmla="*/ 8636594 w 8636594"/>
              <a:gd name="connsiteY93" fmla="*/ 0 h 5757591"/>
              <a:gd name="connsiteX0" fmla="*/ 8636594 w 8636594"/>
              <a:gd name="connsiteY0" fmla="*/ 0 h 5730912"/>
              <a:gd name="connsiteX1" fmla="*/ 5293 w 8636594"/>
              <a:gd name="connsiteY1" fmla="*/ 0 h 5730912"/>
              <a:gd name="connsiteX2" fmla="*/ 0 w 8636594"/>
              <a:gd name="connsiteY2" fmla="*/ 5587843 h 5730912"/>
              <a:gd name="connsiteX3" fmla="*/ 4254129 w 8636594"/>
              <a:gd name="connsiteY3" fmla="*/ 5730912 h 5730912"/>
              <a:gd name="connsiteX4" fmla="*/ 4289081 w 8636594"/>
              <a:gd name="connsiteY4" fmla="*/ 5703955 h 5730912"/>
              <a:gd name="connsiteX5" fmla="*/ 4323654 w 8636594"/>
              <a:gd name="connsiteY5" fmla="*/ 5676722 h 5730912"/>
              <a:gd name="connsiteX6" fmla="*/ 4357854 w 8636594"/>
              <a:gd name="connsiteY6" fmla="*/ 5649218 h 5730912"/>
              <a:gd name="connsiteX7" fmla="*/ 4391688 w 8636594"/>
              <a:gd name="connsiteY7" fmla="*/ 5621446 h 5730912"/>
              <a:gd name="connsiteX8" fmla="*/ 4425162 w 8636594"/>
              <a:gd name="connsiteY8" fmla="*/ 5593409 h 5730912"/>
              <a:gd name="connsiteX9" fmla="*/ 4458281 w 8636594"/>
              <a:gd name="connsiteY9" fmla="*/ 5565111 h 5730912"/>
              <a:gd name="connsiteX10" fmla="*/ 4491053 w 8636594"/>
              <a:gd name="connsiteY10" fmla="*/ 5536556 h 5730912"/>
              <a:gd name="connsiteX11" fmla="*/ 4523484 w 8636594"/>
              <a:gd name="connsiteY11" fmla="*/ 5507747 h 5730912"/>
              <a:gd name="connsiteX12" fmla="*/ 4555580 w 8636594"/>
              <a:gd name="connsiteY12" fmla="*/ 5478687 h 5730912"/>
              <a:gd name="connsiteX13" fmla="*/ 4587347 w 8636594"/>
              <a:gd name="connsiteY13" fmla="*/ 5449380 h 5730912"/>
              <a:gd name="connsiteX14" fmla="*/ 4618793 w 8636594"/>
              <a:gd name="connsiteY14" fmla="*/ 5419830 h 5730912"/>
              <a:gd name="connsiteX15" fmla="*/ 4649922 w 8636594"/>
              <a:gd name="connsiteY15" fmla="*/ 5390040 h 5730912"/>
              <a:gd name="connsiteX16" fmla="*/ 4680742 w 8636594"/>
              <a:gd name="connsiteY16" fmla="*/ 5360014 h 5730912"/>
              <a:gd name="connsiteX17" fmla="*/ 4711259 w 8636594"/>
              <a:gd name="connsiteY17" fmla="*/ 5329755 h 5730912"/>
              <a:gd name="connsiteX18" fmla="*/ 4741478 w 8636594"/>
              <a:gd name="connsiteY18" fmla="*/ 5299266 h 5730912"/>
              <a:gd name="connsiteX19" fmla="*/ 4771408 w 8636594"/>
              <a:gd name="connsiteY19" fmla="*/ 5268551 h 5730912"/>
              <a:gd name="connsiteX20" fmla="*/ 4801053 w 8636594"/>
              <a:gd name="connsiteY20" fmla="*/ 5237614 h 5730912"/>
              <a:gd name="connsiteX21" fmla="*/ 4830420 w 8636594"/>
              <a:gd name="connsiteY21" fmla="*/ 5206458 h 5730912"/>
              <a:gd name="connsiteX22" fmla="*/ 4859516 w 8636594"/>
              <a:gd name="connsiteY22" fmla="*/ 5175087 h 5730912"/>
              <a:gd name="connsiteX23" fmla="*/ 4888347 w 8636594"/>
              <a:gd name="connsiteY23" fmla="*/ 5143504 h 5730912"/>
              <a:gd name="connsiteX24" fmla="*/ 4916919 w 8636594"/>
              <a:gd name="connsiteY24" fmla="*/ 5111713 h 5730912"/>
              <a:gd name="connsiteX25" fmla="*/ 4945238 w 8636594"/>
              <a:gd name="connsiteY25" fmla="*/ 5079717 h 5730912"/>
              <a:gd name="connsiteX26" fmla="*/ 4973311 w 8636594"/>
              <a:gd name="connsiteY26" fmla="*/ 5047519 h 5730912"/>
              <a:gd name="connsiteX27" fmla="*/ 5001145 w 8636594"/>
              <a:gd name="connsiteY27" fmla="*/ 5015124 h 5730912"/>
              <a:gd name="connsiteX28" fmla="*/ 5028745 w 8636594"/>
              <a:gd name="connsiteY28" fmla="*/ 4982535 h 5730912"/>
              <a:gd name="connsiteX29" fmla="*/ 5056117 w 8636594"/>
              <a:gd name="connsiteY29" fmla="*/ 4949755 h 5730912"/>
              <a:gd name="connsiteX30" fmla="*/ 5083269 w 8636594"/>
              <a:gd name="connsiteY30" fmla="*/ 4916787 h 5730912"/>
              <a:gd name="connsiteX31" fmla="*/ 5110207 w 8636594"/>
              <a:gd name="connsiteY31" fmla="*/ 4883636 h 5730912"/>
              <a:gd name="connsiteX32" fmla="*/ 5136937 w 8636594"/>
              <a:gd name="connsiteY32" fmla="*/ 4850305 h 5730912"/>
              <a:gd name="connsiteX33" fmla="*/ 5163464 w 8636594"/>
              <a:gd name="connsiteY33" fmla="*/ 4816797 h 5730912"/>
              <a:gd name="connsiteX34" fmla="*/ 5215940 w 8636594"/>
              <a:gd name="connsiteY34" fmla="*/ 4749265 h 5730912"/>
              <a:gd name="connsiteX35" fmla="*/ 5267684 w 8636594"/>
              <a:gd name="connsiteY35" fmla="*/ 4681068 h 5730912"/>
              <a:gd name="connsiteX36" fmla="*/ 5318748 w 8636594"/>
              <a:gd name="connsiteY36" fmla="*/ 4612234 h 5730912"/>
              <a:gd name="connsiteX37" fmla="*/ 5369182 w 8636594"/>
              <a:gd name="connsiteY37" fmla="*/ 4542793 h 5730912"/>
              <a:gd name="connsiteX38" fmla="*/ 5419038 w 8636594"/>
              <a:gd name="connsiteY38" fmla="*/ 4472771 h 5730912"/>
              <a:gd name="connsiteX39" fmla="*/ 5468365 w 8636594"/>
              <a:gd name="connsiteY39" fmla="*/ 4402196 h 5730912"/>
              <a:gd name="connsiteX40" fmla="*/ 5517215 w 8636594"/>
              <a:gd name="connsiteY40" fmla="*/ 4331098 h 5730912"/>
              <a:gd name="connsiteX41" fmla="*/ 5565637 w 8636594"/>
              <a:gd name="connsiteY41" fmla="*/ 4259503 h 5730912"/>
              <a:gd name="connsiteX42" fmla="*/ 5613684 w 8636594"/>
              <a:gd name="connsiteY42" fmla="*/ 4187441 h 5730912"/>
              <a:gd name="connsiteX43" fmla="*/ 5685160 w 8636594"/>
              <a:gd name="connsiteY43" fmla="*/ 4078531 h 5730912"/>
              <a:gd name="connsiteX44" fmla="*/ 5756074 w 8636594"/>
              <a:gd name="connsiteY44" fmla="*/ 3968727 h 5730912"/>
              <a:gd name="connsiteX45" fmla="*/ 5873483 w 8636594"/>
              <a:gd name="connsiteY45" fmla="*/ 3783989 h 5730912"/>
              <a:gd name="connsiteX46" fmla="*/ 6203209 w 8636594"/>
              <a:gd name="connsiteY46" fmla="*/ 3258640 h 5730912"/>
              <a:gd name="connsiteX47" fmla="*/ 6299430 w 8636594"/>
              <a:gd name="connsiteY47" fmla="*/ 3107321 h 5730912"/>
              <a:gd name="connsiteX48" fmla="*/ 6372650 w 8636594"/>
              <a:gd name="connsiteY48" fmla="*/ 2993735 h 5730912"/>
              <a:gd name="connsiteX49" fmla="*/ 6453197 w 8636594"/>
              <a:gd name="connsiteY49" fmla="*/ 2869788 h 5730912"/>
              <a:gd name="connsiteX50" fmla="*/ 6564167 w 8636594"/>
              <a:gd name="connsiteY50" fmla="*/ 2696807 h 5730912"/>
              <a:gd name="connsiteX51" fmla="*/ 6976233 w 8636594"/>
              <a:gd name="connsiteY51" fmla="*/ 2045274 h 5730912"/>
              <a:gd name="connsiteX52" fmla="*/ 7086755 w 8636594"/>
              <a:gd name="connsiteY52" fmla="*/ 1872743 h 5730912"/>
              <a:gd name="connsiteX53" fmla="*/ 7170279 w 8636594"/>
              <a:gd name="connsiteY53" fmla="*/ 1744202 h 5730912"/>
              <a:gd name="connsiteX54" fmla="*/ 7226351 w 8636594"/>
              <a:gd name="connsiteY54" fmla="*/ 1659017 h 5730912"/>
              <a:gd name="connsiteX55" fmla="*/ 7282789 w 8636594"/>
              <a:gd name="connsiteY55" fmla="*/ 1574303 h 5730912"/>
              <a:gd name="connsiteX56" fmla="*/ 7339643 w 8636594"/>
              <a:gd name="connsiteY56" fmla="*/ 1490113 h 5730912"/>
              <a:gd name="connsiteX57" fmla="*/ 7396957 w 8636594"/>
              <a:gd name="connsiteY57" fmla="*/ 1406503 h 5730912"/>
              <a:gd name="connsiteX58" fmla="*/ 7454781 w 8636594"/>
              <a:gd name="connsiteY58" fmla="*/ 1323526 h 5730912"/>
              <a:gd name="connsiteX59" fmla="*/ 7513161 w 8636594"/>
              <a:gd name="connsiteY59" fmla="*/ 1241237 h 5730912"/>
              <a:gd name="connsiteX60" fmla="*/ 7572144 w 8636594"/>
              <a:gd name="connsiteY60" fmla="*/ 1159689 h 5730912"/>
              <a:gd name="connsiteX61" fmla="*/ 7601877 w 8636594"/>
              <a:gd name="connsiteY61" fmla="*/ 1119210 h 5730912"/>
              <a:gd name="connsiteX62" fmla="*/ 7631779 w 8636594"/>
              <a:gd name="connsiteY62" fmla="*/ 1078937 h 5730912"/>
              <a:gd name="connsiteX63" fmla="*/ 7661855 w 8636594"/>
              <a:gd name="connsiteY63" fmla="*/ 1038876 h 5730912"/>
              <a:gd name="connsiteX64" fmla="*/ 7692111 w 8636594"/>
              <a:gd name="connsiteY64" fmla="*/ 999035 h 5730912"/>
              <a:gd name="connsiteX65" fmla="*/ 7722554 w 8636594"/>
              <a:gd name="connsiteY65" fmla="*/ 959419 h 5730912"/>
              <a:gd name="connsiteX66" fmla="*/ 7753190 w 8636594"/>
              <a:gd name="connsiteY66" fmla="*/ 920037 h 5730912"/>
              <a:gd name="connsiteX67" fmla="*/ 7784023 w 8636594"/>
              <a:gd name="connsiteY67" fmla="*/ 880894 h 5730912"/>
              <a:gd name="connsiteX68" fmla="*/ 7815061 w 8636594"/>
              <a:gd name="connsiteY68" fmla="*/ 841997 h 5730912"/>
              <a:gd name="connsiteX69" fmla="*/ 7846308 w 8636594"/>
              <a:gd name="connsiteY69" fmla="*/ 803354 h 5730912"/>
              <a:gd name="connsiteX70" fmla="*/ 7877772 w 8636594"/>
              <a:gd name="connsiteY70" fmla="*/ 764970 h 5730912"/>
              <a:gd name="connsiteX71" fmla="*/ 7909458 w 8636594"/>
              <a:gd name="connsiteY71" fmla="*/ 726853 h 5730912"/>
              <a:gd name="connsiteX72" fmla="*/ 7941371 w 8636594"/>
              <a:gd name="connsiteY72" fmla="*/ 689010 h 5730912"/>
              <a:gd name="connsiteX73" fmla="*/ 7973518 w 8636594"/>
              <a:gd name="connsiteY73" fmla="*/ 651447 h 5730912"/>
              <a:gd name="connsiteX74" fmla="*/ 8005905 w 8636594"/>
              <a:gd name="connsiteY74" fmla="*/ 614171 h 5730912"/>
              <a:gd name="connsiteX75" fmla="*/ 8038538 w 8636594"/>
              <a:gd name="connsiteY75" fmla="*/ 577189 h 5730912"/>
              <a:gd name="connsiteX76" fmla="*/ 8071421 w 8636594"/>
              <a:gd name="connsiteY76" fmla="*/ 540507 h 5730912"/>
              <a:gd name="connsiteX77" fmla="*/ 8104563 w 8636594"/>
              <a:gd name="connsiteY77" fmla="*/ 504132 h 5730912"/>
              <a:gd name="connsiteX78" fmla="*/ 8137967 w 8636594"/>
              <a:gd name="connsiteY78" fmla="*/ 468072 h 5730912"/>
              <a:gd name="connsiteX79" fmla="*/ 8171641 w 8636594"/>
              <a:gd name="connsiteY79" fmla="*/ 432332 h 5730912"/>
              <a:gd name="connsiteX80" fmla="*/ 8205590 w 8636594"/>
              <a:gd name="connsiteY80" fmla="*/ 396920 h 5730912"/>
              <a:gd name="connsiteX81" fmla="*/ 8239820 w 8636594"/>
              <a:gd name="connsiteY81" fmla="*/ 361843 h 5730912"/>
              <a:gd name="connsiteX82" fmla="*/ 8274337 w 8636594"/>
              <a:gd name="connsiteY82" fmla="*/ 327107 h 5730912"/>
              <a:gd name="connsiteX83" fmla="*/ 8309147 w 8636594"/>
              <a:gd name="connsiteY83" fmla="*/ 292718 h 5730912"/>
              <a:gd name="connsiteX84" fmla="*/ 8344256 w 8636594"/>
              <a:gd name="connsiteY84" fmla="*/ 258685 h 5730912"/>
              <a:gd name="connsiteX85" fmla="*/ 8379669 w 8636594"/>
              <a:gd name="connsiteY85" fmla="*/ 225013 h 5730912"/>
              <a:gd name="connsiteX86" fmla="*/ 8415394 w 8636594"/>
              <a:gd name="connsiteY86" fmla="*/ 191709 h 5730912"/>
              <a:gd name="connsiteX87" fmla="*/ 8451434 w 8636594"/>
              <a:gd name="connsiteY87" fmla="*/ 158780 h 5730912"/>
              <a:gd name="connsiteX88" fmla="*/ 8487798 w 8636594"/>
              <a:gd name="connsiteY88" fmla="*/ 126233 h 5730912"/>
              <a:gd name="connsiteX89" fmla="*/ 8524489 w 8636594"/>
              <a:gd name="connsiteY89" fmla="*/ 94075 h 5730912"/>
              <a:gd name="connsiteX90" fmla="*/ 8561515 w 8636594"/>
              <a:gd name="connsiteY90" fmla="*/ 62312 h 5730912"/>
              <a:gd name="connsiteX91" fmla="*/ 8598881 w 8636594"/>
              <a:gd name="connsiteY91" fmla="*/ 30951 h 5730912"/>
              <a:gd name="connsiteX92" fmla="*/ 8636594 w 8636594"/>
              <a:gd name="connsiteY92" fmla="*/ 0 h 5730912"/>
              <a:gd name="connsiteX0" fmla="*/ 8636594 w 8636594"/>
              <a:gd name="connsiteY0" fmla="*/ 0 h 5703955"/>
              <a:gd name="connsiteX1" fmla="*/ 5293 w 8636594"/>
              <a:gd name="connsiteY1" fmla="*/ 0 h 5703955"/>
              <a:gd name="connsiteX2" fmla="*/ 0 w 8636594"/>
              <a:gd name="connsiteY2" fmla="*/ 5587843 h 5703955"/>
              <a:gd name="connsiteX3" fmla="*/ 4289081 w 8636594"/>
              <a:gd name="connsiteY3" fmla="*/ 5703955 h 5703955"/>
              <a:gd name="connsiteX4" fmla="*/ 4323654 w 8636594"/>
              <a:gd name="connsiteY4" fmla="*/ 5676722 h 5703955"/>
              <a:gd name="connsiteX5" fmla="*/ 4357854 w 8636594"/>
              <a:gd name="connsiteY5" fmla="*/ 5649218 h 5703955"/>
              <a:gd name="connsiteX6" fmla="*/ 4391688 w 8636594"/>
              <a:gd name="connsiteY6" fmla="*/ 5621446 h 5703955"/>
              <a:gd name="connsiteX7" fmla="*/ 4425162 w 8636594"/>
              <a:gd name="connsiteY7" fmla="*/ 5593409 h 5703955"/>
              <a:gd name="connsiteX8" fmla="*/ 4458281 w 8636594"/>
              <a:gd name="connsiteY8" fmla="*/ 5565111 h 5703955"/>
              <a:gd name="connsiteX9" fmla="*/ 4491053 w 8636594"/>
              <a:gd name="connsiteY9" fmla="*/ 5536556 h 5703955"/>
              <a:gd name="connsiteX10" fmla="*/ 4523484 w 8636594"/>
              <a:gd name="connsiteY10" fmla="*/ 5507747 h 5703955"/>
              <a:gd name="connsiteX11" fmla="*/ 4555580 w 8636594"/>
              <a:gd name="connsiteY11" fmla="*/ 5478687 h 5703955"/>
              <a:gd name="connsiteX12" fmla="*/ 4587347 w 8636594"/>
              <a:gd name="connsiteY12" fmla="*/ 5449380 h 5703955"/>
              <a:gd name="connsiteX13" fmla="*/ 4618793 w 8636594"/>
              <a:gd name="connsiteY13" fmla="*/ 5419830 h 5703955"/>
              <a:gd name="connsiteX14" fmla="*/ 4649922 w 8636594"/>
              <a:gd name="connsiteY14" fmla="*/ 5390040 h 5703955"/>
              <a:gd name="connsiteX15" fmla="*/ 4680742 w 8636594"/>
              <a:gd name="connsiteY15" fmla="*/ 5360014 h 5703955"/>
              <a:gd name="connsiteX16" fmla="*/ 4711259 w 8636594"/>
              <a:gd name="connsiteY16" fmla="*/ 5329755 h 5703955"/>
              <a:gd name="connsiteX17" fmla="*/ 4741478 w 8636594"/>
              <a:gd name="connsiteY17" fmla="*/ 5299266 h 5703955"/>
              <a:gd name="connsiteX18" fmla="*/ 4771408 w 8636594"/>
              <a:gd name="connsiteY18" fmla="*/ 5268551 h 5703955"/>
              <a:gd name="connsiteX19" fmla="*/ 4801053 w 8636594"/>
              <a:gd name="connsiteY19" fmla="*/ 5237614 h 5703955"/>
              <a:gd name="connsiteX20" fmla="*/ 4830420 w 8636594"/>
              <a:gd name="connsiteY20" fmla="*/ 5206458 h 5703955"/>
              <a:gd name="connsiteX21" fmla="*/ 4859516 w 8636594"/>
              <a:gd name="connsiteY21" fmla="*/ 5175087 h 5703955"/>
              <a:gd name="connsiteX22" fmla="*/ 4888347 w 8636594"/>
              <a:gd name="connsiteY22" fmla="*/ 5143504 h 5703955"/>
              <a:gd name="connsiteX23" fmla="*/ 4916919 w 8636594"/>
              <a:gd name="connsiteY23" fmla="*/ 5111713 h 5703955"/>
              <a:gd name="connsiteX24" fmla="*/ 4945238 w 8636594"/>
              <a:gd name="connsiteY24" fmla="*/ 5079717 h 5703955"/>
              <a:gd name="connsiteX25" fmla="*/ 4973311 w 8636594"/>
              <a:gd name="connsiteY25" fmla="*/ 5047519 h 5703955"/>
              <a:gd name="connsiteX26" fmla="*/ 5001145 w 8636594"/>
              <a:gd name="connsiteY26" fmla="*/ 5015124 h 5703955"/>
              <a:gd name="connsiteX27" fmla="*/ 5028745 w 8636594"/>
              <a:gd name="connsiteY27" fmla="*/ 4982535 h 5703955"/>
              <a:gd name="connsiteX28" fmla="*/ 5056117 w 8636594"/>
              <a:gd name="connsiteY28" fmla="*/ 4949755 h 5703955"/>
              <a:gd name="connsiteX29" fmla="*/ 5083269 w 8636594"/>
              <a:gd name="connsiteY29" fmla="*/ 4916787 h 5703955"/>
              <a:gd name="connsiteX30" fmla="*/ 5110207 w 8636594"/>
              <a:gd name="connsiteY30" fmla="*/ 4883636 h 5703955"/>
              <a:gd name="connsiteX31" fmla="*/ 5136937 w 8636594"/>
              <a:gd name="connsiteY31" fmla="*/ 4850305 h 5703955"/>
              <a:gd name="connsiteX32" fmla="*/ 5163464 w 8636594"/>
              <a:gd name="connsiteY32" fmla="*/ 4816797 h 5703955"/>
              <a:gd name="connsiteX33" fmla="*/ 5215940 w 8636594"/>
              <a:gd name="connsiteY33" fmla="*/ 4749265 h 5703955"/>
              <a:gd name="connsiteX34" fmla="*/ 5267684 w 8636594"/>
              <a:gd name="connsiteY34" fmla="*/ 4681068 h 5703955"/>
              <a:gd name="connsiteX35" fmla="*/ 5318748 w 8636594"/>
              <a:gd name="connsiteY35" fmla="*/ 4612234 h 5703955"/>
              <a:gd name="connsiteX36" fmla="*/ 5369182 w 8636594"/>
              <a:gd name="connsiteY36" fmla="*/ 4542793 h 5703955"/>
              <a:gd name="connsiteX37" fmla="*/ 5419038 w 8636594"/>
              <a:gd name="connsiteY37" fmla="*/ 4472771 h 5703955"/>
              <a:gd name="connsiteX38" fmla="*/ 5468365 w 8636594"/>
              <a:gd name="connsiteY38" fmla="*/ 4402196 h 5703955"/>
              <a:gd name="connsiteX39" fmla="*/ 5517215 w 8636594"/>
              <a:gd name="connsiteY39" fmla="*/ 4331098 h 5703955"/>
              <a:gd name="connsiteX40" fmla="*/ 5565637 w 8636594"/>
              <a:gd name="connsiteY40" fmla="*/ 4259503 h 5703955"/>
              <a:gd name="connsiteX41" fmla="*/ 5613684 w 8636594"/>
              <a:gd name="connsiteY41" fmla="*/ 4187441 h 5703955"/>
              <a:gd name="connsiteX42" fmla="*/ 5685160 w 8636594"/>
              <a:gd name="connsiteY42" fmla="*/ 4078531 h 5703955"/>
              <a:gd name="connsiteX43" fmla="*/ 5756074 w 8636594"/>
              <a:gd name="connsiteY43" fmla="*/ 3968727 h 5703955"/>
              <a:gd name="connsiteX44" fmla="*/ 5873483 w 8636594"/>
              <a:gd name="connsiteY44" fmla="*/ 3783989 h 5703955"/>
              <a:gd name="connsiteX45" fmla="*/ 6203209 w 8636594"/>
              <a:gd name="connsiteY45" fmla="*/ 3258640 h 5703955"/>
              <a:gd name="connsiteX46" fmla="*/ 6299430 w 8636594"/>
              <a:gd name="connsiteY46" fmla="*/ 3107321 h 5703955"/>
              <a:gd name="connsiteX47" fmla="*/ 6372650 w 8636594"/>
              <a:gd name="connsiteY47" fmla="*/ 2993735 h 5703955"/>
              <a:gd name="connsiteX48" fmla="*/ 6453197 w 8636594"/>
              <a:gd name="connsiteY48" fmla="*/ 2869788 h 5703955"/>
              <a:gd name="connsiteX49" fmla="*/ 6564167 w 8636594"/>
              <a:gd name="connsiteY49" fmla="*/ 2696807 h 5703955"/>
              <a:gd name="connsiteX50" fmla="*/ 6976233 w 8636594"/>
              <a:gd name="connsiteY50" fmla="*/ 2045274 h 5703955"/>
              <a:gd name="connsiteX51" fmla="*/ 7086755 w 8636594"/>
              <a:gd name="connsiteY51" fmla="*/ 1872743 h 5703955"/>
              <a:gd name="connsiteX52" fmla="*/ 7170279 w 8636594"/>
              <a:gd name="connsiteY52" fmla="*/ 1744202 h 5703955"/>
              <a:gd name="connsiteX53" fmla="*/ 7226351 w 8636594"/>
              <a:gd name="connsiteY53" fmla="*/ 1659017 h 5703955"/>
              <a:gd name="connsiteX54" fmla="*/ 7282789 w 8636594"/>
              <a:gd name="connsiteY54" fmla="*/ 1574303 h 5703955"/>
              <a:gd name="connsiteX55" fmla="*/ 7339643 w 8636594"/>
              <a:gd name="connsiteY55" fmla="*/ 1490113 h 5703955"/>
              <a:gd name="connsiteX56" fmla="*/ 7396957 w 8636594"/>
              <a:gd name="connsiteY56" fmla="*/ 1406503 h 5703955"/>
              <a:gd name="connsiteX57" fmla="*/ 7454781 w 8636594"/>
              <a:gd name="connsiteY57" fmla="*/ 1323526 h 5703955"/>
              <a:gd name="connsiteX58" fmla="*/ 7513161 w 8636594"/>
              <a:gd name="connsiteY58" fmla="*/ 1241237 h 5703955"/>
              <a:gd name="connsiteX59" fmla="*/ 7572144 w 8636594"/>
              <a:gd name="connsiteY59" fmla="*/ 1159689 h 5703955"/>
              <a:gd name="connsiteX60" fmla="*/ 7601877 w 8636594"/>
              <a:gd name="connsiteY60" fmla="*/ 1119210 h 5703955"/>
              <a:gd name="connsiteX61" fmla="*/ 7631779 w 8636594"/>
              <a:gd name="connsiteY61" fmla="*/ 1078937 h 5703955"/>
              <a:gd name="connsiteX62" fmla="*/ 7661855 w 8636594"/>
              <a:gd name="connsiteY62" fmla="*/ 1038876 h 5703955"/>
              <a:gd name="connsiteX63" fmla="*/ 7692111 w 8636594"/>
              <a:gd name="connsiteY63" fmla="*/ 999035 h 5703955"/>
              <a:gd name="connsiteX64" fmla="*/ 7722554 w 8636594"/>
              <a:gd name="connsiteY64" fmla="*/ 959419 h 5703955"/>
              <a:gd name="connsiteX65" fmla="*/ 7753190 w 8636594"/>
              <a:gd name="connsiteY65" fmla="*/ 920037 h 5703955"/>
              <a:gd name="connsiteX66" fmla="*/ 7784023 w 8636594"/>
              <a:gd name="connsiteY66" fmla="*/ 880894 h 5703955"/>
              <a:gd name="connsiteX67" fmla="*/ 7815061 w 8636594"/>
              <a:gd name="connsiteY67" fmla="*/ 841997 h 5703955"/>
              <a:gd name="connsiteX68" fmla="*/ 7846308 w 8636594"/>
              <a:gd name="connsiteY68" fmla="*/ 803354 h 5703955"/>
              <a:gd name="connsiteX69" fmla="*/ 7877772 w 8636594"/>
              <a:gd name="connsiteY69" fmla="*/ 764970 h 5703955"/>
              <a:gd name="connsiteX70" fmla="*/ 7909458 w 8636594"/>
              <a:gd name="connsiteY70" fmla="*/ 726853 h 5703955"/>
              <a:gd name="connsiteX71" fmla="*/ 7941371 w 8636594"/>
              <a:gd name="connsiteY71" fmla="*/ 689010 h 5703955"/>
              <a:gd name="connsiteX72" fmla="*/ 7973518 w 8636594"/>
              <a:gd name="connsiteY72" fmla="*/ 651447 h 5703955"/>
              <a:gd name="connsiteX73" fmla="*/ 8005905 w 8636594"/>
              <a:gd name="connsiteY73" fmla="*/ 614171 h 5703955"/>
              <a:gd name="connsiteX74" fmla="*/ 8038538 w 8636594"/>
              <a:gd name="connsiteY74" fmla="*/ 577189 h 5703955"/>
              <a:gd name="connsiteX75" fmla="*/ 8071421 w 8636594"/>
              <a:gd name="connsiteY75" fmla="*/ 540507 h 5703955"/>
              <a:gd name="connsiteX76" fmla="*/ 8104563 w 8636594"/>
              <a:gd name="connsiteY76" fmla="*/ 504132 h 5703955"/>
              <a:gd name="connsiteX77" fmla="*/ 8137967 w 8636594"/>
              <a:gd name="connsiteY77" fmla="*/ 468072 h 5703955"/>
              <a:gd name="connsiteX78" fmla="*/ 8171641 w 8636594"/>
              <a:gd name="connsiteY78" fmla="*/ 432332 h 5703955"/>
              <a:gd name="connsiteX79" fmla="*/ 8205590 w 8636594"/>
              <a:gd name="connsiteY79" fmla="*/ 396920 h 5703955"/>
              <a:gd name="connsiteX80" fmla="*/ 8239820 w 8636594"/>
              <a:gd name="connsiteY80" fmla="*/ 361843 h 5703955"/>
              <a:gd name="connsiteX81" fmla="*/ 8274337 w 8636594"/>
              <a:gd name="connsiteY81" fmla="*/ 327107 h 5703955"/>
              <a:gd name="connsiteX82" fmla="*/ 8309147 w 8636594"/>
              <a:gd name="connsiteY82" fmla="*/ 292718 h 5703955"/>
              <a:gd name="connsiteX83" fmla="*/ 8344256 w 8636594"/>
              <a:gd name="connsiteY83" fmla="*/ 258685 h 5703955"/>
              <a:gd name="connsiteX84" fmla="*/ 8379669 w 8636594"/>
              <a:gd name="connsiteY84" fmla="*/ 225013 h 5703955"/>
              <a:gd name="connsiteX85" fmla="*/ 8415394 w 8636594"/>
              <a:gd name="connsiteY85" fmla="*/ 191709 h 5703955"/>
              <a:gd name="connsiteX86" fmla="*/ 8451434 w 8636594"/>
              <a:gd name="connsiteY86" fmla="*/ 158780 h 5703955"/>
              <a:gd name="connsiteX87" fmla="*/ 8487798 w 8636594"/>
              <a:gd name="connsiteY87" fmla="*/ 126233 h 5703955"/>
              <a:gd name="connsiteX88" fmla="*/ 8524489 w 8636594"/>
              <a:gd name="connsiteY88" fmla="*/ 94075 h 5703955"/>
              <a:gd name="connsiteX89" fmla="*/ 8561515 w 8636594"/>
              <a:gd name="connsiteY89" fmla="*/ 62312 h 5703955"/>
              <a:gd name="connsiteX90" fmla="*/ 8598881 w 8636594"/>
              <a:gd name="connsiteY90" fmla="*/ 30951 h 5703955"/>
              <a:gd name="connsiteX91" fmla="*/ 8636594 w 8636594"/>
              <a:gd name="connsiteY91" fmla="*/ 0 h 5703955"/>
              <a:gd name="connsiteX0" fmla="*/ 8636594 w 8636594"/>
              <a:gd name="connsiteY0" fmla="*/ 0 h 5676722"/>
              <a:gd name="connsiteX1" fmla="*/ 5293 w 8636594"/>
              <a:gd name="connsiteY1" fmla="*/ 0 h 5676722"/>
              <a:gd name="connsiteX2" fmla="*/ 0 w 8636594"/>
              <a:gd name="connsiteY2" fmla="*/ 5587843 h 5676722"/>
              <a:gd name="connsiteX3" fmla="*/ 4323654 w 8636594"/>
              <a:gd name="connsiteY3" fmla="*/ 5676722 h 5676722"/>
              <a:gd name="connsiteX4" fmla="*/ 4357854 w 8636594"/>
              <a:gd name="connsiteY4" fmla="*/ 5649218 h 5676722"/>
              <a:gd name="connsiteX5" fmla="*/ 4391688 w 8636594"/>
              <a:gd name="connsiteY5" fmla="*/ 5621446 h 5676722"/>
              <a:gd name="connsiteX6" fmla="*/ 4425162 w 8636594"/>
              <a:gd name="connsiteY6" fmla="*/ 5593409 h 5676722"/>
              <a:gd name="connsiteX7" fmla="*/ 4458281 w 8636594"/>
              <a:gd name="connsiteY7" fmla="*/ 5565111 h 5676722"/>
              <a:gd name="connsiteX8" fmla="*/ 4491053 w 8636594"/>
              <a:gd name="connsiteY8" fmla="*/ 5536556 h 5676722"/>
              <a:gd name="connsiteX9" fmla="*/ 4523484 w 8636594"/>
              <a:gd name="connsiteY9" fmla="*/ 5507747 h 5676722"/>
              <a:gd name="connsiteX10" fmla="*/ 4555580 w 8636594"/>
              <a:gd name="connsiteY10" fmla="*/ 5478687 h 5676722"/>
              <a:gd name="connsiteX11" fmla="*/ 4587347 w 8636594"/>
              <a:gd name="connsiteY11" fmla="*/ 5449380 h 5676722"/>
              <a:gd name="connsiteX12" fmla="*/ 4618793 w 8636594"/>
              <a:gd name="connsiteY12" fmla="*/ 5419830 h 5676722"/>
              <a:gd name="connsiteX13" fmla="*/ 4649922 w 8636594"/>
              <a:gd name="connsiteY13" fmla="*/ 5390040 h 5676722"/>
              <a:gd name="connsiteX14" fmla="*/ 4680742 w 8636594"/>
              <a:gd name="connsiteY14" fmla="*/ 5360014 h 5676722"/>
              <a:gd name="connsiteX15" fmla="*/ 4711259 w 8636594"/>
              <a:gd name="connsiteY15" fmla="*/ 5329755 h 5676722"/>
              <a:gd name="connsiteX16" fmla="*/ 4741478 w 8636594"/>
              <a:gd name="connsiteY16" fmla="*/ 5299266 h 5676722"/>
              <a:gd name="connsiteX17" fmla="*/ 4771408 w 8636594"/>
              <a:gd name="connsiteY17" fmla="*/ 5268551 h 5676722"/>
              <a:gd name="connsiteX18" fmla="*/ 4801053 w 8636594"/>
              <a:gd name="connsiteY18" fmla="*/ 5237614 h 5676722"/>
              <a:gd name="connsiteX19" fmla="*/ 4830420 w 8636594"/>
              <a:gd name="connsiteY19" fmla="*/ 5206458 h 5676722"/>
              <a:gd name="connsiteX20" fmla="*/ 4859516 w 8636594"/>
              <a:gd name="connsiteY20" fmla="*/ 5175087 h 5676722"/>
              <a:gd name="connsiteX21" fmla="*/ 4888347 w 8636594"/>
              <a:gd name="connsiteY21" fmla="*/ 5143504 h 5676722"/>
              <a:gd name="connsiteX22" fmla="*/ 4916919 w 8636594"/>
              <a:gd name="connsiteY22" fmla="*/ 5111713 h 5676722"/>
              <a:gd name="connsiteX23" fmla="*/ 4945238 w 8636594"/>
              <a:gd name="connsiteY23" fmla="*/ 5079717 h 5676722"/>
              <a:gd name="connsiteX24" fmla="*/ 4973311 w 8636594"/>
              <a:gd name="connsiteY24" fmla="*/ 5047519 h 5676722"/>
              <a:gd name="connsiteX25" fmla="*/ 5001145 w 8636594"/>
              <a:gd name="connsiteY25" fmla="*/ 5015124 h 5676722"/>
              <a:gd name="connsiteX26" fmla="*/ 5028745 w 8636594"/>
              <a:gd name="connsiteY26" fmla="*/ 4982535 h 5676722"/>
              <a:gd name="connsiteX27" fmla="*/ 5056117 w 8636594"/>
              <a:gd name="connsiteY27" fmla="*/ 4949755 h 5676722"/>
              <a:gd name="connsiteX28" fmla="*/ 5083269 w 8636594"/>
              <a:gd name="connsiteY28" fmla="*/ 4916787 h 5676722"/>
              <a:gd name="connsiteX29" fmla="*/ 5110207 w 8636594"/>
              <a:gd name="connsiteY29" fmla="*/ 4883636 h 5676722"/>
              <a:gd name="connsiteX30" fmla="*/ 5136937 w 8636594"/>
              <a:gd name="connsiteY30" fmla="*/ 4850305 h 5676722"/>
              <a:gd name="connsiteX31" fmla="*/ 5163464 w 8636594"/>
              <a:gd name="connsiteY31" fmla="*/ 4816797 h 5676722"/>
              <a:gd name="connsiteX32" fmla="*/ 5215940 w 8636594"/>
              <a:gd name="connsiteY32" fmla="*/ 4749265 h 5676722"/>
              <a:gd name="connsiteX33" fmla="*/ 5267684 w 8636594"/>
              <a:gd name="connsiteY33" fmla="*/ 4681068 h 5676722"/>
              <a:gd name="connsiteX34" fmla="*/ 5318748 w 8636594"/>
              <a:gd name="connsiteY34" fmla="*/ 4612234 h 5676722"/>
              <a:gd name="connsiteX35" fmla="*/ 5369182 w 8636594"/>
              <a:gd name="connsiteY35" fmla="*/ 4542793 h 5676722"/>
              <a:gd name="connsiteX36" fmla="*/ 5419038 w 8636594"/>
              <a:gd name="connsiteY36" fmla="*/ 4472771 h 5676722"/>
              <a:gd name="connsiteX37" fmla="*/ 5468365 w 8636594"/>
              <a:gd name="connsiteY37" fmla="*/ 4402196 h 5676722"/>
              <a:gd name="connsiteX38" fmla="*/ 5517215 w 8636594"/>
              <a:gd name="connsiteY38" fmla="*/ 4331098 h 5676722"/>
              <a:gd name="connsiteX39" fmla="*/ 5565637 w 8636594"/>
              <a:gd name="connsiteY39" fmla="*/ 4259503 h 5676722"/>
              <a:gd name="connsiteX40" fmla="*/ 5613684 w 8636594"/>
              <a:gd name="connsiteY40" fmla="*/ 4187441 h 5676722"/>
              <a:gd name="connsiteX41" fmla="*/ 5685160 w 8636594"/>
              <a:gd name="connsiteY41" fmla="*/ 4078531 h 5676722"/>
              <a:gd name="connsiteX42" fmla="*/ 5756074 w 8636594"/>
              <a:gd name="connsiteY42" fmla="*/ 3968727 h 5676722"/>
              <a:gd name="connsiteX43" fmla="*/ 5873483 w 8636594"/>
              <a:gd name="connsiteY43" fmla="*/ 3783989 h 5676722"/>
              <a:gd name="connsiteX44" fmla="*/ 6203209 w 8636594"/>
              <a:gd name="connsiteY44" fmla="*/ 3258640 h 5676722"/>
              <a:gd name="connsiteX45" fmla="*/ 6299430 w 8636594"/>
              <a:gd name="connsiteY45" fmla="*/ 3107321 h 5676722"/>
              <a:gd name="connsiteX46" fmla="*/ 6372650 w 8636594"/>
              <a:gd name="connsiteY46" fmla="*/ 2993735 h 5676722"/>
              <a:gd name="connsiteX47" fmla="*/ 6453197 w 8636594"/>
              <a:gd name="connsiteY47" fmla="*/ 2869788 h 5676722"/>
              <a:gd name="connsiteX48" fmla="*/ 6564167 w 8636594"/>
              <a:gd name="connsiteY48" fmla="*/ 2696807 h 5676722"/>
              <a:gd name="connsiteX49" fmla="*/ 6976233 w 8636594"/>
              <a:gd name="connsiteY49" fmla="*/ 2045274 h 5676722"/>
              <a:gd name="connsiteX50" fmla="*/ 7086755 w 8636594"/>
              <a:gd name="connsiteY50" fmla="*/ 1872743 h 5676722"/>
              <a:gd name="connsiteX51" fmla="*/ 7170279 w 8636594"/>
              <a:gd name="connsiteY51" fmla="*/ 1744202 h 5676722"/>
              <a:gd name="connsiteX52" fmla="*/ 7226351 w 8636594"/>
              <a:gd name="connsiteY52" fmla="*/ 1659017 h 5676722"/>
              <a:gd name="connsiteX53" fmla="*/ 7282789 w 8636594"/>
              <a:gd name="connsiteY53" fmla="*/ 1574303 h 5676722"/>
              <a:gd name="connsiteX54" fmla="*/ 7339643 w 8636594"/>
              <a:gd name="connsiteY54" fmla="*/ 1490113 h 5676722"/>
              <a:gd name="connsiteX55" fmla="*/ 7396957 w 8636594"/>
              <a:gd name="connsiteY55" fmla="*/ 1406503 h 5676722"/>
              <a:gd name="connsiteX56" fmla="*/ 7454781 w 8636594"/>
              <a:gd name="connsiteY56" fmla="*/ 1323526 h 5676722"/>
              <a:gd name="connsiteX57" fmla="*/ 7513161 w 8636594"/>
              <a:gd name="connsiteY57" fmla="*/ 1241237 h 5676722"/>
              <a:gd name="connsiteX58" fmla="*/ 7572144 w 8636594"/>
              <a:gd name="connsiteY58" fmla="*/ 1159689 h 5676722"/>
              <a:gd name="connsiteX59" fmla="*/ 7601877 w 8636594"/>
              <a:gd name="connsiteY59" fmla="*/ 1119210 h 5676722"/>
              <a:gd name="connsiteX60" fmla="*/ 7631779 w 8636594"/>
              <a:gd name="connsiteY60" fmla="*/ 1078937 h 5676722"/>
              <a:gd name="connsiteX61" fmla="*/ 7661855 w 8636594"/>
              <a:gd name="connsiteY61" fmla="*/ 1038876 h 5676722"/>
              <a:gd name="connsiteX62" fmla="*/ 7692111 w 8636594"/>
              <a:gd name="connsiteY62" fmla="*/ 999035 h 5676722"/>
              <a:gd name="connsiteX63" fmla="*/ 7722554 w 8636594"/>
              <a:gd name="connsiteY63" fmla="*/ 959419 h 5676722"/>
              <a:gd name="connsiteX64" fmla="*/ 7753190 w 8636594"/>
              <a:gd name="connsiteY64" fmla="*/ 920037 h 5676722"/>
              <a:gd name="connsiteX65" fmla="*/ 7784023 w 8636594"/>
              <a:gd name="connsiteY65" fmla="*/ 880894 h 5676722"/>
              <a:gd name="connsiteX66" fmla="*/ 7815061 w 8636594"/>
              <a:gd name="connsiteY66" fmla="*/ 841997 h 5676722"/>
              <a:gd name="connsiteX67" fmla="*/ 7846308 w 8636594"/>
              <a:gd name="connsiteY67" fmla="*/ 803354 h 5676722"/>
              <a:gd name="connsiteX68" fmla="*/ 7877772 w 8636594"/>
              <a:gd name="connsiteY68" fmla="*/ 764970 h 5676722"/>
              <a:gd name="connsiteX69" fmla="*/ 7909458 w 8636594"/>
              <a:gd name="connsiteY69" fmla="*/ 726853 h 5676722"/>
              <a:gd name="connsiteX70" fmla="*/ 7941371 w 8636594"/>
              <a:gd name="connsiteY70" fmla="*/ 689010 h 5676722"/>
              <a:gd name="connsiteX71" fmla="*/ 7973518 w 8636594"/>
              <a:gd name="connsiteY71" fmla="*/ 651447 h 5676722"/>
              <a:gd name="connsiteX72" fmla="*/ 8005905 w 8636594"/>
              <a:gd name="connsiteY72" fmla="*/ 614171 h 5676722"/>
              <a:gd name="connsiteX73" fmla="*/ 8038538 w 8636594"/>
              <a:gd name="connsiteY73" fmla="*/ 577189 h 5676722"/>
              <a:gd name="connsiteX74" fmla="*/ 8071421 w 8636594"/>
              <a:gd name="connsiteY74" fmla="*/ 540507 h 5676722"/>
              <a:gd name="connsiteX75" fmla="*/ 8104563 w 8636594"/>
              <a:gd name="connsiteY75" fmla="*/ 504132 h 5676722"/>
              <a:gd name="connsiteX76" fmla="*/ 8137967 w 8636594"/>
              <a:gd name="connsiteY76" fmla="*/ 468072 h 5676722"/>
              <a:gd name="connsiteX77" fmla="*/ 8171641 w 8636594"/>
              <a:gd name="connsiteY77" fmla="*/ 432332 h 5676722"/>
              <a:gd name="connsiteX78" fmla="*/ 8205590 w 8636594"/>
              <a:gd name="connsiteY78" fmla="*/ 396920 h 5676722"/>
              <a:gd name="connsiteX79" fmla="*/ 8239820 w 8636594"/>
              <a:gd name="connsiteY79" fmla="*/ 361843 h 5676722"/>
              <a:gd name="connsiteX80" fmla="*/ 8274337 w 8636594"/>
              <a:gd name="connsiteY80" fmla="*/ 327107 h 5676722"/>
              <a:gd name="connsiteX81" fmla="*/ 8309147 w 8636594"/>
              <a:gd name="connsiteY81" fmla="*/ 292718 h 5676722"/>
              <a:gd name="connsiteX82" fmla="*/ 8344256 w 8636594"/>
              <a:gd name="connsiteY82" fmla="*/ 258685 h 5676722"/>
              <a:gd name="connsiteX83" fmla="*/ 8379669 w 8636594"/>
              <a:gd name="connsiteY83" fmla="*/ 225013 h 5676722"/>
              <a:gd name="connsiteX84" fmla="*/ 8415394 w 8636594"/>
              <a:gd name="connsiteY84" fmla="*/ 191709 h 5676722"/>
              <a:gd name="connsiteX85" fmla="*/ 8451434 w 8636594"/>
              <a:gd name="connsiteY85" fmla="*/ 158780 h 5676722"/>
              <a:gd name="connsiteX86" fmla="*/ 8487798 w 8636594"/>
              <a:gd name="connsiteY86" fmla="*/ 126233 h 5676722"/>
              <a:gd name="connsiteX87" fmla="*/ 8524489 w 8636594"/>
              <a:gd name="connsiteY87" fmla="*/ 94075 h 5676722"/>
              <a:gd name="connsiteX88" fmla="*/ 8561515 w 8636594"/>
              <a:gd name="connsiteY88" fmla="*/ 62312 h 5676722"/>
              <a:gd name="connsiteX89" fmla="*/ 8598881 w 8636594"/>
              <a:gd name="connsiteY89" fmla="*/ 30951 h 5676722"/>
              <a:gd name="connsiteX90" fmla="*/ 8636594 w 8636594"/>
              <a:gd name="connsiteY90" fmla="*/ 0 h 5676722"/>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391688 w 8636594"/>
              <a:gd name="connsiteY4" fmla="*/ 5621446 h 5649218"/>
              <a:gd name="connsiteX5" fmla="*/ 4425162 w 8636594"/>
              <a:gd name="connsiteY5" fmla="*/ 5593409 h 5649218"/>
              <a:gd name="connsiteX6" fmla="*/ 4458281 w 8636594"/>
              <a:gd name="connsiteY6" fmla="*/ 5565111 h 5649218"/>
              <a:gd name="connsiteX7" fmla="*/ 4491053 w 8636594"/>
              <a:gd name="connsiteY7" fmla="*/ 5536556 h 5649218"/>
              <a:gd name="connsiteX8" fmla="*/ 4523484 w 8636594"/>
              <a:gd name="connsiteY8" fmla="*/ 5507747 h 5649218"/>
              <a:gd name="connsiteX9" fmla="*/ 4555580 w 8636594"/>
              <a:gd name="connsiteY9" fmla="*/ 5478687 h 5649218"/>
              <a:gd name="connsiteX10" fmla="*/ 4587347 w 8636594"/>
              <a:gd name="connsiteY10" fmla="*/ 5449380 h 5649218"/>
              <a:gd name="connsiteX11" fmla="*/ 4618793 w 8636594"/>
              <a:gd name="connsiteY11" fmla="*/ 5419830 h 5649218"/>
              <a:gd name="connsiteX12" fmla="*/ 4649922 w 8636594"/>
              <a:gd name="connsiteY12" fmla="*/ 5390040 h 5649218"/>
              <a:gd name="connsiteX13" fmla="*/ 4680742 w 8636594"/>
              <a:gd name="connsiteY13" fmla="*/ 5360014 h 5649218"/>
              <a:gd name="connsiteX14" fmla="*/ 4711259 w 8636594"/>
              <a:gd name="connsiteY14" fmla="*/ 5329755 h 5649218"/>
              <a:gd name="connsiteX15" fmla="*/ 4741478 w 8636594"/>
              <a:gd name="connsiteY15" fmla="*/ 5299266 h 5649218"/>
              <a:gd name="connsiteX16" fmla="*/ 4771408 w 8636594"/>
              <a:gd name="connsiteY16" fmla="*/ 5268551 h 5649218"/>
              <a:gd name="connsiteX17" fmla="*/ 4801053 w 8636594"/>
              <a:gd name="connsiteY17" fmla="*/ 5237614 h 5649218"/>
              <a:gd name="connsiteX18" fmla="*/ 4830420 w 8636594"/>
              <a:gd name="connsiteY18" fmla="*/ 5206458 h 5649218"/>
              <a:gd name="connsiteX19" fmla="*/ 4859516 w 8636594"/>
              <a:gd name="connsiteY19" fmla="*/ 5175087 h 5649218"/>
              <a:gd name="connsiteX20" fmla="*/ 4888347 w 8636594"/>
              <a:gd name="connsiteY20" fmla="*/ 5143504 h 5649218"/>
              <a:gd name="connsiteX21" fmla="*/ 4916919 w 8636594"/>
              <a:gd name="connsiteY21" fmla="*/ 5111713 h 5649218"/>
              <a:gd name="connsiteX22" fmla="*/ 4945238 w 8636594"/>
              <a:gd name="connsiteY22" fmla="*/ 5079717 h 5649218"/>
              <a:gd name="connsiteX23" fmla="*/ 4973311 w 8636594"/>
              <a:gd name="connsiteY23" fmla="*/ 5047519 h 5649218"/>
              <a:gd name="connsiteX24" fmla="*/ 5001145 w 8636594"/>
              <a:gd name="connsiteY24" fmla="*/ 5015124 h 5649218"/>
              <a:gd name="connsiteX25" fmla="*/ 5028745 w 8636594"/>
              <a:gd name="connsiteY25" fmla="*/ 4982535 h 5649218"/>
              <a:gd name="connsiteX26" fmla="*/ 5056117 w 8636594"/>
              <a:gd name="connsiteY26" fmla="*/ 4949755 h 5649218"/>
              <a:gd name="connsiteX27" fmla="*/ 5083269 w 8636594"/>
              <a:gd name="connsiteY27" fmla="*/ 4916787 h 5649218"/>
              <a:gd name="connsiteX28" fmla="*/ 5110207 w 8636594"/>
              <a:gd name="connsiteY28" fmla="*/ 4883636 h 5649218"/>
              <a:gd name="connsiteX29" fmla="*/ 5136937 w 8636594"/>
              <a:gd name="connsiteY29" fmla="*/ 4850305 h 5649218"/>
              <a:gd name="connsiteX30" fmla="*/ 5163464 w 8636594"/>
              <a:gd name="connsiteY30" fmla="*/ 4816797 h 5649218"/>
              <a:gd name="connsiteX31" fmla="*/ 5215940 w 8636594"/>
              <a:gd name="connsiteY31" fmla="*/ 4749265 h 5649218"/>
              <a:gd name="connsiteX32" fmla="*/ 5267684 w 8636594"/>
              <a:gd name="connsiteY32" fmla="*/ 4681068 h 5649218"/>
              <a:gd name="connsiteX33" fmla="*/ 5318748 w 8636594"/>
              <a:gd name="connsiteY33" fmla="*/ 4612234 h 5649218"/>
              <a:gd name="connsiteX34" fmla="*/ 5369182 w 8636594"/>
              <a:gd name="connsiteY34" fmla="*/ 4542793 h 5649218"/>
              <a:gd name="connsiteX35" fmla="*/ 5419038 w 8636594"/>
              <a:gd name="connsiteY35" fmla="*/ 4472771 h 5649218"/>
              <a:gd name="connsiteX36" fmla="*/ 5468365 w 8636594"/>
              <a:gd name="connsiteY36" fmla="*/ 4402196 h 5649218"/>
              <a:gd name="connsiteX37" fmla="*/ 5517215 w 8636594"/>
              <a:gd name="connsiteY37" fmla="*/ 4331098 h 5649218"/>
              <a:gd name="connsiteX38" fmla="*/ 5565637 w 8636594"/>
              <a:gd name="connsiteY38" fmla="*/ 4259503 h 5649218"/>
              <a:gd name="connsiteX39" fmla="*/ 5613684 w 8636594"/>
              <a:gd name="connsiteY39" fmla="*/ 4187441 h 5649218"/>
              <a:gd name="connsiteX40" fmla="*/ 5685160 w 8636594"/>
              <a:gd name="connsiteY40" fmla="*/ 4078531 h 5649218"/>
              <a:gd name="connsiteX41" fmla="*/ 5756074 w 8636594"/>
              <a:gd name="connsiteY41" fmla="*/ 3968727 h 5649218"/>
              <a:gd name="connsiteX42" fmla="*/ 5873483 w 8636594"/>
              <a:gd name="connsiteY42" fmla="*/ 3783989 h 5649218"/>
              <a:gd name="connsiteX43" fmla="*/ 6203209 w 8636594"/>
              <a:gd name="connsiteY43" fmla="*/ 3258640 h 5649218"/>
              <a:gd name="connsiteX44" fmla="*/ 6299430 w 8636594"/>
              <a:gd name="connsiteY44" fmla="*/ 3107321 h 5649218"/>
              <a:gd name="connsiteX45" fmla="*/ 6372650 w 8636594"/>
              <a:gd name="connsiteY45" fmla="*/ 2993735 h 5649218"/>
              <a:gd name="connsiteX46" fmla="*/ 6453197 w 8636594"/>
              <a:gd name="connsiteY46" fmla="*/ 2869788 h 5649218"/>
              <a:gd name="connsiteX47" fmla="*/ 6564167 w 8636594"/>
              <a:gd name="connsiteY47" fmla="*/ 2696807 h 5649218"/>
              <a:gd name="connsiteX48" fmla="*/ 6976233 w 8636594"/>
              <a:gd name="connsiteY48" fmla="*/ 2045274 h 5649218"/>
              <a:gd name="connsiteX49" fmla="*/ 7086755 w 8636594"/>
              <a:gd name="connsiteY49" fmla="*/ 1872743 h 5649218"/>
              <a:gd name="connsiteX50" fmla="*/ 7170279 w 8636594"/>
              <a:gd name="connsiteY50" fmla="*/ 1744202 h 5649218"/>
              <a:gd name="connsiteX51" fmla="*/ 7226351 w 8636594"/>
              <a:gd name="connsiteY51" fmla="*/ 1659017 h 5649218"/>
              <a:gd name="connsiteX52" fmla="*/ 7282789 w 8636594"/>
              <a:gd name="connsiteY52" fmla="*/ 1574303 h 5649218"/>
              <a:gd name="connsiteX53" fmla="*/ 7339643 w 8636594"/>
              <a:gd name="connsiteY53" fmla="*/ 1490113 h 5649218"/>
              <a:gd name="connsiteX54" fmla="*/ 7396957 w 8636594"/>
              <a:gd name="connsiteY54" fmla="*/ 1406503 h 5649218"/>
              <a:gd name="connsiteX55" fmla="*/ 7454781 w 8636594"/>
              <a:gd name="connsiteY55" fmla="*/ 1323526 h 5649218"/>
              <a:gd name="connsiteX56" fmla="*/ 7513161 w 8636594"/>
              <a:gd name="connsiteY56" fmla="*/ 1241237 h 5649218"/>
              <a:gd name="connsiteX57" fmla="*/ 7572144 w 8636594"/>
              <a:gd name="connsiteY57" fmla="*/ 1159689 h 5649218"/>
              <a:gd name="connsiteX58" fmla="*/ 7601877 w 8636594"/>
              <a:gd name="connsiteY58" fmla="*/ 1119210 h 5649218"/>
              <a:gd name="connsiteX59" fmla="*/ 7631779 w 8636594"/>
              <a:gd name="connsiteY59" fmla="*/ 1078937 h 5649218"/>
              <a:gd name="connsiteX60" fmla="*/ 7661855 w 8636594"/>
              <a:gd name="connsiteY60" fmla="*/ 1038876 h 5649218"/>
              <a:gd name="connsiteX61" fmla="*/ 7692111 w 8636594"/>
              <a:gd name="connsiteY61" fmla="*/ 999035 h 5649218"/>
              <a:gd name="connsiteX62" fmla="*/ 7722554 w 8636594"/>
              <a:gd name="connsiteY62" fmla="*/ 959419 h 5649218"/>
              <a:gd name="connsiteX63" fmla="*/ 7753190 w 8636594"/>
              <a:gd name="connsiteY63" fmla="*/ 920037 h 5649218"/>
              <a:gd name="connsiteX64" fmla="*/ 7784023 w 8636594"/>
              <a:gd name="connsiteY64" fmla="*/ 880894 h 5649218"/>
              <a:gd name="connsiteX65" fmla="*/ 7815061 w 8636594"/>
              <a:gd name="connsiteY65" fmla="*/ 841997 h 5649218"/>
              <a:gd name="connsiteX66" fmla="*/ 7846308 w 8636594"/>
              <a:gd name="connsiteY66" fmla="*/ 803354 h 5649218"/>
              <a:gd name="connsiteX67" fmla="*/ 7877772 w 8636594"/>
              <a:gd name="connsiteY67" fmla="*/ 764970 h 5649218"/>
              <a:gd name="connsiteX68" fmla="*/ 7909458 w 8636594"/>
              <a:gd name="connsiteY68" fmla="*/ 726853 h 5649218"/>
              <a:gd name="connsiteX69" fmla="*/ 7941371 w 8636594"/>
              <a:gd name="connsiteY69" fmla="*/ 689010 h 5649218"/>
              <a:gd name="connsiteX70" fmla="*/ 7973518 w 8636594"/>
              <a:gd name="connsiteY70" fmla="*/ 651447 h 5649218"/>
              <a:gd name="connsiteX71" fmla="*/ 8005905 w 8636594"/>
              <a:gd name="connsiteY71" fmla="*/ 614171 h 5649218"/>
              <a:gd name="connsiteX72" fmla="*/ 8038538 w 8636594"/>
              <a:gd name="connsiteY72" fmla="*/ 577189 h 5649218"/>
              <a:gd name="connsiteX73" fmla="*/ 8071421 w 8636594"/>
              <a:gd name="connsiteY73" fmla="*/ 540507 h 5649218"/>
              <a:gd name="connsiteX74" fmla="*/ 8104563 w 8636594"/>
              <a:gd name="connsiteY74" fmla="*/ 504132 h 5649218"/>
              <a:gd name="connsiteX75" fmla="*/ 8137967 w 8636594"/>
              <a:gd name="connsiteY75" fmla="*/ 468072 h 5649218"/>
              <a:gd name="connsiteX76" fmla="*/ 8171641 w 8636594"/>
              <a:gd name="connsiteY76" fmla="*/ 432332 h 5649218"/>
              <a:gd name="connsiteX77" fmla="*/ 8205590 w 8636594"/>
              <a:gd name="connsiteY77" fmla="*/ 396920 h 5649218"/>
              <a:gd name="connsiteX78" fmla="*/ 8239820 w 8636594"/>
              <a:gd name="connsiteY78" fmla="*/ 361843 h 5649218"/>
              <a:gd name="connsiteX79" fmla="*/ 8274337 w 8636594"/>
              <a:gd name="connsiteY79" fmla="*/ 327107 h 5649218"/>
              <a:gd name="connsiteX80" fmla="*/ 8309147 w 8636594"/>
              <a:gd name="connsiteY80" fmla="*/ 292718 h 5649218"/>
              <a:gd name="connsiteX81" fmla="*/ 8344256 w 8636594"/>
              <a:gd name="connsiteY81" fmla="*/ 258685 h 5649218"/>
              <a:gd name="connsiteX82" fmla="*/ 8379669 w 8636594"/>
              <a:gd name="connsiteY82" fmla="*/ 225013 h 5649218"/>
              <a:gd name="connsiteX83" fmla="*/ 8415394 w 8636594"/>
              <a:gd name="connsiteY83" fmla="*/ 191709 h 5649218"/>
              <a:gd name="connsiteX84" fmla="*/ 8451434 w 8636594"/>
              <a:gd name="connsiteY84" fmla="*/ 158780 h 5649218"/>
              <a:gd name="connsiteX85" fmla="*/ 8487798 w 8636594"/>
              <a:gd name="connsiteY85" fmla="*/ 126233 h 5649218"/>
              <a:gd name="connsiteX86" fmla="*/ 8524489 w 8636594"/>
              <a:gd name="connsiteY86" fmla="*/ 94075 h 5649218"/>
              <a:gd name="connsiteX87" fmla="*/ 8561515 w 8636594"/>
              <a:gd name="connsiteY87" fmla="*/ 62312 h 5649218"/>
              <a:gd name="connsiteX88" fmla="*/ 8598881 w 8636594"/>
              <a:gd name="connsiteY88" fmla="*/ 30951 h 5649218"/>
              <a:gd name="connsiteX89" fmla="*/ 8636594 w 8636594"/>
              <a:gd name="connsiteY89" fmla="*/ 0 h 5649218"/>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425162 w 8636594"/>
              <a:gd name="connsiteY4" fmla="*/ 5593409 h 5649218"/>
              <a:gd name="connsiteX5" fmla="*/ 4458281 w 8636594"/>
              <a:gd name="connsiteY5" fmla="*/ 5565111 h 5649218"/>
              <a:gd name="connsiteX6" fmla="*/ 4491053 w 8636594"/>
              <a:gd name="connsiteY6" fmla="*/ 5536556 h 5649218"/>
              <a:gd name="connsiteX7" fmla="*/ 4523484 w 8636594"/>
              <a:gd name="connsiteY7" fmla="*/ 5507747 h 5649218"/>
              <a:gd name="connsiteX8" fmla="*/ 4555580 w 8636594"/>
              <a:gd name="connsiteY8" fmla="*/ 5478687 h 5649218"/>
              <a:gd name="connsiteX9" fmla="*/ 4587347 w 8636594"/>
              <a:gd name="connsiteY9" fmla="*/ 5449380 h 5649218"/>
              <a:gd name="connsiteX10" fmla="*/ 4618793 w 8636594"/>
              <a:gd name="connsiteY10" fmla="*/ 5419830 h 5649218"/>
              <a:gd name="connsiteX11" fmla="*/ 4649922 w 8636594"/>
              <a:gd name="connsiteY11" fmla="*/ 5390040 h 5649218"/>
              <a:gd name="connsiteX12" fmla="*/ 4680742 w 8636594"/>
              <a:gd name="connsiteY12" fmla="*/ 5360014 h 5649218"/>
              <a:gd name="connsiteX13" fmla="*/ 4711259 w 8636594"/>
              <a:gd name="connsiteY13" fmla="*/ 5329755 h 5649218"/>
              <a:gd name="connsiteX14" fmla="*/ 4741478 w 8636594"/>
              <a:gd name="connsiteY14" fmla="*/ 5299266 h 5649218"/>
              <a:gd name="connsiteX15" fmla="*/ 4771408 w 8636594"/>
              <a:gd name="connsiteY15" fmla="*/ 5268551 h 5649218"/>
              <a:gd name="connsiteX16" fmla="*/ 4801053 w 8636594"/>
              <a:gd name="connsiteY16" fmla="*/ 5237614 h 5649218"/>
              <a:gd name="connsiteX17" fmla="*/ 4830420 w 8636594"/>
              <a:gd name="connsiteY17" fmla="*/ 5206458 h 5649218"/>
              <a:gd name="connsiteX18" fmla="*/ 4859516 w 8636594"/>
              <a:gd name="connsiteY18" fmla="*/ 5175087 h 5649218"/>
              <a:gd name="connsiteX19" fmla="*/ 4888347 w 8636594"/>
              <a:gd name="connsiteY19" fmla="*/ 5143504 h 5649218"/>
              <a:gd name="connsiteX20" fmla="*/ 4916919 w 8636594"/>
              <a:gd name="connsiteY20" fmla="*/ 5111713 h 5649218"/>
              <a:gd name="connsiteX21" fmla="*/ 4945238 w 8636594"/>
              <a:gd name="connsiteY21" fmla="*/ 5079717 h 5649218"/>
              <a:gd name="connsiteX22" fmla="*/ 4973311 w 8636594"/>
              <a:gd name="connsiteY22" fmla="*/ 5047519 h 5649218"/>
              <a:gd name="connsiteX23" fmla="*/ 5001145 w 8636594"/>
              <a:gd name="connsiteY23" fmla="*/ 5015124 h 5649218"/>
              <a:gd name="connsiteX24" fmla="*/ 5028745 w 8636594"/>
              <a:gd name="connsiteY24" fmla="*/ 4982535 h 5649218"/>
              <a:gd name="connsiteX25" fmla="*/ 5056117 w 8636594"/>
              <a:gd name="connsiteY25" fmla="*/ 4949755 h 5649218"/>
              <a:gd name="connsiteX26" fmla="*/ 5083269 w 8636594"/>
              <a:gd name="connsiteY26" fmla="*/ 4916787 h 5649218"/>
              <a:gd name="connsiteX27" fmla="*/ 5110207 w 8636594"/>
              <a:gd name="connsiteY27" fmla="*/ 4883636 h 5649218"/>
              <a:gd name="connsiteX28" fmla="*/ 5136937 w 8636594"/>
              <a:gd name="connsiteY28" fmla="*/ 4850305 h 5649218"/>
              <a:gd name="connsiteX29" fmla="*/ 5163464 w 8636594"/>
              <a:gd name="connsiteY29" fmla="*/ 4816797 h 5649218"/>
              <a:gd name="connsiteX30" fmla="*/ 5215940 w 8636594"/>
              <a:gd name="connsiteY30" fmla="*/ 4749265 h 5649218"/>
              <a:gd name="connsiteX31" fmla="*/ 5267684 w 8636594"/>
              <a:gd name="connsiteY31" fmla="*/ 4681068 h 5649218"/>
              <a:gd name="connsiteX32" fmla="*/ 5318748 w 8636594"/>
              <a:gd name="connsiteY32" fmla="*/ 4612234 h 5649218"/>
              <a:gd name="connsiteX33" fmla="*/ 5369182 w 8636594"/>
              <a:gd name="connsiteY33" fmla="*/ 4542793 h 5649218"/>
              <a:gd name="connsiteX34" fmla="*/ 5419038 w 8636594"/>
              <a:gd name="connsiteY34" fmla="*/ 4472771 h 5649218"/>
              <a:gd name="connsiteX35" fmla="*/ 5468365 w 8636594"/>
              <a:gd name="connsiteY35" fmla="*/ 4402196 h 5649218"/>
              <a:gd name="connsiteX36" fmla="*/ 5517215 w 8636594"/>
              <a:gd name="connsiteY36" fmla="*/ 4331098 h 5649218"/>
              <a:gd name="connsiteX37" fmla="*/ 5565637 w 8636594"/>
              <a:gd name="connsiteY37" fmla="*/ 4259503 h 5649218"/>
              <a:gd name="connsiteX38" fmla="*/ 5613684 w 8636594"/>
              <a:gd name="connsiteY38" fmla="*/ 4187441 h 5649218"/>
              <a:gd name="connsiteX39" fmla="*/ 5685160 w 8636594"/>
              <a:gd name="connsiteY39" fmla="*/ 4078531 h 5649218"/>
              <a:gd name="connsiteX40" fmla="*/ 5756074 w 8636594"/>
              <a:gd name="connsiteY40" fmla="*/ 3968727 h 5649218"/>
              <a:gd name="connsiteX41" fmla="*/ 5873483 w 8636594"/>
              <a:gd name="connsiteY41" fmla="*/ 3783989 h 5649218"/>
              <a:gd name="connsiteX42" fmla="*/ 6203209 w 8636594"/>
              <a:gd name="connsiteY42" fmla="*/ 3258640 h 5649218"/>
              <a:gd name="connsiteX43" fmla="*/ 6299430 w 8636594"/>
              <a:gd name="connsiteY43" fmla="*/ 3107321 h 5649218"/>
              <a:gd name="connsiteX44" fmla="*/ 6372650 w 8636594"/>
              <a:gd name="connsiteY44" fmla="*/ 2993735 h 5649218"/>
              <a:gd name="connsiteX45" fmla="*/ 6453197 w 8636594"/>
              <a:gd name="connsiteY45" fmla="*/ 2869788 h 5649218"/>
              <a:gd name="connsiteX46" fmla="*/ 6564167 w 8636594"/>
              <a:gd name="connsiteY46" fmla="*/ 2696807 h 5649218"/>
              <a:gd name="connsiteX47" fmla="*/ 6976233 w 8636594"/>
              <a:gd name="connsiteY47" fmla="*/ 2045274 h 5649218"/>
              <a:gd name="connsiteX48" fmla="*/ 7086755 w 8636594"/>
              <a:gd name="connsiteY48" fmla="*/ 1872743 h 5649218"/>
              <a:gd name="connsiteX49" fmla="*/ 7170279 w 8636594"/>
              <a:gd name="connsiteY49" fmla="*/ 1744202 h 5649218"/>
              <a:gd name="connsiteX50" fmla="*/ 7226351 w 8636594"/>
              <a:gd name="connsiteY50" fmla="*/ 1659017 h 5649218"/>
              <a:gd name="connsiteX51" fmla="*/ 7282789 w 8636594"/>
              <a:gd name="connsiteY51" fmla="*/ 1574303 h 5649218"/>
              <a:gd name="connsiteX52" fmla="*/ 7339643 w 8636594"/>
              <a:gd name="connsiteY52" fmla="*/ 1490113 h 5649218"/>
              <a:gd name="connsiteX53" fmla="*/ 7396957 w 8636594"/>
              <a:gd name="connsiteY53" fmla="*/ 1406503 h 5649218"/>
              <a:gd name="connsiteX54" fmla="*/ 7454781 w 8636594"/>
              <a:gd name="connsiteY54" fmla="*/ 1323526 h 5649218"/>
              <a:gd name="connsiteX55" fmla="*/ 7513161 w 8636594"/>
              <a:gd name="connsiteY55" fmla="*/ 1241237 h 5649218"/>
              <a:gd name="connsiteX56" fmla="*/ 7572144 w 8636594"/>
              <a:gd name="connsiteY56" fmla="*/ 1159689 h 5649218"/>
              <a:gd name="connsiteX57" fmla="*/ 7601877 w 8636594"/>
              <a:gd name="connsiteY57" fmla="*/ 1119210 h 5649218"/>
              <a:gd name="connsiteX58" fmla="*/ 7631779 w 8636594"/>
              <a:gd name="connsiteY58" fmla="*/ 1078937 h 5649218"/>
              <a:gd name="connsiteX59" fmla="*/ 7661855 w 8636594"/>
              <a:gd name="connsiteY59" fmla="*/ 1038876 h 5649218"/>
              <a:gd name="connsiteX60" fmla="*/ 7692111 w 8636594"/>
              <a:gd name="connsiteY60" fmla="*/ 999035 h 5649218"/>
              <a:gd name="connsiteX61" fmla="*/ 7722554 w 8636594"/>
              <a:gd name="connsiteY61" fmla="*/ 959419 h 5649218"/>
              <a:gd name="connsiteX62" fmla="*/ 7753190 w 8636594"/>
              <a:gd name="connsiteY62" fmla="*/ 920037 h 5649218"/>
              <a:gd name="connsiteX63" fmla="*/ 7784023 w 8636594"/>
              <a:gd name="connsiteY63" fmla="*/ 880894 h 5649218"/>
              <a:gd name="connsiteX64" fmla="*/ 7815061 w 8636594"/>
              <a:gd name="connsiteY64" fmla="*/ 841997 h 5649218"/>
              <a:gd name="connsiteX65" fmla="*/ 7846308 w 8636594"/>
              <a:gd name="connsiteY65" fmla="*/ 803354 h 5649218"/>
              <a:gd name="connsiteX66" fmla="*/ 7877772 w 8636594"/>
              <a:gd name="connsiteY66" fmla="*/ 764970 h 5649218"/>
              <a:gd name="connsiteX67" fmla="*/ 7909458 w 8636594"/>
              <a:gd name="connsiteY67" fmla="*/ 726853 h 5649218"/>
              <a:gd name="connsiteX68" fmla="*/ 7941371 w 8636594"/>
              <a:gd name="connsiteY68" fmla="*/ 689010 h 5649218"/>
              <a:gd name="connsiteX69" fmla="*/ 7973518 w 8636594"/>
              <a:gd name="connsiteY69" fmla="*/ 651447 h 5649218"/>
              <a:gd name="connsiteX70" fmla="*/ 8005905 w 8636594"/>
              <a:gd name="connsiteY70" fmla="*/ 614171 h 5649218"/>
              <a:gd name="connsiteX71" fmla="*/ 8038538 w 8636594"/>
              <a:gd name="connsiteY71" fmla="*/ 577189 h 5649218"/>
              <a:gd name="connsiteX72" fmla="*/ 8071421 w 8636594"/>
              <a:gd name="connsiteY72" fmla="*/ 540507 h 5649218"/>
              <a:gd name="connsiteX73" fmla="*/ 8104563 w 8636594"/>
              <a:gd name="connsiteY73" fmla="*/ 504132 h 5649218"/>
              <a:gd name="connsiteX74" fmla="*/ 8137967 w 8636594"/>
              <a:gd name="connsiteY74" fmla="*/ 468072 h 5649218"/>
              <a:gd name="connsiteX75" fmla="*/ 8171641 w 8636594"/>
              <a:gd name="connsiteY75" fmla="*/ 432332 h 5649218"/>
              <a:gd name="connsiteX76" fmla="*/ 8205590 w 8636594"/>
              <a:gd name="connsiteY76" fmla="*/ 396920 h 5649218"/>
              <a:gd name="connsiteX77" fmla="*/ 8239820 w 8636594"/>
              <a:gd name="connsiteY77" fmla="*/ 361843 h 5649218"/>
              <a:gd name="connsiteX78" fmla="*/ 8274337 w 8636594"/>
              <a:gd name="connsiteY78" fmla="*/ 327107 h 5649218"/>
              <a:gd name="connsiteX79" fmla="*/ 8309147 w 8636594"/>
              <a:gd name="connsiteY79" fmla="*/ 292718 h 5649218"/>
              <a:gd name="connsiteX80" fmla="*/ 8344256 w 8636594"/>
              <a:gd name="connsiteY80" fmla="*/ 258685 h 5649218"/>
              <a:gd name="connsiteX81" fmla="*/ 8379669 w 8636594"/>
              <a:gd name="connsiteY81" fmla="*/ 225013 h 5649218"/>
              <a:gd name="connsiteX82" fmla="*/ 8415394 w 8636594"/>
              <a:gd name="connsiteY82" fmla="*/ 191709 h 5649218"/>
              <a:gd name="connsiteX83" fmla="*/ 8451434 w 8636594"/>
              <a:gd name="connsiteY83" fmla="*/ 158780 h 5649218"/>
              <a:gd name="connsiteX84" fmla="*/ 8487798 w 8636594"/>
              <a:gd name="connsiteY84" fmla="*/ 126233 h 5649218"/>
              <a:gd name="connsiteX85" fmla="*/ 8524489 w 8636594"/>
              <a:gd name="connsiteY85" fmla="*/ 94075 h 5649218"/>
              <a:gd name="connsiteX86" fmla="*/ 8561515 w 8636594"/>
              <a:gd name="connsiteY86" fmla="*/ 62312 h 5649218"/>
              <a:gd name="connsiteX87" fmla="*/ 8598881 w 8636594"/>
              <a:gd name="connsiteY87" fmla="*/ 30951 h 5649218"/>
              <a:gd name="connsiteX88" fmla="*/ 8636594 w 8636594"/>
              <a:gd name="connsiteY88" fmla="*/ 0 h 5649218"/>
              <a:gd name="connsiteX0" fmla="*/ 8636594 w 8636594"/>
              <a:gd name="connsiteY0" fmla="*/ 0 h 5593409"/>
              <a:gd name="connsiteX1" fmla="*/ 5293 w 8636594"/>
              <a:gd name="connsiteY1" fmla="*/ 0 h 5593409"/>
              <a:gd name="connsiteX2" fmla="*/ 0 w 8636594"/>
              <a:gd name="connsiteY2" fmla="*/ 5587843 h 5593409"/>
              <a:gd name="connsiteX3" fmla="*/ 4425162 w 8636594"/>
              <a:gd name="connsiteY3" fmla="*/ 5593409 h 5593409"/>
              <a:gd name="connsiteX4" fmla="*/ 4458281 w 8636594"/>
              <a:gd name="connsiteY4" fmla="*/ 5565111 h 5593409"/>
              <a:gd name="connsiteX5" fmla="*/ 4491053 w 8636594"/>
              <a:gd name="connsiteY5" fmla="*/ 5536556 h 5593409"/>
              <a:gd name="connsiteX6" fmla="*/ 4523484 w 8636594"/>
              <a:gd name="connsiteY6" fmla="*/ 5507747 h 5593409"/>
              <a:gd name="connsiteX7" fmla="*/ 4555580 w 8636594"/>
              <a:gd name="connsiteY7" fmla="*/ 5478687 h 5593409"/>
              <a:gd name="connsiteX8" fmla="*/ 4587347 w 8636594"/>
              <a:gd name="connsiteY8" fmla="*/ 5449380 h 5593409"/>
              <a:gd name="connsiteX9" fmla="*/ 4618793 w 8636594"/>
              <a:gd name="connsiteY9" fmla="*/ 5419830 h 5593409"/>
              <a:gd name="connsiteX10" fmla="*/ 4649922 w 8636594"/>
              <a:gd name="connsiteY10" fmla="*/ 5390040 h 5593409"/>
              <a:gd name="connsiteX11" fmla="*/ 4680742 w 8636594"/>
              <a:gd name="connsiteY11" fmla="*/ 5360014 h 5593409"/>
              <a:gd name="connsiteX12" fmla="*/ 4711259 w 8636594"/>
              <a:gd name="connsiteY12" fmla="*/ 5329755 h 5593409"/>
              <a:gd name="connsiteX13" fmla="*/ 4741478 w 8636594"/>
              <a:gd name="connsiteY13" fmla="*/ 5299266 h 5593409"/>
              <a:gd name="connsiteX14" fmla="*/ 4771408 w 8636594"/>
              <a:gd name="connsiteY14" fmla="*/ 5268551 h 5593409"/>
              <a:gd name="connsiteX15" fmla="*/ 4801053 w 8636594"/>
              <a:gd name="connsiteY15" fmla="*/ 5237614 h 5593409"/>
              <a:gd name="connsiteX16" fmla="*/ 4830420 w 8636594"/>
              <a:gd name="connsiteY16" fmla="*/ 5206458 h 5593409"/>
              <a:gd name="connsiteX17" fmla="*/ 4859516 w 8636594"/>
              <a:gd name="connsiteY17" fmla="*/ 5175087 h 5593409"/>
              <a:gd name="connsiteX18" fmla="*/ 4888347 w 8636594"/>
              <a:gd name="connsiteY18" fmla="*/ 5143504 h 5593409"/>
              <a:gd name="connsiteX19" fmla="*/ 4916919 w 8636594"/>
              <a:gd name="connsiteY19" fmla="*/ 5111713 h 5593409"/>
              <a:gd name="connsiteX20" fmla="*/ 4945238 w 8636594"/>
              <a:gd name="connsiteY20" fmla="*/ 5079717 h 5593409"/>
              <a:gd name="connsiteX21" fmla="*/ 4973311 w 8636594"/>
              <a:gd name="connsiteY21" fmla="*/ 5047519 h 5593409"/>
              <a:gd name="connsiteX22" fmla="*/ 5001145 w 8636594"/>
              <a:gd name="connsiteY22" fmla="*/ 5015124 h 5593409"/>
              <a:gd name="connsiteX23" fmla="*/ 5028745 w 8636594"/>
              <a:gd name="connsiteY23" fmla="*/ 4982535 h 5593409"/>
              <a:gd name="connsiteX24" fmla="*/ 5056117 w 8636594"/>
              <a:gd name="connsiteY24" fmla="*/ 4949755 h 5593409"/>
              <a:gd name="connsiteX25" fmla="*/ 5083269 w 8636594"/>
              <a:gd name="connsiteY25" fmla="*/ 4916787 h 5593409"/>
              <a:gd name="connsiteX26" fmla="*/ 5110207 w 8636594"/>
              <a:gd name="connsiteY26" fmla="*/ 4883636 h 5593409"/>
              <a:gd name="connsiteX27" fmla="*/ 5136937 w 8636594"/>
              <a:gd name="connsiteY27" fmla="*/ 4850305 h 5593409"/>
              <a:gd name="connsiteX28" fmla="*/ 5163464 w 8636594"/>
              <a:gd name="connsiteY28" fmla="*/ 4816797 h 5593409"/>
              <a:gd name="connsiteX29" fmla="*/ 5215940 w 8636594"/>
              <a:gd name="connsiteY29" fmla="*/ 4749265 h 5593409"/>
              <a:gd name="connsiteX30" fmla="*/ 5267684 w 8636594"/>
              <a:gd name="connsiteY30" fmla="*/ 4681068 h 5593409"/>
              <a:gd name="connsiteX31" fmla="*/ 5318748 w 8636594"/>
              <a:gd name="connsiteY31" fmla="*/ 4612234 h 5593409"/>
              <a:gd name="connsiteX32" fmla="*/ 5369182 w 8636594"/>
              <a:gd name="connsiteY32" fmla="*/ 4542793 h 5593409"/>
              <a:gd name="connsiteX33" fmla="*/ 5419038 w 8636594"/>
              <a:gd name="connsiteY33" fmla="*/ 4472771 h 5593409"/>
              <a:gd name="connsiteX34" fmla="*/ 5468365 w 8636594"/>
              <a:gd name="connsiteY34" fmla="*/ 4402196 h 5593409"/>
              <a:gd name="connsiteX35" fmla="*/ 5517215 w 8636594"/>
              <a:gd name="connsiteY35" fmla="*/ 4331098 h 5593409"/>
              <a:gd name="connsiteX36" fmla="*/ 5565637 w 8636594"/>
              <a:gd name="connsiteY36" fmla="*/ 4259503 h 5593409"/>
              <a:gd name="connsiteX37" fmla="*/ 5613684 w 8636594"/>
              <a:gd name="connsiteY37" fmla="*/ 4187441 h 5593409"/>
              <a:gd name="connsiteX38" fmla="*/ 5685160 w 8636594"/>
              <a:gd name="connsiteY38" fmla="*/ 4078531 h 5593409"/>
              <a:gd name="connsiteX39" fmla="*/ 5756074 w 8636594"/>
              <a:gd name="connsiteY39" fmla="*/ 3968727 h 5593409"/>
              <a:gd name="connsiteX40" fmla="*/ 5873483 w 8636594"/>
              <a:gd name="connsiteY40" fmla="*/ 3783989 h 5593409"/>
              <a:gd name="connsiteX41" fmla="*/ 6203209 w 8636594"/>
              <a:gd name="connsiteY41" fmla="*/ 3258640 h 5593409"/>
              <a:gd name="connsiteX42" fmla="*/ 6299430 w 8636594"/>
              <a:gd name="connsiteY42" fmla="*/ 3107321 h 5593409"/>
              <a:gd name="connsiteX43" fmla="*/ 6372650 w 8636594"/>
              <a:gd name="connsiteY43" fmla="*/ 2993735 h 5593409"/>
              <a:gd name="connsiteX44" fmla="*/ 6453197 w 8636594"/>
              <a:gd name="connsiteY44" fmla="*/ 2869788 h 5593409"/>
              <a:gd name="connsiteX45" fmla="*/ 6564167 w 8636594"/>
              <a:gd name="connsiteY45" fmla="*/ 2696807 h 5593409"/>
              <a:gd name="connsiteX46" fmla="*/ 6976233 w 8636594"/>
              <a:gd name="connsiteY46" fmla="*/ 2045274 h 5593409"/>
              <a:gd name="connsiteX47" fmla="*/ 7086755 w 8636594"/>
              <a:gd name="connsiteY47" fmla="*/ 1872743 h 5593409"/>
              <a:gd name="connsiteX48" fmla="*/ 7170279 w 8636594"/>
              <a:gd name="connsiteY48" fmla="*/ 1744202 h 5593409"/>
              <a:gd name="connsiteX49" fmla="*/ 7226351 w 8636594"/>
              <a:gd name="connsiteY49" fmla="*/ 1659017 h 5593409"/>
              <a:gd name="connsiteX50" fmla="*/ 7282789 w 8636594"/>
              <a:gd name="connsiteY50" fmla="*/ 1574303 h 5593409"/>
              <a:gd name="connsiteX51" fmla="*/ 7339643 w 8636594"/>
              <a:gd name="connsiteY51" fmla="*/ 1490113 h 5593409"/>
              <a:gd name="connsiteX52" fmla="*/ 7396957 w 8636594"/>
              <a:gd name="connsiteY52" fmla="*/ 1406503 h 5593409"/>
              <a:gd name="connsiteX53" fmla="*/ 7454781 w 8636594"/>
              <a:gd name="connsiteY53" fmla="*/ 1323526 h 5593409"/>
              <a:gd name="connsiteX54" fmla="*/ 7513161 w 8636594"/>
              <a:gd name="connsiteY54" fmla="*/ 1241237 h 5593409"/>
              <a:gd name="connsiteX55" fmla="*/ 7572144 w 8636594"/>
              <a:gd name="connsiteY55" fmla="*/ 1159689 h 5593409"/>
              <a:gd name="connsiteX56" fmla="*/ 7601877 w 8636594"/>
              <a:gd name="connsiteY56" fmla="*/ 1119210 h 5593409"/>
              <a:gd name="connsiteX57" fmla="*/ 7631779 w 8636594"/>
              <a:gd name="connsiteY57" fmla="*/ 1078937 h 5593409"/>
              <a:gd name="connsiteX58" fmla="*/ 7661855 w 8636594"/>
              <a:gd name="connsiteY58" fmla="*/ 1038876 h 5593409"/>
              <a:gd name="connsiteX59" fmla="*/ 7692111 w 8636594"/>
              <a:gd name="connsiteY59" fmla="*/ 999035 h 5593409"/>
              <a:gd name="connsiteX60" fmla="*/ 7722554 w 8636594"/>
              <a:gd name="connsiteY60" fmla="*/ 959419 h 5593409"/>
              <a:gd name="connsiteX61" fmla="*/ 7753190 w 8636594"/>
              <a:gd name="connsiteY61" fmla="*/ 920037 h 5593409"/>
              <a:gd name="connsiteX62" fmla="*/ 7784023 w 8636594"/>
              <a:gd name="connsiteY62" fmla="*/ 880894 h 5593409"/>
              <a:gd name="connsiteX63" fmla="*/ 7815061 w 8636594"/>
              <a:gd name="connsiteY63" fmla="*/ 841997 h 5593409"/>
              <a:gd name="connsiteX64" fmla="*/ 7846308 w 8636594"/>
              <a:gd name="connsiteY64" fmla="*/ 803354 h 5593409"/>
              <a:gd name="connsiteX65" fmla="*/ 7877772 w 8636594"/>
              <a:gd name="connsiteY65" fmla="*/ 764970 h 5593409"/>
              <a:gd name="connsiteX66" fmla="*/ 7909458 w 8636594"/>
              <a:gd name="connsiteY66" fmla="*/ 726853 h 5593409"/>
              <a:gd name="connsiteX67" fmla="*/ 7941371 w 8636594"/>
              <a:gd name="connsiteY67" fmla="*/ 689010 h 5593409"/>
              <a:gd name="connsiteX68" fmla="*/ 7973518 w 8636594"/>
              <a:gd name="connsiteY68" fmla="*/ 651447 h 5593409"/>
              <a:gd name="connsiteX69" fmla="*/ 8005905 w 8636594"/>
              <a:gd name="connsiteY69" fmla="*/ 614171 h 5593409"/>
              <a:gd name="connsiteX70" fmla="*/ 8038538 w 8636594"/>
              <a:gd name="connsiteY70" fmla="*/ 577189 h 5593409"/>
              <a:gd name="connsiteX71" fmla="*/ 8071421 w 8636594"/>
              <a:gd name="connsiteY71" fmla="*/ 540507 h 5593409"/>
              <a:gd name="connsiteX72" fmla="*/ 8104563 w 8636594"/>
              <a:gd name="connsiteY72" fmla="*/ 504132 h 5593409"/>
              <a:gd name="connsiteX73" fmla="*/ 8137967 w 8636594"/>
              <a:gd name="connsiteY73" fmla="*/ 468072 h 5593409"/>
              <a:gd name="connsiteX74" fmla="*/ 8171641 w 8636594"/>
              <a:gd name="connsiteY74" fmla="*/ 432332 h 5593409"/>
              <a:gd name="connsiteX75" fmla="*/ 8205590 w 8636594"/>
              <a:gd name="connsiteY75" fmla="*/ 396920 h 5593409"/>
              <a:gd name="connsiteX76" fmla="*/ 8239820 w 8636594"/>
              <a:gd name="connsiteY76" fmla="*/ 361843 h 5593409"/>
              <a:gd name="connsiteX77" fmla="*/ 8274337 w 8636594"/>
              <a:gd name="connsiteY77" fmla="*/ 327107 h 5593409"/>
              <a:gd name="connsiteX78" fmla="*/ 8309147 w 8636594"/>
              <a:gd name="connsiteY78" fmla="*/ 292718 h 5593409"/>
              <a:gd name="connsiteX79" fmla="*/ 8344256 w 8636594"/>
              <a:gd name="connsiteY79" fmla="*/ 258685 h 5593409"/>
              <a:gd name="connsiteX80" fmla="*/ 8379669 w 8636594"/>
              <a:gd name="connsiteY80" fmla="*/ 225013 h 5593409"/>
              <a:gd name="connsiteX81" fmla="*/ 8415394 w 8636594"/>
              <a:gd name="connsiteY81" fmla="*/ 191709 h 5593409"/>
              <a:gd name="connsiteX82" fmla="*/ 8451434 w 8636594"/>
              <a:gd name="connsiteY82" fmla="*/ 158780 h 5593409"/>
              <a:gd name="connsiteX83" fmla="*/ 8487798 w 8636594"/>
              <a:gd name="connsiteY83" fmla="*/ 126233 h 5593409"/>
              <a:gd name="connsiteX84" fmla="*/ 8524489 w 8636594"/>
              <a:gd name="connsiteY84" fmla="*/ 94075 h 5593409"/>
              <a:gd name="connsiteX85" fmla="*/ 8561515 w 8636594"/>
              <a:gd name="connsiteY85" fmla="*/ 62312 h 5593409"/>
              <a:gd name="connsiteX86" fmla="*/ 8598881 w 8636594"/>
              <a:gd name="connsiteY86" fmla="*/ 30951 h 5593409"/>
              <a:gd name="connsiteX87" fmla="*/ 8636594 w 8636594"/>
              <a:gd name="connsiteY87" fmla="*/ 0 h 5593409"/>
              <a:gd name="connsiteX0" fmla="*/ 8631811 w 8631811"/>
              <a:gd name="connsiteY0" fmla="*/ 0 h 5593409"/>
              <a:gd name="connsiteX1" fmla="*/ 510 w 8631811"/>
              <a:gd name="connsiteY1" fmla="*/ 0 h 5593409"/>
              <a:gd name="connsiteX2" fmla="*/ 510 w 8631811"/>
              <a:gd name="connsiteY2" fmla="*/ 5282464 h 5593409"/>
              <a:gd name="connsiteX3" fmla="*/ 4420379 w 8631811"/>
              <a:gd name="connsiteY3" fmla="*/ 5593409 h 5593409"/>
              <a:gd name="connsiteX4" fmla="*/ 4453498 w 8631811"/>
              <a:gd name="connsiteY4" fmla="*/ 5565111 h 5593409"/>
              <a:gd name="connsiteX5" fmla="*/ 4486270 w 8631811"/>
              <a:gd name="connsiteY5" fmla="*/ 5536556 h 5593409"/>
              <a:gd name="connsiteX6" fmla="*/ 4518701 w 8631811"/>
              <a:gd name="connsiteY6" fmla="*/ 5507747 h 5593409"/>
              <a:gd name="connsiteX7" fmla="*/ 4550797 w 8631811"/>
              <a:gd name="connsiteY7" fmla="*/ 5478687 h 5593409"/>
              <a:gd name="connsiteX8" fmla="*/ 4582564 w 8631811"/>
              <a:gd name="connsiteY8" fmla="*/ 5449380 h 5593409"/>
              <a:gd name="connsiteX9" fmla="*/ 4614010 w 8631811"/>
              <a:gd name="connsiteY9" fmla="*/ 5419830 h 5593409"/>
              <a:gd name="connsiteX10" fmla="*/ 4645139 w 8631811"/>
              <a:gd name="connsiteY10" fmla="*/ 5390040 h 5593409"/>
              <a:gd name="connsiteX11" fmla="*/ 4675959 w 8631811"/>
              <a:gd name="connsiteY11" fmla="*/ 5360014 h 5593409"/>
              <a:gd name="connsiteX12" fmla="*/ 4706476 w 8631811"/>
              <a:gd name="connsiteY12" fmla="*/ 5329755 h 5593409"/>
              <a:gd name="connsiteX13" fmla="*/ 4736695 w 8631811"/>
              <a:gd name="connsiteY13" fmla="*/ 5299266 h 5593409"/>
              <a:gd name="connsiteX14" fmla="*/ 4766625 w 8631811"/>
              <a:gd name="connsiteY14" fmla="*/ 5268551 h 5593409"/>
              <a:gd name="connsiteX15" fmla="*/ 4796270 w 8631811"/>
              <a:gd name="connsiteY15" fmla="*/ 5237614 h 5593409"/>
              <a:gd name="connsiteX16" fmla="*/ 4825637 w 8631811"/>
              <a:gd name="connsiteY16" fmla="*/ 5206458 h 5593409"/>
              <a:gd name="connsiteX17" fmla="*/ 4854733 w 8631811"/>
              <a:gd name="connsiteY17" fmla="*/ 5175087 h 5593409"/>
              <a:gd name="connsiteX18" fmla="*/ 4883564 w 8631811"/>
              <a:gd name="connsiteY18" fmla="*/ 5143504 h 5593409"/>
              <a:gd name="connsiteX19" fmla="*/ 4912136 w 8631811"/>
              <a:gd name="connsiteY19" fmla="*/ 5111713 h 5593409"/>
              <a:gd name="connsiteX20" fmla="*/ 4940455 w 8631811"/>
              <a:gd name="connsiteY20" fmla="*/ 5079717 h 5593409"/>
              <a:gd name="connsiteX21" fmla="*/ 4968528 w 8631811"/>
              <a:gd name="connsiteY21" fmla="*/ 5047519 h 5593409"/>
              <a:gd name="connsiteX22" fmla="*/ 4996362 w 8631811"/>
              <a:gd name="connsiteY22" fmla="*/ 5015124 h 5593409"/>
              <a:gd name="connsiteX23" fmla="*/ 5023962 w 8631811"/>
              <a:gd name="connsiteY23" fmla="*/ 4982535 h 5593409"/>
              <a:gd name="connsiteX24" fmla="*/ 5051334 w 8631811"/>
              <a:gd name="connsiteY24" fmla="*/ 4949755 h 5593409"/>
              <a:gd name="connsiteX25" fmla="*/ 5078486 w 8631811"/>
              <a:gd name="connsiteY25" fmla="*/ 4916787 h 5593409"/>
              <a:gd name="connsiteX26" fmla="*/ 5105424 w 8631811"/>
              <a:gd name="connsiteY26" fmla="*/ 4883636 h 5593409"/>
              <a:gd name="connsiteX27" fmla="*/ 5132154 w 8631811"/>
              <a:gd name="connsiteY27" fmla="*/ 4850305 h 5593409"/>
              <a:gd name="connsiteX28" fmla="*/ 5158681 w 8631811"/>
              <a:gd name="connsiteY28" fmla="*/ 4816797 h 5593409"/>
              <a:gd name="connsiteX29" fmla="*/ 5211157 w 8631811"/>
              <a:gd name="connsiteY29" fmla="*/ 4749265 h 5593409"/>
              <a:gd name="connsiteX30" fmla="*/ 5262901 w 8631811"/>
              <a:gd name="connsiteY30" fmla="*/ 4681068 h 5593409"/>
              <a:gd name="connsiteX31" fmla="*/ 5313965 w 8631811"/>
              <a:gd name="connsiteY31" fmla="*/ 4612234 h 5593409"/>
              <a:gd name="connsiteX32" fmla="*/ 5364399 w 8631811"/>
              <a:gd name="connsiteY32" fmla="*/ 4542793 h 5593409"/>
              <a:gd name="connsiteX33" fmla="*/ 5414255 w 8631811"/>
              <a:gd name="connsiteY33" fmla="*/ 4472771 h 5593409"/>
              <a:gd name="connsiteX34" fmla="*/ 5463582 w 8631811"/>
              <a:gd name="connsiteY34" fmla="*/ 4402196 h 5593409"/>
              <a:gd name="connsiteX35" fmla="*/ 5512432 w 8631811"/>
              <a:gd name="connsiteY35" fmla="*/ 4331098 h 5593409"/>
              <a:gd name="connsiteX36" fmla="*/ 5560854 w 8631811"/>
              <a:gd name="connsiteY36" fmla="*/ 4259503 h 5593409"/>
              <a:gd name="connsiteX37" fmla="*/ 5608901 w 8631811"/>
              <a:gd name="connsiteY37" fmla="*/ 4187441 h 5593409"/>
              <a:gd name="connsiteX38" fmla="*/ 5680377 w 8631811"/>
              <a:gd name="connsiteY38" fmla="*/ 4078531 h 5593409"/>
              <a:gd name="connsiteX39" fmla="*/ 5751291 w 8631811"/>
              <a:gd name="connsiteY39" fmla="*/ 3968727 h 5593409"/>
              <a:gd name="connsiteX40" fmla="*/ 5868700 w 8631811"/>
              <a:gd name="connsiteY40" fmla="*/ 3783989 h 5593409"/>
              <a:gd name="connsiteX41" fmla="*/ 6198426 w 8631811"/>
              <a:gd name="connsiteY41" fmla="*/ 3258640 h 5593409"/>
              <a:gd name="connsiteX42" fmla="*/ 6294647 w 8631811"/>
              <a:gd name="connsiteY42" fmla="*/ 3107321 h 5593409"/>
              <a:gd name="connsiteX43" fmla="*/ 6367867 w 8631811"/>
              <a:gd name="connsiteY43" fmla="*/ 2993735 h 5593409"/>
              <a:gd name="connsiteX44" fmla="*/ 6448414 w 8631811"/>
              <a:gd name="connsiteY44" fmla="*/ 2869788 h 5593409"/>
              <a:gd name="connsiteX45" fmla="*/ 6559384 w 8631811"/>
              <a:gd name="connsiteY45" fmla="*/ 2696807 h 5593409"/>
              <a:gd name="connsiteX46" fmla="*/ 6971450 w 8631811"/>
              <a:gd name="connsiteY46" fmla="*/ 2045274 h 5593409"/>
              <a:gd name="connsiteX47" fmla="*/ 7081972 w 8631811"/>
              <a:gd name="connsiteY47" fmla="*/ 1872743 h 5593409"/>
              <a:gd name="connsiteX48" fmla="*/ 7165496 w 8631811"/>
              <a:gd name="connsiteY48" fmla="*/ 1744202 h 5593409"/>
              <a:gd name="connsiteX49" fmla="*/ 7221568 w 8631811"/>
              <a:gd name="connsiteY49" fmla="*/ 1659017 h 5593409"/>
              <a:gd name="connsiteX50" fmla="*/ 7278006 w 8631811"/>
              <a:gd name="connsiteY50" fmla="*/ 1574303 h 5593409"/>
              <a:gd name="connsiteX51" fmla="*/ 7334860 w 8631811"/>
              <a:gd name="connsiteY51" fmla="*/ 1490113 h 5593409"/>
              <a:gd name="connsiteX52" fmla="*/ 7392174 w 8631811"/>
              <a:gd name="connsiteY52" fmla="*/ 1406503 h 5593409"/>
              <a:gd name="connsiteX53" fmla="*/ 7449998 w 8631811"/>
              <a:gd name="connsiteY53" fmla="*/ 1323526 h 5593409"/>
              <a:gd name="connsiteX54" fmla="*/ 7508378 w 8631811"/>
              <a:gd name="connsiteY54" fmla="*/ 1241237 h 5593409"/>
              <a:gd name="connsiteX55" fmla="*/ 7567361 w 8631811"/>
              <a:gd name="connsiteY55" fmla="*/ 1159689 h 5593409"/>
              <a:gd name="connsiteX56" fmla="*/ 7597094 w 8631811"/>
              <a:gd name="connsiteY56" fmla="*/ 1119210 h 5593409"/>
              <a:gd name="connsiteX57" fmla="*/ 7626996 w 8631811"/>
              <a:gd name="connsiteY57" fmla="*/ 1078937 h 5593409"/>
              <a:gd name="connsiteX58" fmla="*/ 7657072 w 8631811"/>
              <a:gd name="connsiteY58" fmla="*/ 1038876 h 5593409"/>
              <a:gd name="connsiteX59" fmla="*/ 7687328 w 8631811"/>
              <a:gd name="connsiteY59" fmla="*/ 999035 h 5593409"/>
              <a:gd name="connsiteX60" fmla="*/ 7717771 w 8631811"/>
              <a:gd name="connsiteY60" fmla="*/ 959419 h 5593409"/>
              <a:gd name="connsiteX61" fmla="*/ 7748407 w 8631811"/>
              <a:gd name="connsiteY61" fmla="*/ 920037 h 5593409"/>
              <a:gd name="connsiteX62" fmla="*/ 7779240 w 8631811"/>
              <a:gd name="connsiteY62" fmla="*/ 880894 h 5593409"/>
              <a:gd name="connsiteX63" fmla="*/ 7810278 w 8631811"/>
              <a:gd name="connsiteY63" fmla="*/ 841997 h 5593409"/>
              <a:gd name="connsiteX64" fmla="*/ 7841525 w 8631811"/>
              <a:gd name="connsiteY64" fmla="*/ 803354 h 5593409"/>
              <a:gd name="connsiteX65" fmla="*/ 7872989 w 8631811"/>
              <a:gd name="connsiteY65" fmla="*/ 764970 h 5593409"/>
              <a:gd name="connsiteX66" fmla="*/ 7904675 w 8631811"/>
              <a:gd name="connsiteY66" fmla="*/ 726853 h 5593409"/>
              <a:gd name="connsiteX67" fmla="*/ 7936588 w 8631811"/>
              <a:gd name="connsiteY67" fmla="*/ 689010 h 5593409"/>
              <a:gd name="connsiteX68" fmla="*/ 7968735 w 8631811"/>
              <a:gd name="connsiteY68" fmla="*/ 651447 h 5593409"/>
              <a:gd name="connsiteX69" fmla="*/ 8001122 w 8631811"/>
              <a:gd name="connsiteY69" fmla="*/ 614171 h 5593409"/>
              <a:gd name="connsiteX70" fmla="*/ 8033755 w 8631811"/>
              <a:gd name="connsiteY70" fmla="*/ 577189 h 5593409"/>
              <a:gd name="connsiteX71" fmla="*/ 8066638 w 8631811"/>
              <a:gd name="connsiteY71" fmla="*/ 540507 h 5593409"/>
              <a:gd name="connsiteX72" fmla="*/ 8099780 w 8631811"/>
              <a:gd name="connsiteY72" fmla="*/ 504132 h 5593409"/>
              <a:gd name="connsiteX73" fmla="*/ 8133184 w 8631811"/>
              <a:gd name="connsiteY73" fmla="*/ 468072 h 5593409"/>
              <a:gd name="connsiteX74" fmla="*/ 8166858 w 8631811"/>
              <a:gd name="connsiteY74" fmla="*/ 432332 h 5593409"/>
              <a:gd name="connsiteX75" fmla="*/ 8200807 w 8631811"/>
              <a:gd name="connsiteY75" fmla="*/ 396920 h 5593409"/>
              <a:gd name="connsiteX76" fmla="*/ 8235037 w 8631811"/>
              <a:gd name="connsiteY76" fmla="*/ 361843 h 5593409"/>
              <a:gd name="connsiteX77" fmla="*/ 8269554 w 8631811"/>
              <a:gd name="connsiteY77" fmla="*/ 327107 h 5593409"/>
              <a:gd name="connsiteX78" fmla="*/ 8304364 w 8631811"/>
              <a:gd name="connsiteY78" fmla="*/ 292718 h 5593409"/>
              <a:gd name="connsiteX79" fmla="*/ 8339473 w 8631811"/>
              <a:gd name="connsiteY79" fmla="*/ 258685 h 5593409"/>
              <a:gd name="connsiteX80" fmla="*/ 8374886 w 8631811"/>
              <a:gd name="connsiteY80" fmla="*/ 225013 h 5593409"/>
              <a:gd name="connsiteX81" fmla="*/ 8410611 w 8631811"/>
              <a:gd name="connsiteY81" fmla="*/ 191709 h 5593409"/>
              <a:gd name="connsiteX82" fmla="*/ 8446651 w 8631811"/>
              <a:gd name="connsiteY82" fmla="*/ 158780 h 5593409"/>
              <a:gd name="connsiteX83" fmla="*/ 8483015 w 8631811"/>
              <a:gd name="connsiteY83" fmla="*/ 126233 h 5593409"/>
              <a:gd name="connsiteX84" fmla="*/ 8519706 w 8631811"/>
              <a:gd name="connsiteY84" fmla="*/ 94075 h 5593409"/>
              <a:gd name="connsiteX85" fmla="*/ 8556732 w 8631811"/>
              <a:gd name="connsiteY85" fmla="*/ 62312 h 5593409"/>
              <a:gd name="connsiteX86" fmla="*/ 8594098 w 8631811"/>
              <a:gd name="connsiteY86" fmla="*/ 30951 h 5593409"/>
              <a:gd name="connsiteX87" fmla="*/ 8631811 w 8631811"/>
              <a:gd name="connsiteY87" fmla="*/ 0 h 5593409"/>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10058"/>
              <a:gd name="connsiteX1" fmla="*/ 510 w 8631811"/>
              <a:gd name="connsiteY1" fmla="*/ 0 h 5610058"/>
              <a:gd name="connsiteX2" fmla="*/ 510 w 8631811"/>
              <a:gd name="connsiteY2" fmla="*/ 5593952 h 5610058"/>
              <a:gd name="connsiteX3" fmla="*/ 4420379 w 8631811"/>
              <a:gd name="connsiteY3" fmla="*/ 5593409 h 5610058"/>
              <a:gd name="connsiteX4" fmla="*/ 4453498 w 8631811"/>
              <a:gd name="connsiteY4" fmla="*/ 5565111 h 5610058"/>
              <a:gd name="connsiteX5" fmla="*/ 4486270 w 8631811"/>
              <a:gd name="connsiteY5" fmla="*/ 5536556 h 5610058"/>
              <a:gd name="connsiteX6" fmla="*/ 4518701 w 8631811"/>
              <a:gd name="connsiteY6" fmla="*/ 5507747 h 5610058"/>
              <a:gd name="connsiteX7" fmla="*/ 4550797 w 8631811"/>
              <a:gd name="connsiteY7" fmla="*/ 5478687 h 5610058"/>
              <a:gd name="connsiteX8" fmla="*/ 4582564 w 8631811"/>
              <a:gd name="connsiteY8" fmla="*/ 5449380 h 5610058"/>
              <a:gd name="connsiteX9" fmla="*/ 4614010 w 8631811"/>
              <a:gd name="connsiteY9" fmla="*/ 5419830 h 5610058"/>
              <a:gd name="connsiteX10" fmla="*/ 4645139 w 8631811"/>
              <a:gd name="connsiteY10" fmla="*/ 5390040 h 5610058"/>
              <a:gd name="connsiteX11" fmla="*/ 4675959 w 8631811"/>
              <a:gd name="connsiteY11" fmla="*/ 5360014 h 5610058"/>
              <a:gd name="connsiteX12" fmla="*/ 4706476 w 8631811"/>
              <a:gd name="connsiteY12" fmla="*/ 5329755 h 5610058"/>
              <a:gd name="connsiteX13" fmla="*/ 4736695 w 8631811"/>
              <a:gd name="connsiteY13" fmla="*/ 5299266 h 5610058"/>
              <a:gd name="connsiteX14" fmla="*/ 4766625 w 8631811"/>
              <a:gd name="connsiteY14" fmla="*/ 5268551 h 5610058"/>
              <a:gd name="connsiteX15" fmla="*/ 4796270 w 8631811"/>
              <a:gd name="connsiteY15" fmla="*/ 5237614 h 5610058"/>
              <a:gd name="connsiteX16" fmla="*/ 4825637 w 8631811"/>
              <a:gd name="connsiteY16" fmla="*/ 5206458 h 5610058"/>
              <a:gd name="connsiteX17" fmla="*/ 4854733 w 8631811"/>
              <a:gd name="connsiteY17" fmla="*/ 5175087 h 5610058"/>
              <a:gd name="connsiteX18" fmla="*/ 4883564 w 8631811"/>
              <a:gd name="connsiteY18" fmla="*/ 5143504 h 5610058"/>
              <a:gd name="connsiteX19" fmla="*/ 4912136 w 8631811"/>
              <a:gd name="connsiteY19" fmla="*/ 5111713 h 5610058"/>
              <a:gd name="connsiteX20" fmla="*/ 4940455 w 8631811"/>
              <a:gd name="connsiteY20" fmla="*/ 5079717 h 5610058"/>
              <a:gd name="connsiteX21" fmla="*/ 4968528 w 8631811"/>
              <a:gd name="connsiteY21" fmla="*/ 5047519 h 5610058"/>
              <a:gd name="connsiteX22" fmla="*/ 4996362 w 8631811"/>
              <a:gd name="connsiteY22" fmla="*/ 5015124 h 5610058"/>
              <a:gd name="connsiteX23" fmla="*/ 5023962 w 8631811"/>
              <a:gd name="connsiteY23" fmla="*/ 4982535 h 5610058"/>
              <a:gd name="connsiteX24" fmla="*/ 5051334 w 8631811"/>
              <a:gd name="connsiteY24" fmla="*/ 4949755 h 5610058"/>
              <a:gd name="connsiteX25" fmla="*/ 5078486 w 8631811"/>
              <a:gd name="connsiteY25" fmla="*/ 4916787 h 5610058"/>
              <a:gd name="connsiteX26" fmla="*/ 5105424 w 8631811"/>
              <a:gd name="connsiteY26" fmla="*/ 4883636 h 5610058"/>
              <a:gd name="connsiteX27" fmla="*/ 5132154 w 8631811"/>
              <a:gd name="connsiteY27" fmla="*/ 4850305 h 5610058"/>
              <a:gd name="connsiteX28" fmla="*/ 5158681 w 8631811"/>
              <a:gd name="connsiteY28" fmla="*/ 4816797 h 5610058"/>
              <a:gd name="connsiteX29" fmla="*/ 5211157 w 8631811"/>
              <a:gd name="connsiteY29" fmla="*/ 4749265 h 5610058"/>
              <a:gd name="connsiteX30" fmla="*/ 5262901 w 8631811"/>
              <a:gd name="connsiteY30" fmla="*/ 4681068 h 5610058"/>
              <a:gd name="connsiteX31" fmla="*/ 5313965 w 8631811"/>
              <a:gd name="connsiteY31" fmla="*/ 4612234 h 5610058"/>
              <a:gd name="connsiteX32" fmla="*/ 5364399 w 8631811"/>
              <a:gd name="connsiteY32" fmla="*/ 4542793 h 5610058"/>
              <a:gd name="connsiteX33" fmla="*/ 5414255 w 8631811"/>
              <a:gd name="connsiteY33" fmla="*/ 4472771 h 5610058"/>
              <a:gd name="connsiteX34" fmla="*/ 5463582 w 8631811"/>
              <a:gd name="connsiteY34" fmla="*/ 4402196 h 5610058"/>
              <a:gd name="connsiteX35" fmla="*/ 5512432 w 8631811"/>
              <a:gd name="connsiteY35" fmla="*/ 4331098 h 5610058"/>
              <a:gd name="connsiteX36" fmla="*/ 5560854 w 8631811"/>
              <a:gd name="connsiteY36" fmla="*/ 4259503 h 5610058"/>
              <a:gd name="connsiteX37" fmla="*/ 5608901 w 8631811"/>
              <a:gd name="connsiteY37" fmla="*/ 4187441 h 5610058"/>
              <a:gd name="connsiteX38" fmla="*/ 5680377 w 8631811"/>
              <a:gd name="connsiteY38" fmla="*/ 4078531 h 5610058"/>
              <a:gd name="connsiteX39" fmla="*/ 5751291 w 8631811"/>
              <a:gd name="connsiteY39" fmla="*/ 3968727 h 5610058"/>
              <a:gd name="connsiteX40" fmla="*/ 5868700 w 8631811"/>
              <a:gd name="connsiteY40" fmla="*/ 3783989 h 5610058"/>
              <a:gd name="connsiteX41" fmla="*/ 6198426 w 8631811"/>
              <a:gd name="connsiteY41" fmla="*/ 3258640 h 5610058"/>
              <a:gd name="connsiteX42" fmla="*/ 6294647 w 8631811"/>
              <a:gd name="connsiteY42" fmla="*/ 3107321 h 5610058"/>
              <a:gd name="connsiteX43" fmla="*/ 6367867 w 8631811"/>
              <a:gd name="connsiteY43" fmla="*/ 2993735 h 5610058"/>
              <a:gd name="connsiteX44" fmla="*/ 6448414 w 8631811"/>
              <a:gd name="connsiteY44" fmla="*/ 2869788 h 5610058"/>
              <a:gd name="connsiteX45" fmla="*/ 6559384 w 8631811"/>
              <a:gd name="connsiteY45" fmla="*/ 2696807 h 5610058"/>
              <a:gd name="connsiteX46" fmla="*/ 6971450 w 8631811"/>
              <a:gd name="connsiteY46" fmla="*/ 2045274 h 5610058"/>
              <a:gd name="connsiteX47" fmla="*/ 7081972 w 8631811"/>
              <a:gd name="connsiteY47" fmla="*/ 1872743 h 5610058"/>
              <a:gd name="connsiteX48" fmla="*/ 7165496 w 8631811"/>
              <a:gd name="connsiteY48" fmla="*/ 1744202 h 5610058"/>
              <a:gd name="connsiteX49" fmla="*/ 7221568 w 8631811"/>
              <a:gd name="connsiteY49" fmla="*/ 1659017 h 5610058"/>
              <a:gd name="connsiteX50" fmla="*/ 7278006 w 8631811"/>
              <a:gd name="connsiteY50" fmla="*/ 1574303 h 5610058"/>
              <a:gd name="connsiteX51" fmla="*/ 7334860 w 8631811"/>
              <a:gd name="connsiteY51" fmla="*/ 1490113 h 5610058"/>
              <a:gd name="connsiteX52" fmla="*/ 7392174 w 8631811"/>
              <a:gd name="connsiteY52" fmla="*/ 1406503 h 5610058"/>
              <a:gd name="connsiteX53" fmla="*/ 7449998 w 8631811"/>
              <a:gd name="connsiteY53" fmla="*/ 1323526 h 5610058"/>
              <a:gd name="connsiteX54" fmla="*/ 7508378 w 8631811"/>
              <a:gd name="connsiteY54" fmla="*/ 1241237 h 5610058"/>
              <a:gd name="connsiteX55" fmla="*/ 7567361 w 8631811"/>
              <a:gd name="connsiteY55" fmla="*/ 1159689 h 5610058"/>
              <a:gd name="connsiteX56" fmla="*/ 7597094 w 8631811"/>
              <a:gd name="connsiteY56" fmla="*/ 1119210 h 5610058"/>
              <a:gd name="connsiteX57" fmla="*/ 7626996 w 8631811"/>
              <a:gd name="connsiteY57" fmla="*/ 1078937 h 5610058"/>
              <a:gd name="connsiteX58" fmla="*/ 7657072 w 8631811"/>
              <a:gd name="connsiteY58" fmla="*/ 1038876 h 5610058"/>
              <a:gd name="connsiteX59" fmla="*/ 7687328 w 8631811"/>
              <a:gd name="connsiteY59" fmla="*/ 999035 h 5610058"/>
              <a:gd name="connsiteX60" fmla="*/ 7717771 w 8631811"/>
              <a:gd name="connsiteY60" fmla="*/ 959419 h 5610058"/>
              <a:gd name="connsiteX61" fmla="*/ 7748407 w 8631811"/>
              <a:gd name="connsiteY61" fmla="*/ 920037 h 5610058"/>
              <a:gd name="connsiteX62" fmla="*/ 7779240 w 8631811"/>
              <a:gd name="connsiteY62" fmla="*/ 880894 h 5610058"/>
              <a:gd name="connsiteX63" fmla="*/ 7810278 w 8631811"/>
              <a:gd name="connsiteY63" fmla="*/ 841997 h 5610058"/>
              <a:gd name="connsiteX64" fmla="*/ 7841525 w 8631811"/>
              <a:gd name="connsiteY64" fmla="*/ 803354 h 5610058"/>
              <a:gd name="connsiteX65" fmla="*/ 7872989 w 8631811"/>
              <a:gd name="connsiteY65" fmla="*/ 764970 h 5610058"/>
              <a:gd name="connsiteX66" fmla="*/ 7904675 w 8631811"/>
              <a:gd name="connsiteY66" fmla="*/ 726853 h 5610058"/>
              <a:gd name="connsiteX67" fmla="*/ 7936588 w 8631811"/>
              <a:gd name="connsiteY67" fmla="*/ 689010 h 5610058"/>
              <a:gd name="connsiteX68" fmla="*/ 7968735 w 8631811"/>
              <a:gd name="connsiteY68" fmla="*/ 651447 h 5610058"/>
              <a:gd name="connsiteX69" fmla="*/ 8001122 w 8631811"/>
              <a:gd name="connsiteY69" fmla="*/ 614171 h 5610058"/>
              <a:gd name="connsiteX70" fmla="*/ 8033755 w 8631811"/>
              <a:gd name="connsiteY70" fmla="*/ 577189 h 5610058"/>
              <a:gd name="connsiteX71" fmla="*/ 8066638 w 8631811"/>
              <a:gd name="connsiteY71" fmla="*/ 540507 h 5610058"/>
              <a:gd name="connsiteX72" fmla="*/ 8099780 w 8631811"/>
              <a:gd name="connsiteY72" fmla="*/ 504132 h 5610058"/>
              <a:gd name="connsiteX73" fmla="*/ 8133184 w 8631811"/>
              <a:gd name="connsiteY73" fmla="*/ 468072 h 5610058"/>
              <a:gd name="connsiteX74" fmla="*/ 8166858 w 8631811"/>
              <a:gd name="connsiteY74" fmla="*/ 432332 h 5610058"/>
              <a:gd name="connsiteX75" fmla="*/ 8200807 w 8631811"/>
              <a:gd name="connsiteY75" fmla="*/ 396920 h 5610058"/>
              <a:gd name="connsiteX76" fmla="*/ 8235037 w 8631811"/>
              <a:gd name="connsiteY76" fmla="*/ 361843 h 5610058"/>
              <a:gd name="connsiteX77" fmla="*/ 8269554 w 8631811"/>
              <a:gd name="connsiteY77" fmla="*/ 327107 h 5610058"/>
              <a:gd name="connsiteX78" fmla="*/ 8304364 w 8631811"/>
              <a:gd name="connsiteY78" fmla="*/ 292718 h 5610058"/>
              <a:gd name="connsiteX79" fmla="*/ 8339473 w 8631811"/>
              <a:gd name="connsiteY79" fmla="*/ 258685 h 5610058"/>
              <a:gd name="connsiteX80" fmla="*/ 8374886 w 8631811"/>
              <a:gd name="connsiteY80" fmla="*/ 225013 h 5610058"/>
              <a:gd name="connsiteX81" fmla="*/ 8410611 w 8631811"/>
              <a:gd name="connsiteY81" fmla="*/ 191709 h 5610058"/>
              <a:gd name="connsiteX82" fmla="*/ 8446651 w 8631811"/>
              <a:gd name="connsiteY82" fmla="*/ 158780 h 5610058"/>
              <a:gd name="connsiteX83" fmla="*/ 8483015 w 8631811"/>
              <a:gd name="connsiteY83" fmla="*/ 126233 h 5610058"/>
              <a:gd name="connsiteX84" fmla="*/ 8519706 w 8631811"/>
              <a:gd name="connsiteY84" fmla="*/ 94075 h 5610058"/>
              <a:gd name="connsiteX85" fmla="*/ 8556732 w 8631811"/>
              <a:gd name="connsiteY85" fmla="*/ 62312 h 5610058"/>
              <a:gd name="connsiteX86" fmla="*/ 8594098 w 8631811"/>
              <a:gd name="connsiteY86" fmla="*/ 30951 h 5610058"/>
              <a:gd name="connsiteX87" fmla="*/ 8631811 w 8631811"/>
              <a:gd name="connsiteY87" fmla="*/ 0 h 5610058"/>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9020"/>
              <a:gd name="connsiteX1" fmla="*/ 510 w 8631811"/>
              <a:gd name="connsiteY1" fmla="*/ 0 h 5599020"/>
              <a:gd name="connsiteX2" fmla="*/ 510 w 8631811"/>
              <a:gd name="connsiteY2" fmla="*/ 5593952 h 5599020"/>
              <a:gd name="connsiteX3" fmla="*/ 4420379 w 8631811"/>
              <a:gd name="connsiteY3" fmla="*/ 5593409 h 5599020"/>
              <a:gd name="connsiteX4" fmla="*/ 4453498 w 8631811"/>
              <a:gd name="connsiteY4" fmla="*/ 5565111 h 5599020"/>
              <a:gd name="connsiteX5" fmla="*/ 4486270 w 8631811"/>
              <a:gd name="connsiteY5" fmla="*/ 5536556 h 5599020"/>
              <a:gd name="connsiteX6" fmla="*/ 4518701 w 8631811"/>
              <a:gd name="connsiteY6" fmla="*/ 5507747 h 5599020"/>
              <a:gd name="connsiteX7" fmla="*/ 4550797 w 8631811"/>
              <a:gd name="connsiteY7" fmla="*/ 5478687 h 5599020"/>
              <a:gd name="connsiteX8" fmla="*/ 4582564 w 8631811"/>
              <a:gd name="connsiteY8" fmla="*/ 5449380 h 5599020"/>
              <a:gd name="connsiteX9" fmla="*/ 4614010 w 8631811"/>
              <a:gd name="connsiteY9" fmla="*/ 5419830 h 5599020"/>
              <a:gd name="connsiteX10" fmla="*/ 4645139 w 8631811"/>
              <a:gd name="connsiteY10" fmla="*/ 5390040 h 5599020"/>
              <a:gd name="connsiteX11" fmla="*/ 4675959 w 8631811"/>
              <a:gd name="connsiteY11" fmla="*/ 5360014 h 5599020"/>
              <a:gd name="connsiteX12" fmla="*/ 4706476 w 8631811"/>
              <a:gd name="connsiteY12" fmla="*/ 5329755 h 5599020"/>
              <a:gd name="connsiteX13" fmla="*/ 4736695 w 8631811"/>
              <a:gd name="connsiteY13" fmla="*/ 5299266 h 5599020"/>
              <a:gd name="connsiteX14" fmla="*/ 4766625 w 8631811"/>
              <a:gd name="connsiteY14" fmla="*/ 5268551 h 5599020"/>
              <a:gd name="connsiteX15" fmla="*/ 4796270 w 8631811"/>
              <a:gd name="connsiteY15" fmla="*/ 5237614 h 5599020"/>
              <a:gd name="connsiteX16" fmla="*/ 4825637 w 8631811"/>
              <a:gd name="connsiteY16" fmla="*/ 5206458 h 5599020"/>
              <a:gd name="connsiteX17" fmla="*/ 4854733 w 8631811"/>
              <a:gd name="connsiteY17" fmla="*/ 5175087 h 5599020"/>
              <a:gd name="connsiteX18" fmla="*/ 4883564 w 8631811"/>
              <a:gd name="connsiteY18" fmla="*/ 5143504 h 5599020"/>
              <a:gd name="connsiteX19" fmla="*/ 4912136 w 8631811"/>
              <a:gd name="connsiteY19" fmla="*/ 5111713 h 5599020"/>
              <a:gd name="connsiteX20" fmla="*/ 4940455 w 8631811"/>
              <a:gd name="connsiteY20" fmla="*/ 5079717 h 5599020"/>
              <a:gd name="connsiteX21" fmla="*/ 4968528 w 8631811"/>
              <a:gd name="connsiteY21" fmla="*/ 5047519 h 5599020"/>
              <a:gd name="connsiteX22" fmla="*/ 4996362 w 8631811"/>
              <a:gd name="connsiteY22" fmla="*/ 5015124 h 5599020"/>
              <a:gd name="connsiteX23" fmla="*/ 5023962 w 8631811"/>
              <a:gd name="connsiteY23" fmla="*/ 4982535 h 5599020"/>
              <a:gd name="connsiteX24" fmla="*/ 5051334 w 8631811"/>
              <a:gd name="connsiteY24" fmla="*/ 4949755 h 5599020"/>
              <a:gd name="connsiteX25" fmla="*/ 5078486 w 8631811"/>
              <a:gd name="connsiteY25" fmla="*/ 4916787 h 5599020"/>
              <a:gd name="connsiteX26" fmla="*/ 5105424 w 8631811"/>
              <a:gd name="connsiteY26" fmla="*/ 4883636 h 5599020"/>
              <a:gd name="connsiteX27" fmla="*/ 5132154 w 8631811"/>
              <a:gd name="connsiteY27" fmla="*/ 4850305 h 5599020"/>
              <a:gd name="connsiteX28" fmla="*/ 5158681 w 8631811"/>
              <a:gd name="connsiteY28" fmla="*/ 4816797 h 5599020"/>
              <a:gd name="connsiteX29" fmla="*/ 5211157 w 8631811"/>
              <a:gd name="connsiteY29" fmla="*/ 4749265 h 5599020"/>
              <a:gd name="connsiteX30" fmla="*/ 5262901 w 8631811"/>
              <a:gd name="connsiteY30" fmla="*/ 4681068 h 5599020"/>
              <a:gd name="connsiteX31" fmla="*/ 5313965 w 8631811"/>
              <a:gd name="connsiteY31" fmla="*/ 4612234 h 5599020"/>
              <a:gd name="connsiteX32" fmla="*/ 5364399 w 8631811"/>
              <a:gd name="connsiteY32" fmla="*/ 4542793 h 5599020"/>
              <a:gd name="connsiteX33" fmla="*/ 5414255 w 8631811"/>
              <a:gd name="connsiteY33" fmla="*/ 4472771 h 5599020"/>
              <a:gd name="connsiteX34" fmla="*/ 5463582 w 8631811"/>
              <a:gd name="connsiteY34" fmla="*/ 4402196 h 5599020"/>
              <a:gd name="connsiteX35" fmla="*/ 5512432 w 8631811"/>
              <a:gd name="connsiteY35" fmla="*/ 4331098 h 5599020"/>
              <a:gd name="connsiteX36" fmla="*/ 5560854 w 8631811"/>
              <a:gd name="connsiteY36" fmla="*/ 4259503 h 5599020"/>
              <a:gd name="connsiteX37" fmla="*/ 5608901 w 8631811"/>
              <a:gd name="connsiteY37" fmla="*/ 4187441 h 5599020"/>
              <a:gd name="connsiteX38" fmla="*/ 5680377 w 8631811"/>
              <a:gd name="connsiteY38" fmla="*/ 4078531 h 5599020"/>
              <a:gd name="connsiteX39" fmla="*/ 5751291 w 8631811"/>
              <a:gd name="connsiteY39" fmla="*/ 3968727 h 5599020"/>
              <a:gd name="connsiteX40" fmla="*/ 5868700 w 8631811"/>
              <a:gd name="connsiteY40" fmla="*/ 3783989 h 5599020"/>
              <a:gd name="connsiteX41" fmla="*/ 6198426 w 8631811"/>
              <a:gd name="connsiteY41" fmla="*/ 3258640 h 5599020"/>
              <a:gd name="connsiteX42" fmla="*/ 6294647 w 8631811"/>
              <a:gd name="connsiteY42" fmla="*/ 3107321 h 5599020"/>
              <a:gd name="connsiteX43" fmla="*/ 6367867 w 8631811"/>
              <a:gd name="connsiteY43" fmla="*/ 2993735 h 5599020"/>
              <a:gd name="connsiteX44" fmla="*/ 6448414 w 8631811"/>
              <a:gd name="connsiteY44" fmla="*/ 2869788 h 5599020"/>
              <a:gd name="connsiteX45" fmla="*/ 6559384 w 8631811"/>
              <a:gd name="connsiteY45" fmla="*/ 2696807 h 5599020"/>
              <a:gd name="connsiteX46" fmla="*/ 6971450 w 8631811"/>
              <a:gd name="connsiteY46" fmla="*/ 2045274 h 5599020"/>
              <a:gd name="connsiteX47" fmla="*/ 7081972 w 8631811"/>
              <a:gd name="connsiteY47" fmla="*/ 1872743 h 5599020"/>
              <a:gd name="connsiteX48" fmla="*/ 7165496 w 8631811"/>
              <a:gd name="connsiteY48" fmla="*/ 1744202 h 5599020"/>
              <a:gd name="connsiteX49" fmla="*/ 7221568 w 8631811"/>
              <a:gd name="connsiteY49" fmla="*/ 1659017 h 5599020"/>
              <a:gd name="connsiteX50" fmla="*/ 7278006 w 8631811"/>
              <a:gd name="connsiteY50" fmla="*/ 1574303 h 5599020"/>
              <a:gd name="connsiteX51" fmla="*/ 7334860 w 8631811"/>
              <a:gd name="connsiteY51" fmla="*/ 1490113 h 5599020"/>
              <a:gd name="connsiteX52" fmla="*/ 7392174 w 8631811"/>
              <a:gd name="connsiteY52" fmla="*/ 1406503 h 5599020"/>
              <a:gd name="connsiteX53" fmla="*/ 7449998 w 8631811"/>
              <a:gd name="connsiteY53" fmla="*/ 1323526 h 5599020"/>
              <a:gd name="connsiteX54" fmla="*/ 7508378 w 8631811"/>
              <a:gd name="connsiteY54" fmla="*/ 1241237 h 5599020"/>
              <a:gd name="connsiteX55" fmla="*/ 7567361 w 8631811"/>
              <a:gd name="connsiteY55" fmla="*/ 1159689 h 5599020"/>
              <a:gd name="connsiteX56" fmla="*/ 7597094 w 8631811"/>
              <a:gd name="connsiteY56" fmla="*/ 1119210 h 5599020"/>
              <a:gd name="connsiteX57" fmla="*/ 7626996 w 8631811"/>
              <a:gd name="connsiteY57" fmla="*/ 1078937 h 5599020"/>
              <a:gd name="connsiteX58" fmla="*/ 7657072 w 8631811"/>
              <a:gd name="connsiteY58" fmla="*/ 1038876 h 5599020"/>
              <a:gd name="connsiteX59" fmla="*/ 7687328 w 8631811"/>
              <a:gd name="connsiteY59" fmla="*/ 999035 h 5599020"/>
              <a:gd name="connsiteX60" fmla="*/ 7717771 w 8631811"/>
              <a:gd name="connsiteY60" fmla="*/ 959419 h 5599020"/>
              <a:gd name="connsiteX61" fmla="*/ 7748407 w 8631811"/>
              <a:gd name="connsiteY61" fmla="*/ 920037 h 5599020"/>
              <a:gd name="connsiteX62" fmla="*/ 7779240 w 8631811"/>
              <a:gd name="connsiteY62" fmla="*/ 880894 h 5599020"/>
              <a:gd name="connsiteX63" fmla="*/ 7810278 w 8631811"/>
              <a:gd name="connsiteY63" fmla="*/ 841997 h 5599020"/>
              <a:gd name="connsiteX64" fmla="*/ 7841525 w 8631811"/>
              <a:gd name="connsiteY64" fmla="*/ 803354 h 5599020"/>
              <a:gd name="connsiteX65" fmla="*/ 7872989 w 8631811"/>
              <a:gd name="connsiteY65" fmla="*/ 764970 h 5599020"/>
              <a:gd name="connsiteX66" fmla="*/ 7904675 w 8631811"/>
              <a:gd name="connsiteY66" fmla="*/ 726853 h 5599020"/>
              <a:gd name="connsiteX67" fmla="*/ 7936588 w 8631811"/>
              <a:gd name="connsiteY67" fmla="*/ 689010 h 5599020"/>
              <a:gd name="connsiteX68" fmla="*/ 7968735 w 8631811"/>
              <a:gd name="connsiteY68" fmla="*/ 651447 h 5599020"/>
              <a:gd name="connsiteX69" fmla="*/ 8001122 w 8631811"/>
              <a:gd name="connsiteY69" fmla="*/ 614171 h 5599020"/>
              <a:gd name="connsiteX70" fmla="*/ 8033755 w 8631811"/>
              <a:gd name="connsiteY70" fmla="*/ 577189 h 5599020"/>
              <a:gd name="connsiteX71" fmla="*/ 8066638 w 8631811"/>
              <a:gd name="connsiteY71" fmla="*/ 540507 h 5599020"/>
              <a:gd name="connsiteX72" fmla="*/ 8099780 w 8631811"/>
              <a:gd name="connsiteY72" fmla="*/ 504132 h 5599020"/>
              <a:gd name="connsiteX73" fmla="*/ 8133184 w 8631811"/>
              <a:gd name="connsiteY73" fmla="*/ 468072 h 5599020"/>
              <a:gd name="connsiteX74" fmla="*/ 8166858 w 8631811"/>
              <a:gd name="connsiteY74" fmla="*/ 432332 h 5599020"/>
              <a:gd name="connsiteX75" fmla="*/ 8200807 w 8631811"/>
              <a:gd name="connsiteY75" fmla="*/ 396920 h 5599020"/>
              <a:gd name="connsiteX76" fmla="*/ 8235037 w 8631811"/>
              <a:gd name="connsiteY76" fmla="*/ 361843 h 5599020"/>
              <a:gd name="connsiteX77" fmla="*/ 8269554 w 8631811"/>
              <a:gd name="connsiteY77" fmla="*/ 327107 h 5599020"/>
              <a:gd name="connsiteX78" fmla="*/ 8304364 w 8631811"/>
              <a:gd name="connsiteY78" fmla="*/ 292718 h 5599020"/>
              <a:gd name="connsiteX79" fmla="*/ 8339473 w 8631811"/>
              <a:gd name="connsiteY79" fmla="*/ 258685 h 5599020"/>
              <a:gd name="connsiteX80" fmla="*/ 8374886 w 8631811"/>
              <a:gd name="connsiteY80" fmla="*/ 225013 h 5599020"/>
              <a:gd name="connsiteX81" fmla="*/ 8410611 w 8631811"/>
              <a:gd name="connsiteY81" fmla="*/ 191709 h 5599020"/>
              <a:gd name="connsiteX82" fmla="*/ 8446651 w 8631811"/>
              <a:gd name="connsiteY82" fmla="*/ 158780 h 5599020"/>
              <a:gd name="connsiteX83" fmla="*/ 8483015 w 8631811"/>
              <a:gd name="connsiteY83" fmla="*/ 126233 h 5599020"/>
              <a:gd name="connsiteX84" fmla="*/ 8519706 w 8631811"/>
              <a:gd name="connsiteY84" fmla="*/ 94075 h 5599020"/>
              <a:gd name="connsiteX85" fmla="*/ 8556732 w 8631811"/>
              <a:gd name="connsiteY85" fmla="*/ 62312 h 5599020"/>
              <a:gd name="connsiteX86" fmla="*/ 8594098 w 8631811"/>
              <a:gd name="connsiteY86" fmla="*/ 30951 h 5599020"/>
              <a:gd name="connsiteX87" fmla="*/ 8631811 w 8631811"/>
              <a:gd name="connsiteY87" fmla="*/ 0 h 5599020"/>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82192 w 8631811"/>
              <a:gd name="connsiteY3" fmla="*/ 5550657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55902"/>
              <a:gd name="connsiteX1" fmla="*/ 510 w 8631811"/>
              <a:gd name="connsiteY1" fmla="*/ 0 h 5655902"/>
              <a:gd name="connsiteX2" fmla="*/ 510 w 8631811"/>
              <a:gd name="connsiteY2" fmla="*/ 5593952 h 5655902"/>
              <a:gd name="connsiteX3" fmla="*/ 4362155 w 8631811"/>
              <a:gd name="connsiteY3" fmla="*/ 5654487 h 5655902"/>
              <a:gd name="connsiteX4" fmla="*/ 4453498 w 8631811"/>
              <a:gd name="connsiteY4" fmla="*/ 5565111 h 5655902"/>
              <a:gd name="connsiteX5" fmla="*/ 4486270 w 8631811"/>
              <a:gd name="connsiteY5" fmla="*/ 5536556 h 5655902"/>
              <a:gd name="connsiteX6" fmla="*/ 4518701 w 8631811"/>
              <a:gd name="connsiteY6" fmla="*/ 5507747 h 5655902"/>
              <a:gd name="connsiteX7" fmla="*/ 4550797 w 8631811"/>
              <a:gd name="connsiteY7" fmla="*/ 5478687 h 5655902"/>
              <a:gd name="connsiteX8" fmla="*/ 4582564 w 8631811"/>
              <a:gd name="connsiteY8" fmla="*/ 5449380 h 5655902"/>
              <a:gd name="connsiteX9" fmla="*/ 4614010 w 8631811"/>
              <a:gd name="connsiteY9" fmla="*/ 5419830 h 5655902"/>
              <a:gd name="connsiteX10" fmla="*/ 4645139 w 8631811"/>
              <a:gd name="connsiteY10" fmla="*/ 5390040 h 5655902"/>
              <a:gd name="connsiteX11" fmla="*/ 4675959 w 8631811"/>
              <a:gd name="connsiteY11" fmla="*/ 5360014 h 5655902"/>
              <a:gd name="connsiteX12" fmla="*/ 4706476 w 8631811"/>
              <a:gd name="connsiteY12" fmla="*/ 5329755 h 5655902"/>
              <a:gd name="connsiteX13" fmla="*/ 4736695 w 8631811"/>
              <a:gd name="connsiteY13" fmla="*/ 5299266 h 5655902"/>
              <a:gd name="connsiteX14" fmla="*/ 4766625 w 8631811"/>
              <a:gd name="connsiteY14" fmla="*/ 5268551 h 5655902"/>
              <a:gd name="connsiteX15" fmla="*/ 4796270 w 8631811"/>
              <a:gd name="connsiteY15" fmla="*/ 5237614 h 5655902"/>
              <a:gd name="connsiteX16" fmla="*/ 4825637 w 8631811"/>
              <a:gd name="connsiteY16" fmla="*/ 5206458 h 5655902"/>
              <a:gd name="connsiteX17" fmla="*/ 4854733 w 8631811"/>
              <a:gd name="connsiteY17" fmla="*/ 5175087 h 5655902"/>
              <a:gd name="connsiteX18" fmla="*/ 4883564 w 8631811"/>
              <a:gd name="connsiteY18" fmla="*/ 5143504 h 5655902"/>
              <a:gd name="connsiteX19" fmla="*/ 4912136 w 8631811"/>
              <a:gd name="connsiteY19" fmla="*/ 5111713 h 5655902"/>
              <a:gd name="connsiteX20" fmla="*/ 4940455 w 8631811"/>
              <a:gd name="connsiteY20" fmla="*/ 5079717 h 5655902"/>
              <a:gd name="connsiteX21" fmla="*/ 4968528 w 8631811"/>
              <a:gd name="connsiteY21" fmla="*/ 5047519 h 5655902"/>
              <a:gd name="connsiteX22" fmla="*/ 4996362 w 8631811"/>
              <a:gd name="connsiteY22" fmla="*/ 5015124 h 5655902"/>
              <a:gd name="connsiteX23" fmla="*/ 5023962 w 8631811"/>
              <a:gd name="connsiteY23" fmla="*/ 4982535 h 5655902"/>
              <a:gd name="connsiteX24" fmla="*/ 5051334 w 8631811"/>
              <a:gd name="connsiteY24" fmla="*/ 4949755 h 5655902"/>
              <a:gd name="connsiteX25" fmla="*/ 5078486 w 8631811"/>
              <a:gd name="connsiteY25" fmla="*/ 4916787 h 5655902"/>
              <a:gd name="connsiteX26" fmla="*/ 5105424 w 8631811"/>
              <a:gd name="connsiteY26" fmla="*/ 4883636 h 5655902"/>
              <a:gd name="connsiteX27" fmla="*/ 5132154 w 8631811"/>
              <a:gd name="connsiteY27" fmla="*/ 4850305 h 5655902"/>
              <a:gd name="connsiteX28" fmla="*/ 5158681 w 8631811"/>
              <a:gd name="connsiteY28" fmla="*/ 4816797 h 5655902"/>
              <a:gd name="connsiteX29" fmla="*/ 5211157 w 8631811"/>
              <a:gd name="connsiteY29" fmla="*/ 4749265 h 5655902"/>
              <a:gd name="connsiteX30" fmla="*/ 5262901 w 8631811"/>
              <a:gd name="connsiteY30" fmla="*/ 4681068 h 5655902"/>
              <a:gd name="connsiteX31" fmla="*/ 5313965 w 8631811"/>
              <a:gd name="connsiteY31" fmla="*/ 4612234 h 5655902"/>
              <a:gd name="connsiteX32" fmla="*/ 5364399 w 8631811"/>
              <a:gd name="connsiteY32" fmla="*/ 4542793 h 5655902"/>
              <a:gd name="connsiteX33" fmla="*/ 5414255 w 8631811"/>
              <a:gd name="connsiteY33" fmla="*/ 4472771 h 5655902"/>
              <a:gd name="connsiteX34" fmla="*/ 5463582 w 8631811"/>
              <a:gd name="connsiteY34" fmla="*/ 4402196 h 5655902"/>
              <a:gd name="connsiteX35" fmla="*/ 5512432 w 8631811"/>
              <a:gd name="connsiteY35" fmla="*/ 4331098 h 5655902"/>
              <a:gd name="connsiteX36" fmla="*/ 5560854 w 8631811"/>
              <a:gd name="connsiteY36" fmla="*/ 4259503 h 5655902"/>
              <a:gd name="connsiteX37" fmla="*/ 5608901 w 8631811"/>
              <a:gd name="connsiteY37" fmla="*/ 4187441 h 5655902"/>
              <a:gd name="connsiteX38" fmla="*/ 5680377 w 8631811"/>
              <a:gd name="connsiteY38" fmla="*/ 4078531 h 5655902"/>
              <a:gd name="connsiteX39" fmla="*/ 5751291 w 8631811"/>
              <a:gd name="connsiteY39" fmla="*/ 3968727 h 5655902"/>
              <a:gd name="connsiteX40" fmla="*/ 5868700 w 8631811"/>
              <a:gd name="connsiteY40" fmla="*/ 3783989 h 5655902"/>
              <a:gd name="connsiteX41" fmla="*/ 6198426 w 8631811"/>
              <a:gd name="connsiteY41" fmla="*/ 3258640 h 5655902"/>
              <a:gd name="connsiteX42" fmla="*/ 6294647 w 8631811"/>
              <a:gd name="connsiteY42" fmla="*/ 3107321 h 5655902"/>
              <a:gd name="connsiteX43" fmla="*/ 6367867 w 8631811"/>
              <a:gd name="connsiteY43" fmla="*/ 2993735 h 5655902"/>
              <a:gd name="connsiteX44" fmla="*/ 6448414 w 8631811"/>
              <a:gd name="connsiteY44" fmla="*/ 2869788 h 5655902"/>
              <a:gd name="connsiteX45" fmla="*/ 6559384 w 8631811"/>
              <a:gd name="connsiteY45" fmla="*/ 2696807 h 5655902"/>
              <a:gd name="connsiteX46" fmla="*/ 6971450 w 8631811"/>
              <a:gd name="connsiteY46" fmla="*/ 2045274 h 5655902"/>
              <a:gd name="connsiteX47" fmla="*/ 7081972 w 8631811"/>
              <a:gd name="connsiteY47" fmla="*/ 1872743 h 5655902"/>
              <a:gd name="connsiteX48" fmla="*/ 7165496 w 8631811"/>
              <a:gd name="connsiteY48" fmla="*/ 1744202 h 5655902"/>
              <a:gd name="connsiteX49" fmla="*/ 7221568 w 8631811"/>
              <a:gd name="connsiteY49" fmla="*/ 1659017 h 5655902"/>
              <a:gd name="connsiteX50" fmla="*/ 7278006 w 8631811"/>
              <a:gd name="connsiteY50" fmla="*/ 1574303 h 5655902"/>
              <a:gd name="connsiteX51" fmla="*/ 7334860 w 8631811"/>
              <a:gd name="connsiteY51" fmla="*/ 1490113 h 5655902"/>
              <a:gd name="connsiteX52" fmla="*/ 7392174 w 8631811"/>
              <a:gd name="connsiteY52" fmla="*/ 1406503 h 5655902"/>
              <a:gd name="connsiteX53" fmla="*/ 7449998 w 8631811"/>
              <a:gd name="connsiteY53" fmla="*/ 1323526 h 5655902"/>
              <a:gd name="connsiteX54" fmla="*/ 7508378 w 8631811"/>
              <a:gd name="connsiteY54" fmla="*/ 1241237 h 5655902"/>
              <a:gd name="connsiteX55" fmla="*/ 7567361 w 8631811"/>
              <a:gd name="connsiteY55" fmla="*/ 1159689 h 5655902"/>
              <a:gd name="connsiteX56" fmla="*/ 7597094 w 8631811"/>
              <a:gd name="connsiteY56" fmla="*/ 1119210 h 5655902"/>
              <a:gd name="connsiteX57" fmla="*/ 7626996 w 8631811"/>
              <a:gd name="connsiteY57" fmla="*/ 1078937 h 5655902"/>
              <a:gd name="connsiteX58" fmla="*/ 7657072 w 8631811"/>
              <a:gd name="connsiteY58" fmla="*/ 1038876 h 5655902"/>
              <a:gd name="connsiteX59" fmla="*/ 7687328 w 8631811"/>
              <a:gd name="connsiteY59" fmla="*/ 999035 h 5655902"/>
              <a:gd name="connsiteX60" fmla="*/ 7717771 w 8631811"/>
              <a:gd name="connsiteY60" fmla="*/ 959419 h 5655902"/>
              <a:gd name="connsiteX61" fmla="*/ 7748407 w 8631811"/>
              <a:gd name="connsiteY61" fmla="*/ 920037 h 5655902"/>
              <a:gd name="connsiteX62" fmla="*/ 7779240 w 8631811"/>
              <a:gd name="connsiteY62" fmla="*/ 880894 h 5655902"/>
              <a:gd name="connsiteX63" fmla="*/ 7810278 w 8631811"/>
              <a:gd name="connsiteY63" fmla="*/ 841997 h 5655902"/>
              <a:gd name="connsiteX64" fmla="*/ 7841525 w 8631811"/>
              <a:gd name="connsiteY64" fmla="*/ 803354 h 5655902"/>
              <a:gd name="connsiteX65" fmla="*/ 7872989 w 8631811"/>
              <a:gd name="connsiteY65" fmla="*/ 764970 h 5655902"/>
              <a:gd name="connsiteX66" fmla="*/ 7904675 w 8631811"/>
              <a:gd name="connsiteY66" fmla="*/ 726853 h 5655902"/>
              <a:gd name="connsiteX67" fmla="*/ 7936588 w 8631811"/>
              <a:gd name="connsiteY67" fmla="*/ 689010 h 5655902"/>
              <a:gd name="connsiteX68" fmla="*/ 7968735 w 8631811"/>
              <a:gd name="connsiteY68" fmla="*/ 651447 h 5655902"/>
              <a:gd name="connsiteX69" fmla="*/ 8001122 w 8631811"/>
              <a:gd name="connsiteY69" fmla="*/ 614171 h 5655902"/>
              <a:gd name="connsiteX70" fmla="*/ 8033755 w 8631811"/>
              <a:gd name="connsiteY70" fmla="*/ 577189 h 5655902"/>
              <a:gd name="connsiteX71" fmla="*/ 8066638 w 8631811"/>
              <a:gd name="connsiteY71" fmla="*/ 540507 h 5655902"/>
              <a:gd name="connsiteX72" fmla="*/ 8099780 w 8631811"/>
              <a:gd name="connsiteY72" fmla="*/ 504132 h 5655902"/>
              <a:gd name="connsiteX73" fmla="*/ 8133184 w 8631811"/>
              <a:gd name="connsiteY73" fmla="*/ 468072 h 5655902"/>
              <a:gd name="connsiteX74" fmla="*/ 8166858 w 8631811"/>
              <a:gd name="connsiteY74" fmla="*/ 432332 h 5655902"/>
              <a:gd name="connsiteX75" fmla="*/ 8200807 w 8631811"/>
              <a:gd name="connsiteY75" fmla="*/ 396920 h 5655902"/>
              <a:gd name="connsiteX76" fmla="*/ 8235037 w 8631811"/>
              <a:gd name="connsiteY76" fmla="*/ 361843 h 5655902"/>
              <a:gd name="connsiteX77" fmla="*/ 8269554 w 8631811"/>
              <a:gd name="connsiteY77" fmla="*/ 327107 h 5655902"/>
              <a:gd name="connsiteX78" fmla="*/ 8304364 w 8631811"/>
              <a:gd name="connsiteY78" fmla="*/ 292718 h 5655902"/>
              <a:gd name="connsiteX79" fmla="*/ 8339473 w 8631811"/>
              <a:gd name="connsiteY79" fmla="*/ 258685 h 5655902"/>
              <a:gd name="connsiteX80" fmla="*/ 8374886 w 8631811"/>
              <a:gd name="connsiteY80" fmla="*/ 225013 h 5655902"/>
              <a:gd name="connsiteX81" fmla="*/ 8410611 w 8631811"/>
              <a:gd name="connsiteY81" fmla="*/ 191709 h 5655902"/>
              <a:gd name="connsiteX82" fmla="*/ 8446651 w 8631811"/>
              <a:gd name="connsiteY82" fmla="*/ 158780 h 5655902"/>
              <a:gd name="connsiteX83" fmla="*/ 8483015 w 8631811"/>
              <a:gd name="connsiteY83" fmla="*/ 126233 h 5655902"/>
              <a:gd name="connsiteX84" fmla="*/ 8519706 w 8631811"/>
              <a:gd name="connsiteY84" fmla="*/ 94075 h 5655902"/>
              <a:gd name="connsiteX85" fmla="*/ 8556732 w 8631811"/>
              <a:gd name="connsiteY85" fmla="*/ 62312 h 5655902"/>
              <a:gd name="connsiteX86" fmla="*/ 8594098 w 8631811"/>
              <a:gd name="connsiteY86" fmla="*/ 30951 h 5655902"/>
              <a:gd name="connsiteX87" fmla="*/ 8631811 w 8631811"/>
              <a:gd name="connsiteY87" fmla="*/ 0 h 5655902"/>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8631811" h="5609155">
                <a:moveTo>
                  <a:pt x="8631811" y="0"/>
                </a:moveTo>
                <a:lnTo>
                  <a:pt x="510" y="0"/>
                </a:lnTo>
                <a:cubicBezTo>
                  <a:pt x="-1254" y="1862614"/>
                  <a:pt x="2274" y="3731338"/>
                  <a:pt x="510" y="5593952"/>
                </a:cubicBezTo>
                <a:cubicBezTo>
                  <a:pt x="2341" y="5593771"/>
                  <a:pt x="4397374" y="5618022"/>
                  <a:pt x="4415084" y="5605626"/>
                </a:cubicBezTo>
                <a:cubicBezTo>
                  <a:pt x="4394366" y="5618587"/>
                  <a:pt x="4458338" y="5576581"/>
                  <a:pt x="4453498" y="5565111"/>
                </a:cubicBezTo>
                <a:cubicBezTo>
                  <a:pt x="4458213" y="5577087"/>
                  <a:pt x="4475346" y="5546074"/>
                  <a:pt x="4486270" y="5536556"/>
                </a:cubicBezTo>
                <a:lnTo>
                  <a:pt x="4518701" y="5507747"/>
                </a:lnTo>
                <a:lnTo>
                  <a:pt x="4550797" y="5478687"/>
                </a:lnTo>
                <a:lnTo>
                  <a:pt x="4582564" y="5449380"/>
                </a:lnTo>
                <a:lnTo>
                  <a:pt x="4614010" y="5419830"/>
                </a:lnTo>
                <a:lnTo>
                  <a:pt x="4645139" y="5390040"/>
                </a:lnTo>
                <a:lnTo>
                  <a:pt x="4675959" y="5360014"/>
                </a:lnTo>
                <a:lnTo>
                  <a:pt x="4706476" y="5329755"/>
                </a:lnTo>
                <a:lnTo>
                  <a:pt x="4736695" y="5299266"/>
                </a:lnTo>
                <a:lnTo>
                  <a:pt x="4766625" y="5268551"/>
                </a:lnTo>
                <a:lnTo>
                  <a:pt x="4796270" y="5237614"/>
                </a:lnTo>
                <a:lnTo>
                  <a:pt x="4825637" y="5206458"/>
                </a:lnTo>
                <a:lnTo>
                  <a:pt x="4854733" y="5175087"/>
                </a:lnTo>
                <a:lnTo>
                  <a:pt x="4883564" y="5143504"/>
                </a:lnTo>
                <a:lnTo>
                  <a:pt x="4912136" y="5111713"/>
                </a:lnTo>
                <a:lnTo>
                  <a:pt x="4940455" y="5079717"/>
                </a:lnTo>
                <a:lnTo>
                  <a:pt x="4968528" y="5047519"/>
                </a:lnTo>
                <a:lnTo>
                  <a:pt x="4996362" y="5015124"/>
                </a:lnTo>
                <a:lnTo>
                  <a:pt x="5023962" y="4982535"/>
                </a:lnTo>
                <a:lnTo>
                  <a:pt x="5051334" y="4949755"/>
                </a:lnTo>
                <a:lnTo>
                  <a:pt x="5078486" y="4916787"/>
                </a:lnTo>
                <a:lnTo>
                  <a:pt x="5105424" y="4883636"/>
                </a:lnTo>
                <a:lnTo>
                  <a:pt x="5132154" y="4850305"/>
                </a:lnTo>
                <a:lnTo>
                  <a:pt x="5158681" y="4816797"/>
                </a:lnTo>
                <a:lnTo>
                  <a:pt x="5211157" y="4749265"/>
                </a:lnTo>
                <a:lnTo>
                  <a:pt x="5262901" y="4681068"/>
                </a:lnTo>
                <a:lnTo>
                  <a:pt x="5313965" y="4612234"/>
                </a:lnTo>
                <a:lnTo>
                  <a:pt x="5364399" y="4542793"/>
                </a:lnTo>
                <a:lnTo>
                  <a:pt x="5414255" y="4472771"/>
                </a:lnTo>
                <a:lnTo>
                  <a:pt x="5463582" y="4402196"/>
                </a:lnTo>
                <a:lnTo>
                  <a:pt x="5512432" y="4331098"/>
                </a:lnTo>
                <a:lnTo>
                  <a:pt x="5560854" y="4259503"/>
                </a:lnTo>
                <a:lnTo>
                  <a:pt x="5608901" y="4187441"/>
                </a:lnTo>
                <a:lnTo>
                  <a:pt x="5680377" y="4078531"/>
                </a:lnTo>
                <a:lnTo>
                  <a:pt x="5751291" y="3968727"/>
                </a:lnTo>
                <a:lnTo>
                  <a:pt x="5868700" y="3783989"/>
                </a:lnTo>
                <a:lnTo>
                  <a:pt x="6198426" y="3258640"/>
                </a:lnTo>
                <a:lnTo>
                  <a:pt x="6294647" y="3107321"/>
                </a:lnTo>
                <a:lnTo>
                  <a:pt x="6367867" y="2993735"/>
                </a:lnTo>
                <a:lnTo>
                  <a:pt x="6448414" y="2869788"/>
                </a:lnTo>
                <a:lnTo>
                  <a:pt x="6559384" y="2696807"/>
                </a:lnTo>
                <a:lnTo>
                  <a:pt x="6971450" y="2045274"/>
                </a:lnTo>
                <a:lnTo>
                  <a:pt x="7081972" y="1872743"/>
                </a:lnTo>
                <a:lnTo>
                  <a:pt x="7165496" y="1744202"/>
                </a:lnTo>
                <a:lnTo>
                  <a:pt x="7221568" y="1659017"/>
                </a:lnTo>
                <a:lnTo>
                  <a:pt x="7278006" y="1574303"/>
                </a:lnTo>
                <a:lnTo>
                  <a:pt x="7334860" y="1490113"/>
                </a:lnTo>
                <a:lnTo>
                  <a:pt x="7392174" y="1406503"/>
                </a:lnTo>
                <a:lnTo>
                  <a:pt x="7449998" y="1323526"/>
                </a:lnTo>
                <a:lnTo>
                  <a:pt x="7508378" y="1241237"/>
                </a:lnTo>
                <a:lnTo>
                  <a:pt x="7567361" y="1159689"/>
                </a:lnTo>
                <a:lnTo>
                  <a:pt x="7597094" y="1119210"/>
                </a:lnTo>
                <a:lnTo>
                  <a:pt x="7626996" y="1078937"/>
                </a:lnTo>
                <a:lnTo>
                  <a:pt x="7657072" y="1038876"/>
                </a:lnTo>
                <a:lnTo>
                  <a:pt x="7687328" y="999035"/>
                </a:lnTo>
                <a:lnTo>
                  <a:pt x="7717771" y="959419"/>
                </a:lnTo>
                <a:lnTo>
                  <a:pt x="7748407" y="920037"/>
                </a:lnTo>
                <a:lnTo>
                  <a:pt x="7779240" y="880894"/>
                </a:lnTo>
                <a:lnTo>
                  <a:pt x="7810278" y="841997"/>
                </a:lnTo>
                <a:lnTo>
                  <a:pt x="7841525" y="803354"/>
                </a:lnTo>
                <a:lnTo>
                  <a:pt x="7872989" y="764970"/>
                </a:lnTo>
                <a:lnTo>
                  <a:pt x="7904675" y="726853"/>
                </a:lnTo>
                <a:lnTo>
                  <a:pt x="7936588" y="689010"/>
                </a:lnTo>
                <a:lnTo>
                  <a:pt x="7968735" y="651447"/>
                </a:lnTo>
                <a:lnTo>
                  <a:pt x="8001122" y="614171"/>
                </a:lnTo>
                <a:lnTo>
                  <a:pt x="8033755" y="577189"/>
                </a:lnTo>
                <a:lnTo>
                  <a:pt x="8066638" y="540507"/>
                </a:lnTo>
                <a:lnTo>
                  <a:pt x="8099780" y="504132"/>
                </a:lnTo>
                <a:lnTo>
                  <a:pt x="8133184" y="468072"/>
                </a:lnTo>
                <a:lnTo>
                  <a:pt x="8166858" y="432332"/>
                </a:lnTo>
                <a:lnTo>
                  <a:pt x="8200807" y="396920"/>
                </a:lnTo>
                <a:lnTo>
                  <a:pt x="8235037" y="361843"/>
                </a:lnTo>
                <a:lnTo>
                  <a:pt x="8269554" y="327107"/>
                </a:lnTo>
                <a:lnTo>
                  <a:pt x="8304364" y="292718"/>
                </a:lnTo>
                <a:lnTo>
                  <a:pt x="8339473" y="258685"/>
                </a:lnTo>
                <a:lnTo>
                  <a:pt x="8374886" y="225013"/>
                </a:lnTo>
                <a:lnTo>
                  <a:pt x="8410611" y="191709"/>
                </a:lnTo>
                <a:lnTo>
                  <a:pt x="8446651" y="158780"/>
                </a:lnTo>
                <a:lnTo>
                  <a:pt x="8483015" y="126233"/>
                </a:lnTo>
                <a:lnTo>
                  <a:pt x="8519706" y="94075"/>
                </a:lnTo>
                <a:lnTo>
                  <a:pt x="8556732" y="62312"/>
                </a:lnTo>
                <a:lnTo>
                  <a:pt x="8594098" y="30951"/>
                </a:lnTo>
                <a:lnTo>
                  <a:pt x="8631811" y="0"/>
                </a:lnTo>
                <a:close/>
              </a:path>
            </a:pathLst>
          </a:custGeom>
          <a:solidFill>
            <a:schemeClr val="bg1"/>
          </a:solidFill>
        </p:spPr>
        <p:txBody>
          <a:bodyPr wrap="square" lIns="0" tIns="0" rIns="0" bIns="0" rtlCol="0"/>
          <a:lstStyle/>
          <a:p>
            <a:endParaRPr/>
          </a:p>
        </p:txBody>
      </p:sp>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C1E0F7"/>
                </a:solidFill>
                <a:latin typeface="Avenir Next LT Pro Demi" panose="020B0704020202020204" pitchFamily="34" charset="0"/>
              </a:rPr>
              <a:pPr algn="r"/>
              <a:t>‹#›</a:t>
            </a:fld>
            <a:endParaRPr lang="en-GB">
              <a:solidFill>
                <a:srgbClr val="C1E0F7"/>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8C418250-AB36-36FB-9270-9CB45A480B17}"/>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9" name="Titel 1">
            <a:extLst>
              <a:ext uri="{FF2B5EF4-FFF2-40B4-BE49-F238E27FC236}">
                <a16:creationId xmlns:a16="http://schemas.microsoft.com/office/drawing/2014/main" id="{0102B9D4-0563-7995-9EA1-0B93159F10C8}"/>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20" name="object 2">
            <a:extLst>
              <a:ext uri="{FF2B5EF4-FFF2-40B4-BE49-F238E27FC236}">
                <a16:creationId xmlns:a16="http://schemas.microsoft.com/office/drawing/2014/main" id="{8CBE8946-2013-EC5E-27B5-64858DA2C6AA}"/>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2" name="object 2">
            <a:extLst>
              <a:ext uri="{FF2B5EF4-FFF2-40B4-BE49-F238E27FC236}">
                <a16:creationId xmlns:a16="http://schemas.microsoft.com/office/drawing/2014/main" id="{3674D779-7676-DE47-8056-62354B48B58D}"/>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7795727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ontentPage+Image">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0E57A8AC-BF8C-EC18-6661-813599C8D84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auto">
          <a:xfrm>
            <a:off x="6273800" y="0"/>
            <a:ext cx="5948391" cy="6883390"/>
          </a:xfrm>
          <a:prstGeom prst="rect">
            <a:avLst/>
          </a:prstGeom>
          <a:noFill/>
          <a:extLst>
            <a:ext uri="{909E8E84-426E-40DD-AFC4-6F175D3DCCD1}">
              <a14:hiddenFill xmlns:a14="http://schemas.microsoft.com/office/drawing/2010/main">
                <a:solidFill>
                  <a:srgbClr val="FFFFFF"/>
                </a:solidFill>
              </a14:hiddenFill>
            </a:ext>
          </a:extLst>
        </p:spPr>
      </p:pic>
      <p:sp>
        <p:nvSpPr>
          <p:cNvPr id="21" name="object 2">
            <a:extLst>
              <a:ext uri="{FF2B5EF4-FFF2-40B4-BE49-F238E27FC236}">
                <a16:creationId xmlns:a16="http://schemas.microsoft.com/office/drawing/2014/main" id="{7FB5D4F0-26ED-CC75-D041-B96DBFB98F5E}"/>
              </a:ext>
            </a:extLst>
          </p:cNvPr>
          <p:cNvSpPr/>
          <p:nvPr userDrawn="1"/>
        </p:nvSpPr>
        <p:spPr>
          <a:xfrm>
            <a:off x="-722" y="-15"/>
            <a:ext cx="12222913" cy="6883405"/>
          </a:xfrm>
          <a:custGeom>
            <a:avLst/>
            <a:gdLst>
              <a:gd name="connsiteX0" fmla="*/ 8631301 w 8631301"/>
              <a:gd name="connsiteY0" fmla="*/ 0 h 6687210"/>
              <a:gd name="connsiteX1" fmla="*/ 0 w 8631301"/>
              <a:gd name="connsiteY1" fmla="*/ 0 h 6687210"/>
              <a:gd name="connsiteX2" fmla="*/ 0 w 8631301"/>
              <a:gd name="connsiteY2" fmla="*/ 5367969 h 6687210"/>
              <a:gd name="connsiteX3" fmla="*/ 1556981 w 8631301"/>
              <a:gd name="connsiteY3" fmla="*/ 6687210 h 6687210"/>
              <a:gd name="connsiteX4" fmla="*/ 1622552 w 8631301"/>
              <a:gd name="connsiteY4" fmla="*/ 6680790 h 6687210"/>
              <a:gd name="connsiteX5" fmla="*/ 1687395 w 8631301"/>
              <a:gd name="connsiteY5" fmla="*/ 6673902 h 6687210"/>
              <a:gd name="connsiteX6" fmla="*/ 1751517 w 8631301"/>
              <a:gd name="connsiteY6" fmla="*/ 6666549 h 6687210"/>
              <a:gd name="connsiteX7" fmla="*/ 1814923 w 8631301"/>
              <a:gd name="connsiteY7" fmla="*/ 6658735 h 6687210"/>
              <a:gd name="connsiteX8" fmla="*/ 1877621 w 8631301"/>
              <a:gd name="connsiteY8" fmla="*/ 6650463 h 6687210"/>
              <a:gd name="connsiteX9" fmla="*/ 1939616 w 8631301"/>
              <a:gd name="connsiteY9" fmla="*/ 6641737 h 6687210"/>
              <a:gd name="connsiteX10" fmla="*/ 2000915 w 8631301"/>
              <a:gd name="connsiteY10" fmla="*/ 6632561 h 6687210"/>
              <a:gd name="connsiteX11" fmla="*/ 2061524 w 8631301"/>
              <a:gd name="connsiteY11" fmla="*/ 6622937 h 6687210"/>
              <a:gd name="connsiteX12" fmla="*/ 2121449 w 8631301"/>
              <a:gd name="connsiteY12" fmla="*/ 6612869 h 6687210"/>
              <a:gd name="connsiteX13" fmla="*/ 2180698 w 8631301"/>
              <a:gd name="connsiteY13" fmla="*/ 6602362 h 6687210"/>
              <a:gd name="connsiteX14" fmla="*/ 2239276 w 8631301"/>
              <a:gd name="connsiteY14" fmla="*/ 6591417 h 6687210"/>
              <a:gd name="connsiteX15" fmla="*/ 2297189 w 8631301"/>
              <a:gd name="connsiteY15" fmla="*/ 6580040 h 6687210"/>
              <a:gd name="connsiteX16" fmla="*/ 2354444 w 8631301"/>
              <a:gd name="connsiteY16" fmla="*/ 6568233 h 6687210"/>
              <a:gd name="connsiteX17" fmla="*/ 2411048 w 8631301"/>
              <a:gd name="connsiteY17" fmla="*/ 6555999 h 6687210"/>
              <a:gd name="connsiteX18" fmla="*/ 2467006 w 8631301"/>
              <a:gd name="connsiteY18" fmla="*/ 6543344 h 6687210"/>
              <a:gd name="connsiteX19" fmla="*/ 2522325 w 8631301"/>
              <a:gd name="connsiteY19" fmla="*/ 6530269 h 6687210"/>
              <a:gd name="connsiteX20" fmla="*/ 2577011 w 8631301"/>
              <a:gd name="connsiteY20" fmla="*/ 6516778 h 6687210"/>
              <a:gd name="connsiteX21" fmla="*/ 2631071 w 8631301"/>
              <a:gd name="connsiteY21" fmla="*/ 6502876 h 6687210"/>
              <a:gd name="connsiteX22" fmla="*/ 2684511 w 8631301"/>
              <a:gd name="connsiteY22" fmla="*/ 6488565 h 6687210"/>
              <a:gd name="connsiteX23" fmla="*/ 2737336 w 8631301"/>
              <a:gd name="connsiteY23" fmla="*/ 6473849 h 6687210"/>
              <a:gd name="connsiteX24" fmla="*/ 2789555 w 8631301"/>
              <a:gd name="connsiteY24" fmla="*/ 6458731 h 6687210"/>
              <a:gd name="connsiteX25" fmla="*/ 2841173 w 8631301"/>
              <a:gd name="connsiteY25" fmla="*/ 6443216 h 6687210"/>
              <a:gd name="connsiteX26" fmla="*/ 2892195 w 8631301"/>
              <a:gd name="connsiteY26" fmla="*/ 6427305 h 6687210"/>
              <a:gd name="connsiteX27" fmla="*/ 2942630 w 8631301"/>
              <a:gd name="connsiteY27" fmla="*/ 6411004 h 6687210"/>
              <a:gd name="connsiteX28" fmla="*/ 2992482 w 8631301"/>
              <a:gd name="connsiteY28" fmla="*/ 6394316 h 6687210"/>
              <a:gd name="connsiteX29" fmla="*/ 3041759 w 8631301"/>
              <a:gd name="connsiteY29" fmla="*/ 6377243 h 6687210"/>
              <a:gd name="connsiteX30" fmla="*/ 3090466 w 8631301"/>
              <a:gd name="connsiteY30" fmla="*/ 6359791 h 6687210"/>
              <a:gd name="connsiteX31" fmla="*/ 3138610 w 8631301"/>
              <a:gd name="connsiteY31" fmla="*/ 6341961 h 6687210"/>
              <a:gd name="connsiteX32" fmla="*/ 3186198 w 8631301"/>
              <a:gd name="connsiteY32" fmla="*/ 6323757 h 6687210"/>
              <a:gd name="connsiteX33" fmla="*/ 3233235 w 8631301"/>
              <a:gd name="connsiteY33" fmla="*/ 6305184 h 6687210"/>
              <a:gd name="connsiteX34" fmla="*/ 3279728 w 8631301"/>
              <a:gd name="connsiteY34" fmla="*/ 6286245 h 6687210"/>
              <a:gd name="connsiteX35" fmla="*/ 3325684 w 8631301"/>
              <a:gd name="connsiteY35" fmla="*/ 6266942 h 6687210"/>
              <a:gd name="connsiteX36" fmla="*/ 3371108 w 8631301"/>
              <a:gd name="connsiteY36" fmla="*/ 6247281 h 6687210"/>
              <a:gd name="connsiteX37" fmla="*/ 3416007 w 8631301"/>
              <a:gd name="connsiteY37" fmla="*/ 6227263 h 6687210"/>
              <a:gd name="connsiteX38" fmla="*/ 3460387 w 8631301"/>
              <a:gd name="connsiteY38" fmla="*/ 6206893 h 6687210"/>
              <a:gd name="connsiteX39" fmla="*/ 3504255 w 8631301"/>
              <a:gd name="connsiteY39" fmla="*/ 6186174 h 6687210"/>
              <a:gd name="connsiteX40" fmla="*/ 3547617 w 8631301"/>
              <a:gd name="connsiteY40" fmla="*/ 6165110 h 6687210"/>
              <a:gd name="connsiteX41" fmla="*/ 3590480 w 8631301"/>
              <a:gd name="connsiteY41" fmla="*/ 6143704 h 6687210"/>
              <a:gd name="connsiteX42" fmla="*/ 3632849 w 8631301"/>
              <a:gd name="connsiteY42" fmla="*/ 6121960 h 6687210"/>
              <a:gd name="connsiteX43" fmla="*/ 3674731 w 8631301"/>
              <a:gd name="connsiteY43" fmla="*/ 6099881 h 6687210"/>
              <a:gd name="connsiteX44" fmla="*/ 3716133 w 8631301"/>
              <a:gd name="connsiteY44" fmla="*/ 6077471 h 6687210"/>
              <a:gd name="connsiteX45" fmla="*/ 3757060 w 8631301"/>
              <a:gd name="connsiteY45" fmla="*/ 6054733 h 6687210"/>
              <a:gd name="connsiteX46" fmla="*/ 3797519 w 8631301"/>
              <a:gd name="connsiteY46" fmla="*/ 6031671 h 6687210"/>
              <a:gd name="connsiteX47" fmla="*/ 3837517 w 8631301"/>
              <a:gd name="connsiteY47" fmla="*/ 6008288 h 6687210"/>
              <a:gd name="connsiteX48" fmla="*/ 3877059 w 8631301"/>
              <a:gd name="connsiteY48" fmla="*/ 5984588 h 6687210"/>
              <a:gd name="connsiteX49" fmla="*/ 3916152 w 8631301"/>
              <a:gd name="connsiteY49" fmla="*/ 5960574 h 6687210"/>
              <a:gd name="connsiteX50" fmla="*/ 3954803 w 8631301"/>
              <a:gd name="connsiteY50" fmla="*/ 5936250 h 6687210"/>
              <a:gd name="connsiteX51" fmla="*/ 3993018 w 8631301"/>
              <a:gd name="connsiteY51" fmla="*/ 5911619 h 6687210"/>
              <a:gd name="connsiteX52" fmla="*/ 4030802 w 8631301"/>
              <a:gd name="connsiteY52" fmla="*/ 5886685 h 6687210"/>
              <a:gd name="connsiteX53" fmla="*/ 4068163 w 8631301"/>
              <a:gd name="connsiteY53" fmla="*/ 5861452 h 6687210"/>
              <a:gd name="connsiteX54" fmla="*/ 4105107 w 8631301"/>
              <a:gd name="connsiteY54" fmla="*/ 5835922 h 6687210"/>
              <a:gd name="connsiteX55" fmla="*/ 4141640 w 8631301"/>
              <a:gd name="connsiteY55" fmla="*/ 5810100 h 6687210"/>
              <a:gd name="connsiteX56" fmla="*/ 4177768 w 8631301"/>
              <a:gd name="connsiteY56" fmla="*/ 5783988 h 6687210"/>
              <a:gd name="connsiteX57" fmla="*/ 4213498 w 8631301"/>
              <a:gd name="connsiteY57" fmla="*/ 5757591 h 6687210"/>
              <a:gd name="connsiteX58" fmla="*/ 4248836 w 8631301"/>
              <a:gd name="connsiteY58" fmla="*/ 5730912 h 6687210"/>
              <a:gd name="connsiteX59" fmla="*/ 4283788 w 8631301"/>
              <a:gd name="connsiteY59" fmla="*/ 5703955 h 6687210"/>
              <a:gd name="connsiteX60" fmla="*/ 4318361 w 8631301"/>
              <a:gd name="connsiteY60" fmla="*/ 5676722 h 6687210"/>
              <a:gd name="connsiteX61" fmla="*/ 4352561 w 8631301"/>
              <a:gd name="connsiteY61" fmla="*/ 5649218 h 6687210"/>
              <a:gd name="connsiteX62" fmla="*/ 4386395 w 8631301"/>
              <a:gd name="connsiteY62" fmla="*/ 5621446 h 6687210"/>
              <a:gd name="connsiteX63" fmla="*/ 4419869 w 8631301"/>
              <a:gd name="connsiteY63" fmla="*/ 5593409 h 6687210"/>
              <a:gd name="connsiteX64" fmla="*/ 4452988 w 8631301"/>
              <a:gd name="connsiteY64" fmla="*/ 5565111 h 6687210"/>
              <a:gd name="connsiteX65" fmla="*/ 4485760 w 8631301"/>
              <a:gd name="connsiteY65" fmla="*/ 5536556 h 6687210"/>
              <a:gd name="connsiteX66" fmla="*/ 4518191 w 8631301"/>
              <a:gd name="connsiteY66" fmla="*/ 5507747 h 6687210"/>
              <a:gd name="connsiteX67" fmla="*/ 4550287 w 8631301"/>
              <a:gd name="connsiteY67" fmla="*/ 5478687 h 6687210"/>
              <a:gd name="connsiteX68" fmla="*/ 4582054 w 8631301"/>
              <a:gd name="connsiteY68" fmla="*/ 5449380 h 6687210"/>
              <a:gd name="connsiteX69" fmla="*/ 4613500 w 8631301"/>
              <a:gd name="connsiteY69" fmla="*/ 5419830 h 6687210"/>
              <a:gd name="connsiteX70" fmla="*/ 4644629 w 8631301"/>
              <a:gd name="connsiteY70" fmla="*/ 5390040 h 6687210"/>
              <a:gd name="connsiteX71" fmla="*/ 4675449 w 8631301"/>
              <a:gd name="connsiteY71" fmla="*/ 5360014 h 6687210"/>
              <a:gd name="connsiteX72" fmla="*/ 4705966 w 8631301"/>
              <a:gd name="connsiteY72" fmla="*/ 5329755 h 6687210"/>
              <a:gd name="connsiteX73" fmla="*/ 4736185 w 8631301"/>
              <a:gd name="connsiteY73" fmla="*/ 5299266 h 6687210"/>
              <a:gd name="connsiteX74" fmla="*/ 4766115 w 8631301"/>
              <a:gd name="connsiteY74" fmla="*/ 5268551 h 6687210"/>
              <a:gd name="connsiteX75" fmla="*/ 4795760 w 8631301"/>
              <a:gd name="connsiteY75" fmla="*/ 5237614 h 6687210"/>
              <a:gd name="connsiteX76" fmla="*/ 4825127 w 8631301"/>
              <a:gd name="connsiteY76" fmla="*/ 5206458 h 6687210"/>
              <a:gd name="connsiteX77" fmla="*/ 4854223 w 8631301"/>
              <a:gd name="connsiteY77" fmla="*/ 5175087 h 6687210"/>
              <a:gd name="connsiteX78" fmla="*/ 4883054 w 8631301"/>
              <a:gd name="connsiteY78" fmla="*/ 5143504 h 6687210"/>
              <a:gd name="connsiteX79" fmla="*/ 4911626 w 8631301"/>
              <a:gd name="connsiteY79" fmla="*/ 5111713 h 6687210"/>
              <a:gd name="connsiteX80" fmla="*/ 4939945 w 8631301"/>
              <a:gd name="connsiteY80" fmla="*/ 5079717 h 6687210"/>
              <a:gd name="connsiteX81" fmla="*/ 4968018 w 8631301"/>
              <a:gd name="connsiteY81" fmla="*/ 5047519 h 6687210"/>
              <a:gd name="connsiteX82" fmla="*/ 4995852 w 8631301"/>
              <a:gd name="connsiteY82" fmla="*/ 5015124 h 6687210"/>
              <a:gd name="connsiteX83" fmla="*/ 5023452 w 8631301"/>
              <a:gd name="connsiteY83" fmla="*/ 4982535 h 6687210"/>
              <a:gd name="connsiteX84" fmla="*/ 5050824 w 8631301"/>
              <a:gd name="connsiteY84" fmla="*/ 4949755 h 6687210"/>
              <a:gd name="connsiteX85" fmla="*/ 5077976 w 8631301"/>
              <a:gd name="connsiteY85" fmla="*/ 4916787 h 6687210"/>
              <a:gd name="connsiteX86" fmla="*/ 5104914 w 8631301"/>
              <a:gd name="connsiteY86" fmla="*/ 4883636 h 6687210"/>
              <a:gd name="connsiteX87" fmla="*/ 5131644 w 8631301"/>
              <a:gd name="connsiteY87" fmla="*/ 4850305 h 6687210"/>
              <a:gd name="connsiteX88" fmla="*/ 5158171 w 8631301"/>
              <a:gd name="connsiteY88" fmla="*/ 4816797 h 6687210"/>
              <a:gd name="connsiteX89" fmla="*/ 5210647 w 8631301"/>
              <a:gd name="connsiteY89" fmla="*/ 4749265 h 6687210"/>
              <a:gd name="connsiteX90" fmla="*/ 5262391 w 8631301"/>
              <a:gd name="connsiteY90" fmla="*/ 4681068 h 6687210"/>
              <a:gd name="connsiteX91" fmla="*/ 5313455 w 8631301"/>
              <a:gd name="connsiteY91" fmla="*/ 4612234 h 6687210"/>
              <a:gd name="connsiteX92" fmla="*/ 5363889 w 8631301"/>
              <a:gd name="connsiteY92" fmla="*/ 4542793 h 6687210"/>
              <a:gd name="connsiteX93" fmla="*/ 5413745 w 8631301"/>
              <a:gd name="connsiteY93" fmla="*/ 4472771 h 6687210"/>
              <a:gd name="connsiteX94" fmla="*/ 5463072 w 8631301"/>
              <a:gd name="connsiteY94" fmla="*/ 4402196 h 6687210"/>
              <a:gd name="connsiteX95" fmla="*/ 5511922 w 8631301"/>
              <a:gd name="connsiteY95" fmla="*/ 4331098 h 6687210"/>
              <a:gd name="connsiteX96" fmla="*/ 5560344 w 8631301"/>
              <a:gd name="connsiteY96" fmla="*/ 4259503 h 6687210"/>
              <a:gd name="connsiteX97" fmla="*/ 5608391 w 8631301"/>
              <a:gd name="connsiteY97" fmla="*/ 4187441 h 6687210"/>
              <a:gd name="connsiteX98" fmla="*/ 5679867 w 8631301"/>
              <a:gd name="connsiteY98" fmla="*/ 4078531 h 6687210"/>
              <a:gd name="connsiteX99" fmla="*/ 5750781 w 8631301"/>
              <a:gd name="connsiteY99" fmla="*/ 3968727 h 6687210"/>
              <a:gd name="connsiteX100" fmla="*/ 5868190 w 8631301"/>
              <a:gd name="connsiteY100" fmla="*/ 3783989 h 6687210"/>
              <a:gd name="connsiteX101" fmla="*/ 6197916 w 8631301"/>
              <a:gd name="connsiteY101" fmla="*/ 3258640 h 6687210"/>
              <a:gd name="connsiteX102" fmla="*/ 6294137 w 8631301"/>
              <a:gd name="connsiteY102" fmla="*/ 3107321 h 6687210"/>
              <a:gd name="connsiteX103" fmla="*/ 6367357 w 8631301"/>
              <a:gd name="connsiteY103" fmla="*/ 2993735 h 6687210"/>
              <a:gd name="connsiteX104" fmla="*/ 6447904 w 8631301"/>
              <a:gd name="connsiteY104" fmla="*/ 2869788 h 6687210"/>
              <a:gd name="connsiteX105" fmla="*/ 6558874 w 8631301"/>
              <a:gd name="connsiteY105" fmla="*/ 2696807 h 6687210"/>
              <a:gd name="connsiteX106" fmla="*/ 6970940 w 8631301"/>
              <a:gd name="connsiteY106" fmla="*/ 2045274 h 6687210"/>
              <a:gd name="connsiteX107" fmla="*/ 7081462 w 8631301"/>
              <a:gd name="connsiteY107" fmla="*/ 1872743 h 6687210"/>
              <a:gd name="connsiteX108" fmla="*/ 7164986 w 8631301"/>
              <a:gd name="connsiteY108" fmla="*/ 1744202 h 6687210"/>
              <a:gd name="connsiteX109" fmla="*/ 7221058 w 8631301"/>
              <a:gd name="connsiteY109" fmla="*/ 1659017 h 6687210"/>
              <a:gd name="connsiteX110" fmla="*/ 7277496 w 8631301"/>
              <a:gd name="connsiteY110" fmla="*/ 1574303 h 6687210"/>
              <a:gd name="connsiteX111" fmla="*/ 7334350 w 8631301"/>
              <a:gd name="connsiteY111" fmla="*/ 1490113 h 6687210"/>
              <a:gd name="connsiteX112" fmla="*/ 7391664 w 8631301"/>
              <a:gd name="connsiteY112" fmla="*/ 1406503 h 6687210"/>
              <a:gd name="connsiteX113" fmla="*/ 7449488 w 8631301"/>
              <a:gd name="connsiteY113" fmla="*/ 1323526 h 6687210"/>
              <a:gd name="connsiteX114" fmla="*/ 7507868 w 8631301"/>
              <a:gd name="connsiteY114" fmla="*/ 1241237 h 6687210"/>
              <a:gd name="connsiteX115" fmla="*/ 7566851 w 8631301"/>
              <a:gd name="connsiteY115" fmla="*/ 1159689 h 6687210"/>
              <a:gd name="connsiteX116" fmla="*/ 7596584 w 8631301"/>
              <a:gd name="connsiteY116" fmla="*/ 1119210 h 6687210"/>
              <a:gd name="connsiteX117" fmla="*/ 7626486 w 8631301"/>
              <a:gd name="connsiteY117" fmla="*/ 1078937 h 6687210"/>
              <a:gd name="connsiteX118" fmla="*/ 7656562 w 8631301"/>
              <a:gd name="connsiteY118" fmla="*/ 1038876 h 6687210"/>
              <a:gd name="connsiteX119" fmla="*/ 7686818 w 8631301"/>
              <a:gd name="connsiteY119" fmla="*/ 999035 h 6687210"/>
              <a:gd name="connsiteX120" fmla="*/ 7717261 w 8631301"/>
              <a:gd name="connsiteY120" fmla="*/ 959419 h 6687210"/>
              <a:gd name="connsiteX121" fmla="*/ 7747897 w 8631301"/>
              <a:gd name="connsiteY121" fmla="*/ 920037 h 6687210"/>
              <a:gd name="connsiteX122" fmla="*/ 7778730 w 8631301"/>
              <a:gd name="connsiteY122" fmla="*/ 880894 h 6687210"/>
              <a:gd name="connsiteX123" fmla="*/ 7809768 w 8631301"/>
              <a:gd name="connsiteY123" fmla="*/ 841997 h 6687210"/>
              <a:gd name="connsiteX124" fmla="*/ 7841015 w 8631301"/>
              <a:gd name="connsiteY124" fmla="*/ 803354 h 6687210"/>
              <a:gd name="connsiteX125" fmla="*/ 7872479 w 8631301"/>
              <a:gd name="connsiteY125" fmla="*/ 764970 h 6687210"/>
              <a:gd name="connsiteX126" fmla="*/ 7904165 w 8631301"/>
              <a:gd name="connsiteY126" fmla="*/ 726853 h 6687210"/>
              <a:gd name="connsiteX127" fmla="*/ 7936078 w 8631301"/>
              <a:gd name="connsiteY127" fmla="*/ 689010 h 6687210"/>
              <a:gd name="connsiteX128" fmla="*/ 7968225 w 8631301"/>
              <a:gd name="connsiteY128" fmla="*/ 651447 h 6687210"/>
              <a:gd name="connsiteX129" fmla="*/ 8000612 w 8631301"/>
              <a:gd name="connsiteY129" fmla="*/ 614171 h 6687210"/>
              <a:gd name="connsiteX130" fmla="*/ 8033245 w 8631301"/>
              <a:gd name="connsiteY130" fmla="*/ 577189 h 6687210"/>
              <a:gd name="connsiteX131" fmla="*/ 8066128 w 8631301"/>
              <a:gd name="connsiteY131" fmla="*/ 540507 h 6687210"/>
              <a:gd name="connsiteX132" fmla="*/ 8099270 w 8631301"/>
              <a:gd name="connsiteY132" fmla="*/ 504132 h 6687210"/>
              <a:gd name="connsiteX133" fmla="*/ 8132674 w 8631301"/>
              <a:gd name="connsiteY133" fmla="*/ 468072 h 6687210"/>
              <a:gd name="connsiteX134" fmla="*/ 8166348 w 8631301"/>
              <a:gd name="connsiteY134" fmla="*/ 432332 h 6687210"/>
              <a:gd name="connsiteX135" fmla="*/ 8200297 w 8631301"/>
              <a:gd name="connsiteY135" fmla="*/ 396920 h 6687210"/>
              <a:gd name="connsiteX136" fmla="*/ 8234527 w 8631301"/>
              <a:gd name="connsiteY136" fmla="*/ 361843 h 6687210"/>
              <a:gd name="connsiteX137" fmla="*/ 8269044 w 8631301"/>
              <a:gd name="connsiteY137" fmla="*/ 327107 h 6687210"/>
              <a:gd name="connsiteX138" fmla="*/ 8303854 w 8631301"/>
              <a:gd name="connsiteY138" fmla="*/ 292718 h 6687210"/>
              <a:gd name="connsiteX139" fmla="*/ 8338963 w 8631301"/>
              <a:gd name="connsiteY139" fmla="*/ 258685 h 6687210"/>
              <a:gd name="connsiteX140" fmla="*/ 8374376 w 8631301"/>
              <a:gd name="connsiteY140" fmla="*/ 225013 h 6687210"/>
              <a:gd name="connsiteX141" fmla="*/ 8410101 w 8631301"/>
              <a:gd name="connsiteY141" fmla="*/ 191709 h 6687210"/>
              <a:gd name="connsiteX142" fmla="*/ 8446141 w 8631301"/>
              <a:gd name="connsiteY142" fmla="*/ 158780 h 6687210"/>
              <a:gd name="connsiteX143" fmla="*/ 8482505 w 8631301"/>
              <a:gd name="connsiteY143" fmla="*/ 126233 h 6687210"/>
              <a:gd name="connsiteX144" fmla="*/ 8519196 w 8631301"/>
              <a:gd name="connsiteY144" fmla="*/ 94075 h 6687210"/>
              <a:gd name="connsiteX145" fmla="*/ 8556222 w 8631301"/>
              <a:gd name="connsiteY145" fmla="*/ 62312 h 6687210"/>
              <a:gd name="connsiteX146" fmla="*/ 8593588 w 8631301"/>
              <a:gd name="connsiteY146" fmla="*/ 30951 h 6687210"/>
              <a:gd name="connsiteX147" fmla="*/ 8631301 w 8631301"/>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0790"/>
              <a:gd name="connsiteX1" fmla="*/ 5293 w 8636594"/>
              <a:gd name="connsiteY1" fmla="*/ 0 h 6680790"/>
              <a:gd name="connsiteX2" fmla="*/ 0 w 8636594"/>
              <a:gd name="connsiteY2" fmla="*/ 5587843 h 6680790"/>
              <a:gd name="connsiteX3" fmla="*/ 1594033 w 8636594"/>
              <a:gd name="connsiteY3" fmla="*/ 5600057 h 6680790"/>
              <a:gd name="connsiteX4" fmla="*/ 1627845 w 8636594"/>
              <a:gd name="connsiteY4" fmla="*/ 6680790 h 6680790"/>
              <a:gd name="connsiteX5" fmla="*/ 1692688 w 8636594"/>
              <a:gd name="connsiteY5" fmla="*/ 6673902 h 6680790"/>
              <a:gd name="connsiteX6" fmla="*/ 1756810 w 8636594"/>
              <a:gd name="connsiteY6" fmla="*/ 6666549 h 6680790"/>
              <a:gd name="connsiteX7" fmla="*/ 1820216 w 8636594"/>
              <a:gd name="connsiteY7" fmla="*/ 6658735 h 6680790"/>
              <a:gd name="connsiteX8" fmla="*/ 1882914 w 8636594"/>
              <a:gd name="connsiteY8" fmla="*/ 6650463 h 6680790"/>
              <a:gd name="connsiteX9" fmla="*/ 1944909 w 8636594"/>
              <a:gd name="connsiteY9" fmla="*/ 6641737 h 6680790"/>
              <a:gd name="connsiteX10" fmla="*/ 2006208 w 8636594"/>
              <a:gd name="connsiteY10" fmla="*/ 6632561 h 6680790"/>
              <a:gd name="connsiteX11" fmla="*/ 2066817 w 8636594"/>
              <a:gd name="connsiteY11" fmla="*/ 6622937 h 6680790"/>
              <a:gd name="connsiteX12" fmla="*/ 2126742 w 8636594"/>
              <a:gd name="connsiteY12" fmla="*/ 6612869 h 6680790"/>
              <a:gd name="connsiteX13" fmla="*/ 2185991 w 8636594"/>
              <a:gd name="connsiteY13" fmla="*/ 6602362 h 6680790"/>
              <a:gd name="connsiteX14" fmla="*/ 2244569 w 8636594"/>
              <a:gd name="connsiteY14" fmla="*/ 6591417 h 6680790"/>
              <a:gd name="connsiteX15" fmla="*/ 2302482 w 8636594"/>
              <a:gd name="connsiteY15" fmla="*/ 6580040 h 6680790"/>
              <a:gd name="connsiteX16" fmla="*/ 2359737 w 8636594"/>
              <a:gd name="connsiteY16" fmla="*/ 6568233 h 6680790"/>
              <a:gd name="connsiteX17" fmla="*/ 2416341 w 8636594"/>
              <a:gd name="connsiteY17" fmla="*/ 6555999 h 6680790"/>
              <a:gd name="connsiteX18" fmla="*/ 2472299 w 8636594"/>
              <a:gd name="connsiteY18" fmla="*/ 6543344 h 6680790"/>
              <a:gd name="connsiteX19" fmla="*/ 2527618 w 8636594"/>
              <a:gd name="connsiteY19" fmla="*/ 6530269 h 6680790"/>
              <a:gd name="connsiteX20" fmla="*/ 2582304 w 8636594"/>
              <a:gd name="connsiteY20" fmla="*/ 6516778 h 6680790"/>
              <a:gd name="connsiteX21" fmla="*/ 2636364 w 8636594"/>
              <a:gd name="connsiteY21" fmla="*/ 6502876 h 6680790"/>
              <a:gd name="connsiteX22" fmla="*/ 2689804 w 8636594"/>
              <a:gd name="connsiteY22" fmla="*/ 6488565 h 6680790"/>
              <a:gd name="connsiteX23" fmla="*/ 2742629 w 8636594"/>
              <a:gd name="connsiteY23" fmla="*/ 6473849 h 6680790"/>
              <a:gd name="connsiteX24" fmla="*/ 2794848 w 8636594"/>
              <a:gd name="connsiteY24" fmla="*/ 6458731 h 6680790"/>
              <a:gd name="connsiteX25" fmla="*/ 2846466 w 8636594"/>
              <a:gd name="connsiteY25" fmla="*/ 6443216 h 6680790"/>
              <a:gd name="connsiteX26" fmla="*/ 2897488 w 8636594"/>
              <a:gd name="connsiteY26" fmla="*/ 6427305 h 6680790"/>
              <a:gd name="connsiteX27" fmla="*/ 2947923 w 8636594"/>
              <a:gd name="connsiteY27" fmla="*/ 6411004 h 6680790"/>
              <a:gd name="connsiteX28" fmla="*/ 2997775 w 8636594"/>
              <a:gd name="connsiteY28" fmla="*/ 6394316 h 6680790"/>
              <a:gd name="connsiteX29" fmla="*/ 3047052 w 8636594"/>
              <a:gd name="connsiteY29" fmla="*/ 6377243 h 6680790"/>
              <a:gd name="connsiteX30" fmla="*/ 3095759 w 8636594"/>
              <a:gd name="connsiteY30" fmla="*/ 6359791 h 6680790"/>
              <a:gd name="connsiteX31" fmla="*/ 3143903 w 8636594"/>
              <a:gd name="connsiteY31" fmla="*/ 6341961 h 6680790"/>
              <a:gd name="connsiteX32" fmla="*/ 3191491 w 8636594"/>
              <a:gd name="connsiteY32" fmla="*/ 6323757 h 6680790"/>
              <a:gd name="connsiteX33" fmla="*/ 3238528 w 8636594"/>
              <a:gd name="connsiteY33" fmla="*/ 6305184 h 6680790"/>
              <a:gd name="connsiteX34" fmla="*/ 3285021 w 8636594"/>
              <a:gd name="connsiteY34" fmla="*/ 6286245 h 6680790"/>
              <a:gd name="connsiteX35" fmla="*/ 3330977 w 8636594"/>
              <a:gd name="connsiteY35" fmla="*/ 6266942 h 6680790"/>
              <a:gd name="connsiteX36" fmla="*/ 3376401 w 8636594"/>
              <a:gd name="connsiteY36" fmla="*/ 6247281 h 6680790"/>
              <a:gd name="connsiteX37" fmla="*/ 3421300 w 8636594"/>
              <a:gd name="connsiteY37" fmla="*/ 6227263 h 6680790"/>
              <a:gd name="connsiteX38" fmla="*/ 3465680 w 8636594"/>
              <a:gd name="connsiteY38" fmla="*/ 6206893 h 6680790"/>
              <a:gd name="connsiteX39" fmla="*/ 3509548 w 8636594"/>
              <a:gd name="connsiteY39" fmla="*/ 6186174 h 6680790"/>
              <a:gd name="connsiteX40" fmla="*/ 3552910 w 8636594"/>
              <a:gd name="connsiteY40" fmla="*/ 6165110 h 6680790"/>
              <a:gd name="connsiteX41" fmla="*/ 3595773 w 8636594"/>
              <a:gd name="connsiteY41" fmla="*/ 6143704 h 6680790"/>
              <a:gd name="connsiteX42" fmla="*/ 3638142 w 8636594"/>
              <a:gd name="connsiteY42" fmla="*/ 6121960 h 6680790"/>
              <a:gd name="connsiteX43" fmla="*/ 3680024 w 8636594"/>
              <a:gd name="connsiteY43" fmla="*/ 6099881 h 6680790"/>
              <a:gd name="connsiteX44" fmla="*/ 3721426 w 8636594"/>
              <a:gd name="connsiteY44" fmla="*/ 6077471 h 6680790"/>
              <a:gd name="connsiteX45" fmla="*/ 3762353 w 8636594"/>
              <a:gd name="connsiteY45" fmla="*/ 6054733 h 6680790"/>
              <a:gd name="connsiteX46" fmla="*/ 3802812 w 8636594"/>
              <a:gd name="connsiteY46" fmla="*/ 6031671 h 6680790"/>
              <a:gd name="connsiteX47" fmla="*/ 3842810 w 8636594"/>
              <a:gd name="connsiteY47" fmla="*/ 6008288 h 6680790"/>
              <a:gd name="connsiteX48" fmla="*/ 3882352 w 8636594"/>
              <a:gd name="connsiteY48" fmla="*/ 5984588 h 6680790"/>
              <a:gd name="connsiteX49" fmla="*/ 3921445 w 8636594"/>
              <a:gd name="connsiteY49" fmla="*/ 5960574 h 6680790"/>
              <a:gd name="connsiteX50" fmla="*/ 3960096 w 8636594"/>
              <a:gd name="connsiteY50" fmla="*/ 5936250 h 6680790"/>
              <a:gd name="connsiteX51" fmla="*/ 3998311 w 8636594"/>
              <a:gd name="connsiteY51" fmla="*/ 5911619 h 6680790"/>
              <a:gd name="connsiteX52" fmla="*/ 4036095 w 8636594"/>
              <a:gd name="connsiteY52" fmla="*/ 5886685 h 6680790"/>
              <a:gd name="connsiteX53" fmla="*/ 4073456 w 8636594"/>
              <a:gd name="connsiteY53" fmla="*/ 5861452 h 6680790"/>
              <a:gd name="connsiteX54" fmla="*/ 4110400 w 8636594"/>
              <a:gd name="connsiteY54" fmla="*/ 5835922 h 6680790"/>
              <a:gd name="connsiteX55" fmla="*/ 4146933 w 8636594"/>
              <a:gd name="connsiteY55" fmla="*/ 5810100 h 6680790"/>
              <a:gd name="connsiteX56" fmla="*/ 4183061 w 8636594"/>
              <a:gd name="connsiteY56" fmla="*/ 5783988 h 6680790"/>
              <a:gd name="connsiteX57" fmla="*/ 4218791 w 8636594"/>
              <a:gd name="connsiteY57" fmla="*/ 5757591 h 6680790"/>
              <a:gd name="connsiteX58" fmla="*/ 4254129 w 8636594"/>
              <a:gd name="connsiteY58" fmla="*/ 5730912 h 6680790"/>
              <a:gd name="connsiteX59" fmla="*/ 4289081 w 8636594"/>
              <a:gd name="connsiteY59" fmla="*/ 5703955 h 6680790"/>
              <a:gd name="connsiteX60" fmla="*/ 4323654 w 8636594"/>
              <a:gd name="connsiteY60" fmla="*/ 5676722 h 6680790"/>
              <a:gd name="connsiteX61" fmla="*/ 4357854 w 8636594"/>
              <a:gd name="connsiteY61" fmla="*/ 5649218 h 6680790"/>
              <a:gd name="connsiteX62" fmla="*/ 4391688 w 8636594"/>
              <a:gd name="connsiteY62" fmla="*/ 5621446 h 6680790"/>
              <a:gd name="connsiteX63" fmla="*/ 4425162 w 8636594"/>
              <a:gd name="connsiteY63" fmla="*/ 5593409 h 6680790"/>
              <a:gd name="connsiteX64" fmla="*/ 4458281 w 8636594"/>
              <a:gd name="connsiteY64" fmla="*/ 5565111 h 6680790"/>
              <a:gd name="connsiteX65" fmla="*/ 4491053 w 8636594"/>
              <a:gd name="connsiteY65" fmla="*/ 5536556 h 6680790"/>
              <a:gd name="connsiteX66" fmla="*/ 4523484 w 8636594"/>
              <a:gd name="connsiteY66" fmla="*/ 5507747 h 6680790"/>
              <a:gd name="connsiteX67" fmla="*/ 4555580 w 8636594"/>
              <a:gd name="connsiteY67" fmla="*/ 5478687 h 6680790"/>
              <a:gd name="connsiteX68" fmla="*/ 4587347 w 8636594"/>
              <a:gd name="connsiteY68" fmla="*/ 5449380 h 6680790"/>
              <a:gd name="connsiteX69" fmla="*/ 4618793 w 8636594"/>
              <a:gd name="connsiteY69" fmla="*/ 5419830 h 6680790"/>
              <a:gd name="connsiteX70" fmla="*/ 4649922 w 8636594"/>
              <a:gd name="connsiteY70" fmla="*/ 5390040 h 6680790"/>
              <a:gd name="connsiteX71" fmla="*/ 4680742 w 8636594"/>
              <a:gd name="connsiteY71" fmla="*/ 5360014 h 6680790"/>
              <a:gd name="connsiteX72" fmla="*/ 4711259 w 8636594"/>
              <a:gd name="connsiteY72" fmla="*/ 5329755 h 6680790"/>
              <a:gd name="connsiteX73" fmla="*/ 4741478 w 8636594"/>
              <a:gd name="connsiteY73" fmla="*/ 5299266 h 6680790"/>
              <a:gd name="connsiteX74" fmla="*/ 4771408 w 8636594"/>
              <a:gd name="connsiteY74" fmla="*/ 5268551 h 6680790"/>
              <a:gd name="connsiteX75" fmla="*/ 4801053 w 8636594"/>
              <a:gd name="connsiteY75" fmla="*/ 5237614 h 6680790"/>
              <a:gd name="connsiteX76" fmla="*/ 4830420 w 8636594"/>
              <a:gd name="connsiteY76" fmla="*/ 5206458 h 6680790"/>
              <a:gd name="connsiteX77" fmla="*/ 4859516 w 8636594"/>
              <a:gd name="connsiteY77" fmla="*/ 5175087 h 6680790"/>
              <a:gd name="connsiteX78" fmla="*/ 4888347 w 8636594"/>
              <a:gd name="connsiteY78" fmla="*/ 5143504 h 6680790"/>
              <a:gd name="connsiteX79" fmla="*/ 4916919 w 8636594"/>
              <a:gd name="connsiteY79" fmla="*/ 5111713 h 6680790"/>
              <a:gd name="connsiteX80" fmla="*/ 4945238 w 8636594"/>
              <a:gd name="connsiteY80" fmla="*/ 5079717 h 6680790"/>
              <a:gd name="connsiteX81" fmla="*/ 4973311 w 8636594"/>
              <a:gd name="connsiteY81" fmla="*/ 5047519 h 6680790"/>
              <a:gd name="connsiteX82" fmla="*/ 5001145 w 8636594"/>
              <a:gd name="connsiteY82" fmla="*/ 5015124 h 6680790"/>
              <a:gd name="connsiteX83" fmla="*/ 5028745 w 8636594"/>
              <a:gd name="connsiteY83" fmla="*/ 4982535 h 6680790"/>
              <a:gd name="connsiteX84" fmla="*/ 5056117 w 8636594"/>
              <a:gd name="connsiteY84" fmla="*/ 4949755 h 6680790"/>
              <a:gd name="connsiteX85" fmla="*/ 5083269 w 8636594"/>
              <a:gd name="connsiteY85" fmla="*/ 4916787 h 6680790"/>
              <a:gd name="connsiteX86" fmla="*/ 5110207 w 8636594"/>
              <a:gd name="connsiteY86" fmla="*/ 4883636 h 6680790"/>
              <a:gd name="connsiteX87" fmla="*/ 5136937 w 8636594"/>
              <a:gd name="connsiteY87" fmla="*/ 4850305 h 6680790"/>
              <a:gd name="connsiteX88" fmla="*/ 5163464 w 8636594"/>
              <a:gd name="connsiteY88" fmla="*/ 4816797 h 6680790"/>
              <a:gd name="connsiteX89" fmla="*/ 5215940 w 8636594"/>
              <a:gd name="connsiteY89" fmla="*/ 4749265 h 6680790"/>
              <a:gd name="connsiteX90" fmla="*/ 5267684 w 8636594"/>
              <a:gd name="connsiteY90" fmla="*/ 4681068 h 6680790"/>
              <a:gd name="connsiteX91" fmla="*/ 5318748 w 8636594"/>
              <a:gd name="connsiteY91" fmla="*/ 4612234 h 6680790"/>
              <a:gd name="connsiteX92" fmla="*/ 5369182 w 8636594"/>
              <a:gd name="connsiteY92" fmla="*/ 4542793 h 6680790"/>
              <a:gd name="connsiteX93" fmla="*/ 5419038 w 8636594"/>
              <a:gd name="connsiteY93" fmla="*/ 4472771 h 6680790"/>
              <a:gd name="connsiteX94" fmla="*/ 5468365 w 8636594"/>
              <a:gd name="connsiteY94" fmla="*/ 4402196 h 6680790"/>
              <a:gd name="connsiteX95" fmla="*/ 5517215 w 8636594"/>
              <a:gd name="connsiteY95" fmla="*/ 4331098 h 6680790"/>
              <a:gd name="connsiteX96" fmla="*/ 5565637 w 8636594"/>
              <a:gd name="connsiteY96" fmla="*/ 4259503 h 6680790"/>
              <a:gd name="connsiteX97" fmla="*/ 5613684 w 8636594"/>
              <a:gd name="connsiteY97" fmla="*/ 4187441 h 6680790"/>
              <a:gd name="connsiteX98" fmla="*/ 5685160 w 8636594"/>
              <a:gd name="connsiteY98" fmla="*/ 4078531 h 6680790"/>
              <a:gd name="connsiteX99" fmla="*/ 5756074 w 8636594"/>
              <a:gd name="connsiteY99" fmla="*/ 3968727 h 6680790"/>
              <a:gd name="connsiteX100" fmla="*/ 5873483 w 8636594"/>
              <a:gd name="connsiteY100" fmla="*/ 3783989 h 6680790"/>
              <a:gd name="connsiteX101" fmla="*/ 6203209 w 8636594"/>
              <a:gd name="connsiteY101" fmla="*/ 3258640 h 6680790"/>
              <a:gd name="connsiteX102" fmla="*/ 6299430 w 8636594"/>
              <a:gd name="connsiteY102" fmla="*/ 3107321 h 6680790"/>
              <a:gd name="connsiteX103" fmla="*/ 6372650 w 8636594"/>
              <a:gd name="connsiteY103" fmla="*/ 2993735 h 6680790"/>
              <a:gd name="connsiteX104" fmla="*/ 6453197 w 8636594"/>
              <a:gd name="connsiteY104" fmla="*/ 2869788 h 6680790"/>
              <a:gd name="connsiteX105" fmla="*/ 6564167 w 8636594"/>
              <a:gd name="connsiteY105" fmla="*/ 2696807 h 6680790"/>
              <a:gd name="connsiteX106" fmla="*/ 6976233 w 8636594"/>
              <a:gd name="connsiteY106" fmla="*/ 2045274 h 6680790"/>
              <a:gd name="connsiteX107" fmla="*/ 7086755 w 8636594"/>
              <a:gd name="connsiteY107" fmla="*/ 1872743 h 6680790"/>
              <a:gd name="connsiteX108" fmla="*/ 7170279 w 8636594"/>
              <a:gd name="connsiteY108" fmla="*/ 1744202 h 6680790"/>
              <a:gd name="connsiteX109" fmla="*/ 7226351 w 8636594"/>
              <a:gd name="connsiteY109" fmla="*/ 1659017 h 6680790"/>
              <a:gd name="connsiteX110" fmla="*/ 7282789 w 8636594"/>
              <a:gd name="connsiteY110" fmla="*/ 1574303 h 6680790"/>
              <a:gd name="connsiteX111" fmla="*/ 7339643 w 8636594"/>
              <a:gd name="connsiteY111" fmla="*/ 1490113 h 6680790"/>
              <a:gd name="connsiteX112" fmla="*/ 7396957 w 8636594"/>
              <a:gd name="connsiteY112" fmla="*/ 1406503 h 6680790"/>
              <a:gd name="connsiteX113" fmla="*/ 7454781 w 8636594"/>
              <a:gd name="connsiteY113" fmla="*/ 1323526 h 6680790"/>
              <a:gd name="connsiteX114" fmla="*/ 7513161 w 8636594"/>
              <a:gd name="connsiteY114" fmla="*/ 1241237 h 6680790"/>
              <a:gd name="connsiteX115" fmla="*/ 7572144 w 8636594"/>
              <a:gd name="connsiteY115" fmla="*/ 1159689 h 6680790"/>
              <a:gd name="connsiteX116" fmla="*/ 7601877 w 8636594"/>
              <a:gd name="connsiteY116" fmla="*/ 1119210 h 6680790"/>
              <a:gd name="connsiteX117" fmla="*/ 7631779 w 8636594"/>
              <a:gd name="connsiteY117" fmla="*/ 1078937 h 6680790"/>
              <a:gd name="connsiteX118" fmla="*/ 7661855 w 8636594"/>
              <a:gd name="connsiteY118" fmla="*/ 1038876 h 6680790"/>
              <a:gd name="connsiteX119" fmla="*/ 7692111 w 8636594"/>
              <a:gd name="connsiteY119" fmla="*/ 999035 h 6680790"/>
              <a:gd name="connsiteX120" fmla="*/ 7722554 w 8636594"/>
              <a:gd name="connsiteY120" fmla="*/ 959419 h 6680790"/>
              <a:gd name="connsiteX121" fmla="*/ 7753190 w 8636594"/>
              <a:gd name="connsiteY121" fmla="*/ 920037 h 6680790"/>
              <a:gd name="connsiteX122" fmla="*/ 7784023 w 8636594"/>
              <a:gd name="connsiteY122" fmla="*/ 880894 h 6680790"/>
              <a:gd name="connsiteX123" fmla="*/ 7815061 w 8636594"/>
              <a:gd name="connsiteY123" fmla="*/ 841997 h 6680790"/>
              <a:gd name="connsiteX124" fmla="*/ 7846308 w 8636594"/>
              <a:gd name="connsiteY124" fmla="*/ 803354 h 6680790"/>
              <a:gd name="connsiteX125" fmla="*/ 7877772 w 8636594"/>
              <a:gd name="connsiteY125" fmla="*/ 764970 h 6680790"/>
              <a:gd name="connsiteX126" fmla="*/ 7909458 w 8636594"/>
              <a:gd name="connsiteY126" fmla="*/ 726853 h 6680790"/>
              <a:gd name="connsiteX127" fmla="*/ 7941371 w 8636594"/>
              <a:gd name="connsiteY127" fmla="*/ 689010 h 6680790"/>
              <a:gd name="connsiteX128" fmla="*/ 7973518 w 8636594"/>
              <a:gd name="connsiteY128" fmla="*/ 651447 h 6680790"/>
              <a:gd name="connsiteX129" fmla="*/ 8005905 w 8636594"/>
              <a:gd name="connsiteY129" fmla="*/ 614171 h 6680790"/>
              <a:gd name="connsiteX130" fmla="*/ 8038538 w 8636594"/>
              <a:gd name="connsiteY130" fmla="*/ 577189 h 6680790"/>
              <a:gd name="connsiteX131" fmla="*/ 8071421 w 8636594"/>
              <a:gd name="connsiteY131" fmla="*/ 540507 h 6680790"/>
              <a:gd name="connsiteX132" fmla="*/ 8104563 w 8636594"/>
              <a:gd name="connsiteY132" fmla="*/ 504132 h 6680790"/>
              <a:gd name="connsiteX133" fmla="*/ 8137967 w 8636594"/>
              <a:gd name="connsiteY133" fmla="*/ 468072 h 6680790"/>
              <a:gd name="connsiteX134" fmla="*/ 8171641 w 8636594"/>
              <a:gd name="connsiteY134" fmla="*/ 432332 h 6680790"/>
              <a:gd name="connsiteX135" fmla="*/ 8205590 w 8636594"/>
              <a:gd name="connsiteY135" fmla="*/ 396920 h 6680790"/>
              <a:gd name="connsiteX136" fmla="*/ 8239820 w 8636594"/>
              <a:gd name="connsiteY136" fmla="*/ 361843 h 6680790"/>
              <a:gd name="connsiteX137" fmla="*/ 8274337 w 8636594"/>
              <a:gd name="connsiteY137" fmla="*/ 327107 h 6680790"/>
              <a:gd name="connsiteX138" fmla="*/ 8309147 w 8636594"/>
              <a:gd name="connsiteY138" fmla="*/ 292718 h 6680790"/>
              <a:gd name="connsiteX139" fmla="*/ 8344256 w 8636594"/>
              <a:gd name="connsiteY139" fmla="*/ 258685 h 6680790"/>
              <a:gd name="connsiteX140" fmla="*/ 8379669 w 8636594"/>
              <a:gd name="connsiteY140" fmla="*/ 225013 h 6680790"/>
              <a:gd name="connsiteX141" fmla="*/ 8415394 w 8636594"/>
              <a:gd name="connsiteY141" fmla="*/ 191709 h 6680790"/>
              <a:gd name="connsiteX142" fmla="*/ 8451434 w 8636594"/>
              <a:gd name="connsiteY142" fmla="*/ 158780 h 6680790"/>
              <a:gd name="connsiteX143" fmla="*/ 8487798 w 8636594"/>
              <a:gd name="connsiteY143" fmla="*/ 126233 h 6680790"/>
              <a:gd name="connsiteX144" fmla="*/ 8524489 w 8636594"/>
              <a:gd name="connsiteY144" fmla="*/ 94075 h 6680790"/>
              <a:gd name="connsiteX145" fmla="*/ 8561515 w 8636594"/>
              <a:gd name="connsiteY145" fmla="*/ 62312 h 6680790"/>
              <a:gd name="connsiteX146" fmla="*/ 8598881 w 8636594"/>
              <a:gd name="connsiteY146" fmla="*/ 30951 h 6680790"/>
              <a:gd name="connsiteX147" fmla="*/ 8636594 w 8636594"/>
              <a:gd name="connsiteY147" fmla="*/ 0 h 6680790"/>
              <a:gd name="connsiteX0" fmla="*/ 8636594 w 8636594"/>
              <a:gd name="connsiteY0" fmla="*/ 0 h 6673902"/>
              <a:gd name="connsiteX1" fmla="*/ 5293 w 8636594"/>
              <a:gd name="connsiteY1" fmla="*/ 0 h 6673902"/>
              <a:gd name="connsiteX2" fmla="*/ 0 w 8636594"/>
              <a:gd name="connsiteY2" fmla="*/ 5587843 h 6673902"/>
              <a:gd name="connsiteX3" fmla="*/ 1594033 w 8636594"/>
              <a:gd name="connsiteY3" fmla="*/ 5600057 h 6673902"/>
              <a:gd name="connsiteX4" fmla="*/ 1686068 w 8636594"/>
              <a:gd name="connsiteY4" fmla="*/ 5599745 h 6673902"/>
              <a:gd name="connsiteX5" fmla="*/ 1692688 w 8636594"/>
              <a:gd name="connsiteY5" fmla="*/ 6673902 h 6673902"/>
              <a:gd name="connsiteX6" fmla="*/ 1756810 w 8636594"/>
              <a:gd name="connsiteY6" fmla="*/ 6666549 h 6673902"/>
              <a:gd name="connsiteX7" fmla="*/ 1820216 w 8636594"/>
              <a:gd name="connsiteY7" fmla="*/ 6658735 h 6673902"/>
              <a:gd name="connsiteX8" fmla="*/ 1882914 w 8636594"/>
              <a:gd name="connsiteY8" fmla="*/ 6650463 h 6673902"/>
              <a:gd name="connsiteX9" fmla="*/ 1944909 w 8636594"/>
              <a:gd name="connsiteY9" fmla="*/ 6641737 h 6673902"/>
              <a:gd name="connsiteX10" fmla="*/ 2006208 w 8636594"/>
              <a:gd name="connsiteY10" fmla="*/ 6632561 h 6673902"/>
              <a:gd name="connsiteX11" fmla="*/ 2066817 w 8636594"/>
              <a:gd name="connsiteY11" fmla="*/ 6622937 h 6673902"/>
              <a:gd name="connsiteX12" fmla="*/ 2126742 w 8636594"/>
              <a:gd name="connsiteY12" fmla="*/ 6612869 h 6673902"/>
              <a:gd name="connsiteX13" fmla="*/ 2185991 w 8636594"/>
              <a:gd name="connsiteY13" fmla="*/ 6602362 h 6673902"/>
              <a:gd name="connsiteX14" fmla="*/ 2244569 w 8636594"/>
              <a:gd name="connsiteY14" fmla="*/ 6591417 h 6673902"/>
              <a:gd name="connsiteX15" fmla="*/ 2302482 w 8636594"/>
              <a:gd name="connsiteY15" fmla="*/ 6580040 h 6673902"/>
              <a:gd name="connsiteX16" fmla="*/ 2359737 w 8636594"/>
              <a:gd name="connsiteY16" fmla="*/ 6568233 h 6673902"/>
              <a:gd name="connsiteX17" fmla="*/ 2416341 w 8636594"/>
              <a:gd name="connsiteY17" fmla="*/ 6555999 h 6673902"/>
              <a:gd name="connsiteX18" fmla="*/ 2472299 w 8636594"/>
              <a:gd name="connsiteY18" fmla="*/ 6543344 h 6673902"/>
              <a:gd name="connsiteX19" fmla="*/ 2527618 w 8636594"/>
              <a:gd name="connsiteY19" fmla="*/ 6530269 h 6673902"/>
              <a:gd name="connsiteX20" fmla="*/ 2582304 w 8636594"/>
              <a:gd name="connsiteY20" fmla="*/ 6516778 h 6673902"/>
              <a:gd name="connsiteX21" fmla="*/ 2636364 w 8636594"/>
              <a:gd name="connsiteY21" fmla="*/ 6502876 h 6673902"/>
              <a:gd name="connsiteX22" fmla="*/ 2689804 w 8636594"/>
              <a:gd name="connsiteY22" fmla="*/ 6488565 h 6673902"/>
              <a:gd name="connsiteX23" fmla="*/ 2742629 w 8636594"/>
              <a:gd name="connsiteY23" fmla="*/ 6473849 h 6673902"/>
              <a:gd name="connsiteX24" fmla="*/ 2794848 w 8636594"/>
              <a:gd name="connsiteY24" fmla="*/ 6458731 h 6673902"/>
              <a:gd name="connsiteX25" fmla="*/ 2846466 w 8636594"/>
              <a:gd name="connsiteY25" fmla="*/ 6443216 h 6673902"/>
              <a:gd name="connsiteX26" fmla="*/ 2897488 w 8636594"/>
              <a:gd name="connsiteY26" fmla="*/ 6427305 h 6673902"/>
              <a:gd name="connsiteX27" fmla="*/ 2947923 w 8636594"/>
              <a:gd name="connsiteY27" fmla="*/ 6411004 h 6673902"/>
              <a:gd name="connsiteX28" fmla="*/ 2997775 w 8636594"/>
              <a:gd name="connsiteY28" fmla="*/ 6394316 h 6673902"/>
              <a:gd name="connsiteX29" fmla="*/ 3047052 w 8636594"/>
              <a:gd name="connsiteY29" fmla="*/ 6377243 h 6673902"/>
              <a:gd name="connsiteX30" fmla="*/ 3095759 w 8636594"/>
              <a:gd name="connsiteY30" fmla="*/ 6359791 h 6673902"/>
              <a:gd name="connsiteX31" fmla="*/ 3143903 w 8636594"/>
              <a:gd name="connsiteY31" fmla="*/ 6341961 h 6673902"/>
              <a:gd name="connsiteX32" fmla="*/ 3191491 w 8636594"/>
              <a:gd name="connsiteY32" fmla="*/ 6323757 h 6673902"/>
              <a:gd name="connsiteX33" fmla="*/ 3238528 w 8636594"/>
              <a:gd name="connsiteY33" fmla="*/ 6305184 h 6673902"/>
              <a:gd name="connsiteX34" fmla="*/ 3285021 w 8636594"/>
              <a:gd name="connsiteY34" fmla="*/ 6286245 h 6673902"/>
              <a:gd name="connsiteX35" fmla="*/ 3330977 w 8636594"/>
              <a:gd name="connsiteY35" fmla="*/ 6266942 h 6673902"/>
              <a:gd name="connsiteX36" fmla="*/ 3376401 w 8636594"/>
              <a:gd name="connsiteY36" fmla="*/ 6247281 h 6673902"/>
              <a:gd name="connsiteX37" fmla="*/ 3421300 w 8636594"/>
              <a:gd name="connsiteY37" fmla="*/ 6227263 h 6673902"/>
              <a:gd name="connsiteX38" fmla="*/ 3465680 w 8636594"/>
              <a:gd name="connsiteY38" fmla="*/ 6206893 h 6673902"/>
              <a:gd name="connsiteX39" fmla="*/ 3509548 w 8636594"/>
              <a:gd name="connsiteY39" fmla="*/ 6186174 h 6673902"/>
              <a:gd name="connsiteX40" fmla="*/ 3552910 w 8636594"/>
              <a:gd name="connsiteY40" fmla="*/ 6165110 h 6673902"/>
              <a:gd name="connsiteX41" fmla="*/ 3595773 w 8636594"/>
              <a:gd name="connsiteY41" fmla="*/ 6143704 h 6673902"/>
              <a:gd name="connsiteX42" fmla="*/ 3638142 w 8636594"/>
              <a:gd name="connsiteY42" fmla="*/ 6121960 h 6673902"/>
              <a:gd name="connsiteX43" fmla="*/ 3680024 w 8636594"/>
              <a:gd name="connsiteY43" fmla="*/ 6099881 h 6673902"/>
              <a:gd name="connsiteX44" fmla="*/ 3721426 w 8636594"/>
              <a:gd name="connsiteY44" fmla="*/ 6077471 h 6673902"/>
              <a:gd name="connsiteX45" fmla="*/ 3762353 w 8636594"/>
              <a:gd name="connsiteY45" fmla="*/ 6054733 h 6673902"/>
              <a:gd name="connsiteX46" fmla="*/ 3802812 w 8636594"/>
              <a:gd name="connsiteY46" fmla="*/ 6031671 h 6673902"/>
              <a:gd name="connsiteX47" fmla="*/ 3842810 w 8636594"/>
              <a:gd name="connsiteY47" fmla="*/ 6008288 h 6673902"/>
              <a:gd name="connsiteX48" fmla="*/ 3882352 w 8636594"/>
              <a:gd name="connsiteY48" fmla="*/ 5984588 h 6673902"/>
              <a:gd name="connsiteX49" fmla="*/ 3921445 w 8636594"/>
              <a:gd name="connsiteY49" fmla="*/ 5960574 h 6673902"/>
              <a:gd name="connsiteX50" fmla="*/ 3960096 w 8636594"/>
              <a:gd name="connsiteY50" fmla="*/ 5936250 h 6673902"/>
              <a:gd name="connsiteX51" fmla="*/ 3998311 w 8636594"/>
              <a:gd name="connsiteY51" fmla="*/ 5911619 h 6673902"/>
              <a:gd name="connsiteX52" fmla="*/ 4036095 w 8636594"/>
              <a:gd name="connsiteY52" fmla="*/ 5886685 h 6673902"/>
              <a:gd name="connsiteX53" fmla="*/ 4073456 w 8636594"/>
              <a:gd name="connsiteY53" fmla="*/ 5861452 h 6673902"/>
              <a:gd name="connsiteX54" fmla="*/ 4110400 w 8636594"/>
              <a:gd name="connsiteY54" fmla="*/ 5835922 h 6673902"/>
              <a:gd name="connsiteX55" fmla="*/ 4146933 w 8636594"/>
              <a:gd name="connsiteY55" fmla="*/ 5810100 h 6673902"/>
              <a:gd name="connsiteX56" fmla="*/ 4183061 w 8636594"/>
              <a:gd name="connsiteY56" fmla="*/ 5783988 h 6673902"/>
              <a:gd name="connsiteX57" fmla="*/ 4218791 w 8636594"/>
              <a:gd name="connsiteY57" fmla="*/ 5757591 h 6673902"/>
              <a:gd name="connsiteX58" fmla="*/ 4254129 w 8636594"/>
              <a:gd name="connsiteY58" fmla="*/ 5730912 h 6673902"/>
              <a:gd name="connsiteX59" fmla="*/ 4289081 w 8636594"/>
              <a:gd name="connsiteY59" fmla="*/ 5703955 h 6673902"/>
              <a:gd name="connsiteX60" fmla="*/ 4323654 w 8636594"/>
              <a:gd name="connsiteY60" fmla="*/ 5676722 h 6673902"/>
              <a:gd name="connsiteX61" fmla="*/ 4357854 w 8636594"/>
              <a:gd name="connsiteY61" fmla="*/ 5649218 h 6673902"/>
              <a:gd name="connsiteX62" fmla="*/ 4391688 w 8636594"/>
              <a:gd name="connsiteY62" fmla="*/ 5621446 h 6673902"/>
              <a:gd name="connsiteX63" fmla="*/ 4425162 w 8636594"/>
              <a:gd name="connsiteY63" fmla="*/ 5593409 h 6673902"/>
              <a:gd name="connsiteX64" fmla="*/ 4458281 w 8636594"/>
              <a:gd name="connsiteY64" fmla="*/ 5565111 h 6673902"/>
              <a:gd name="connsiteX65" fmla="*/ 4491053 w 8636594"/>
              <a:gd name="connsiteY65" fmla="*/ 5536556 h 6673902"/>
              <a:gd name="connsiteX66" fmla="*/ 4523484 w 8636594"/>
              <a:gd name="connsiteY66" fmla="*/ 5507747 h 6673902"/>
              <a:gd name="connsiteX67" fmla="*/ 4555580 w 8636594"/>
              <a:gd name="connsiteY67" fmla="*/ 5478687 h 6673902"/>
              <a:gd name="connsiteX68" fmla="*/ 4587347 w 8636594"/>
              <a:gd name="connsiteY68" fmla="*/ 5449380 h 6673902"/>
              <a:gd name="connsiteX69" fmla="*/ 4618793 w 8636594"/>
              <a:gd name="connsiteY69" fmla="*/ 5419830 h 6673902"/>
              <a:gd name="connsiteX70" fmla="*/ 4649922 w 8636594"/>
              <a:gd name="connsiteY70" fmla="*/ 5390040 h 6673902"/>
              <a:gd name="connsiteX71" fmla="*/ 4680742 w 8636594"/>
              <a:gd name="connsiteY71" fmla="*/ 5360014 h 6673902"/>
              <a:gd name="connsiteX72" fmla="*/ 4711259 w 8636594"/>
              <a:gd name="connsiteY72" fmla="*/ 5329755 h 6673902"/>
              <a:gd name="connsiteX73" fmla="*/ 4741478 w 8636594"/>
              <a:gd name="connsiteY73" fmla="*/ 5299266 h 6673902"/>
              <a:gd name="connsiteX74" fmla="*/ 4771408 w 8636594"/>
              <a:gd name="connsiteY74" fmla="*/ 5268551 h 6673902"/>
              <a:gd name="connsiteX75" fmla="*/ 4801053 w 8636594"/>
              <a:gd name="connsiteY75" fmla="*/ 5237614 h 6673902"/>
              <a:gd name="connsiteX76" fmla="*/ 4830420 w 8636594"/>
              <a:gd name="connsiteY76" fmla="*/ 5206458 h 6673902"/>
              <a:gd name="connsiteX77" fmla="*/ 4859516 w 8636594"/>
              <a:gd name="connsiteY77" fmla="*/ 5175087 h 6673902"/>
              <a:gd name="connsiteX78" fmla="*/ 4888347 w 8636594"/>
              <a:gd name="connsiteY78" fmla="*/ 5143504 h 6673902"/>
              <a:gd name="connsiteX79" fmla="*/ 4916919 w 8636594"/>
              <a:gd name="connsiteY79" fmla="*/ 5111713 h 6673902"/>
              <a:gd name="connsiteX80" fmla="*/ 4945238 w 8636594"/>
              <a:gd name="connsiteY80" fmla="*/ 5079717 h 6673902"/>
              <a:gd name="connsiteX81" fmla="*/ 4973311 w 8636594"/>
              <a:gd name="connsiteY81" fmla="*/ 5047519 h 6673902"/>
              <a:gd name="connsiteX82" fmla="*/ 5001145 w 8636594"/>
              <a:gd name="connsiteY82" fmla="*/ 5015124 h 6673902"/>
              <a:gd name="connsiteX83" fmla="*/ 5028745 w 8636594"/>
              <a:gd name="connsiteY83" fmla="*/ 4982535 h 6673902"/>
              <a:gd name="connsiteX84" fmla="*/ 5056117 w 8636594"/>
              <a:gd name="connsiteY84" fmla="*/ 4949755 h 6673902"/>
              <a:gd name="connsiteX85" fmla="*/ 5083269 w 8636594"/>
              <a:gd name="connsiteY85" fmla="*/ 4916787 h 6673902"/>
              <a:gd name="connsiteX86" fmla="*/ 5110207 w 8636594"/>
              <a:gd name="connsiteY86" fmla="*/ 4883636 h 6673902"/>
              <a:gd name="connsiteX87" fmla="*/ 5136937 w 8636594"/>
              <a:gd name="connsiteY87" fmla="*/ 4850305 h 6673902"/>
              <a:gd name="connsiteX88" fmla="*/ 5163464 w 8636594"/>
              <a:gd name="connsiteY88" fmla="*/ 4816797 h 6673902"/>
              <a:gd name="connsiteX89" fmla="*/ 5215940 w 8636594"/>
              <a:gd name="connsiteY89" fmla="*/ 4749265 h 6673902"/>
              <a:gd name="connsiteX90" fmla="*/ 5267684 w 8636594"/>
              <a:gd name="connsiteY90" fmla="*/ 4681068 h 6673902"/>
              <a:gd name="connsiteX91" fmla="*/ 5318748 w 8636594"/>
              <a:gd name="connsiteY91" fmla="*/ 4612234 h 6673902"/>
              <a:gd name="connsiteX92" fmla="*/ 5369182 w 8636594"/>
              <a:gd name="connsiteY92" fmla="*/ 4542793 h 6673902"/>
              <a:gd name="connsiteX93" fmla="*/ 5419038 w 8636594"/>
              <a:gd name="connsiteY93" fmla="*/ 4472771 h 6673902"/>
              <a:gd name="connsiteX94" fmla="*/ 5468365 w 8636594"/>
              <a:gd name="connsiteY94" fmla="*/ 4402196 h 6673902"/>
              <a:gd name="connsiteX95" fmla="*/ 5517215 w 8636594"/>
              <a:gd name="connsiteY95" fmla="*/ 4331098 h 6673902"/>
              <a:gd name="connsiteX96" fmla="*/ 5565637 w 8636594"/>
              <a:gd name="connsiteY96" fmla="*/ 4259503 h 6673902"/>
              <a:gd name="connsiteX97" fmla="*/ 5613684 w 8636594"/>
              <a:gd name="connsiteY97" fmla="*/ 4187441 h 6673902"/>
              <a:gd name="connsiteX98" fmla="*/ 5685160 w 8636594"/>
              <a:gd name="connsiteY98" fmla="*/ 4078531 h 6673902"/>
              <a:gd name="connsiteX99" fmla="*/ 5756074 w 8636594"/>
              <a:gd name="connsiteY99" fmla="*/ 3968727 h 6673902"/>
              <a:gd name="connsiteX100" fmla="*/ 5873483 w 8636594"/>
              <a:gd name="connsiteY100" fmla="*/ 3783989 h 6673902"/>
              <a:gd name="connsiteX101" fmla="*/ 6203209 w 8636594"/>
              <a:gd name="connsiteY101" fmla="*/ 3258640 h 6673902"/>
              <a:gd name="connsiteX102" fmla="*/ 6299430 w 8636594"/>
              <a:gd name="connsiteY102" fmla="*/ 3107321 h 6673902"/>
              <a:gd name="connsiteX103" fmla="*/ 6372650 w 8636594"/>
              <a:gd name="connsiteY103" fmla="*/ 2993735 h 6673902"/>
              <a:gd name="connsiteX104" fmla="*/ 6453197 w 8636594"/>
              <a:gd name="connsiteY104" fmla="*/ 2869788 h 6673902"/>
              <a:gd name="connsiteX105" fmla="*/ 6564167 w 8636594"/>
              <a:gd name="connsiteY105" fmla="*/ 2696807 h 6673902"/>
              <a:gd name="connsiteX106" fmla="*/ 6976233 w 8636594"/>
              <a:gd name="connsiteY106" fmla="*/ 2045274 h 6673902"/>
              <a:gd name="connsiteX107" fmla="*/ 7086755 w 8636594"/>
              <a:gd name="connsiteY107" fmla="*/ 1872743 h 6673902"/>
              <a:gd name="connsiteX108" fmla="*/ 7170279 w 8636594"/>
              <a:gd name="connsiteY108" fmla="*/ 1744202 h 6673902"/>
              <a:gd name="connsiteX109" fmla="*/ 7226351 w 8636594"/>
              <a:gd name="connsiteY109" fmla="*/ 1659017 h 6673902"/>
              <a:gd name="connsiteX110" fmla="*/ 7282789 w 8636594"/>
              <a:gd name="connsiteY110" fmla="*/ 1574303 h 6673902"/>
              <a:gd name="connsiteX111" fmla="*/ 7339643 w 8636594"/>
              <a:gd name="connsiteY111" fmla="*/ 1490113 h 6673902"/>
              <a:gd name="connsiteX112" fmla="*/ 7396957 w 8636594"/>
              <a:gd name="connsiteY112" fmla="*/ 1406503 h 6673902"/>
              <a:gd name="connsiteX113" fmla="*/ 7454781 w 8636594"/>
              <a:gd name="connsiteY113" fmla="*/ 1323526 h 6673902"/>
              <a:gd name="connsiteX114" fmla="*/ 7513161 w 8636594"/>
              <a:gd name="connsiteY114" fmla="*/ 1241237 h 6673902"/>
              <a:gd name="connsiteX115" fmla="*/ 7572144 w 8636594"/>
              <a:gd name="connsiteY115" fmla="*/ 1159689 h 6673902"/>
              <a:gd name="connsiteX116" fmla="*/ 7601877 w 8636594"/>
              <a:gd name="connsiteY116" fmla="*/ 1119210 h 6673902"/>
              <a:gd name="connsiteX117" fmla="*/ 7631779 w 8636594"/>
              <a:gd name="connsiteY117" fmla="*/ 1078937 h 6673902"/>
              <a:gd name="connsiteX118" fmla="*/ 7661855 w 8636594"/>
              <a:gd name="connsiteY118" fmla="*/ 1038876 h 6673902"/>
              <a:gd name="connsiteX119" fmla="*/ 7692111 w 8636594"/>
              <a:gd name="connsiteY119" fmla="*/ 999035 h 6673902"/>
              <a:gd name="connsiteX120" fmla="*/ 7722554 w 8636594"/>
              <a:gd name="connsiteY120" fmla="*/ 959419 h 6673902"/>
              <a:gd name="connsiteX121" fmla="*/ 7753190 w 8636594"/>
              <a:gd name="connsiteY121" fmla="*/ 920037 h 6673902"/>
              <a:gd name="connsiteX122" fmla="*/ 7784023 w 8636594"/>
              <a:gd name="connsiteY122" fmla="*/ 880894 h 6673902"/>
              <a:gd name="connsiteX123" fmla="*/ 7815061 w 8636594"/>
              <a:gd name="connsiteY123" fmla="*/ 841997 h 6673902"/>
              <a:gd name="connsiteX124" fmla="*/ 7846308 w 8636594"/>
              <a:gd name="connsiteY124" fmla="*/ 803354 h 6673902"/>
              <a:gd name="connsiteX125" fmla="*/ 7877772 w 8636594"/>
              <a:gd name="connsiteY125" fmla="*/ 764970 h 6673902"/>
              <a:gd name="connsiteX126" fmla="*/ 7909458 w 8636594"/>
              <a:gd name="connsiteY126" fmla="*/ 726853 h 6673902"/>
              <a:gd name="connsiteX127" fmla="*/ 7941371 w 8636594"/>
              <a:gd name="connsiteY127" fmla="*/ 689010 h 6673902"/>
              <a:gd name="connsiteX128" fmla="*/ 7973518 w 8636594"/>
              <a:gd name="connsiteY128" fmla="*/ 651447 h 6673902"/>
              <a:gd name="connsiteX129" fmla="*/ 8005905 w 8636594"/>
              <a:gd name="connsiteY129" fmla="*/ 614171 h 6673902"/>
              <a:gd name="connsiteX130" fmla="*/ 8038538 w 8636594"/>
              <a:gd name="connsiteY130" fmla="*/ 577189 h 6673902"/>
              <a:gd name="connsiteX131" fmla="*/ 8071421 w 8636594"/>
              <a:gd name="connsiteY131" fmla="*/ 540507 h 6673902"/>
              <a:gd name="connsiteX132" fmla="*/ 8104563 w 8636594"/>
              <a:gd name="connsiteY132" fmla="*/ 504132 h 6673902"/>
              <a:gd name="connsiteX133" fmla="*/ 8137967 w 8636594"/>
              <a:gd name="connsiteY133" fmla="*/ 468072 h 6673902"/>
              <a:gd name="connsiteX134" fmla="*/ 8171641 w 8636594"/>
              <a:gd name="connsiteY134" fmla="*/ 432332 h 6673902"/>
              <a:gd name="connsiteX135" fmla="*/ 8205590 w 8636594"/>
              <a:gd name="connsiteY135" fmla="*/ 396920 h 6673902"/>
              <a:gd name="connsiteX136" fmla="*/ 8239820 w 8636594"/>
              <a:gd name="connsiteY136" fmla="*/ 361843 h 6673902"/>
              <a:gd name="connsiteX137" fmla="*/ 8274337 w 8636594"/>
              <a:gd name="connsiteY137" fmla="*/ 327107 h 6673902"/>
              <a:gd name="connsiteX138" fmla="*/ 8309147 w 8636594"/>
              <a:gd name="connsiteY138" fmla="*/ 292718 h 6673902"/>
              <a:gd name="connsiteX139" fmla="*/ 8344256 w 8636594"/>
              <a:gd name="connsiteY139" fmla="*/ 258685 h 6673902"/>
              <a:gd name="connsiteX140" fmla="*/ 8379669 w 8636594"/>
              <a:gd name="connsiteY140" fmla="*/ 225013 h 6673902"/>
              <a:gd name="connsiteX141" fmla="*/ 8415394 w 8636594"/>
              <a:gd name="connsiteY141" fmla="*/ 191709 h 6673902"/>
              <a:gd name="connsiteX142" fmla="*/ 8451434 w 8636594"/>
              <a:gd name="connsiteY142" fmla="*/ 158780 h 6673902"/>
              <a:gd name="connsiteX143" fmla="*/ 8487798 w 8636594"/>
              <a:gd name="connsiteY143" fmla="*/ 126233 h 6673902"/>
              <a:gd name="connsiteX144" fmla="*/ 8524489 w 8636594"/>
              <a:gd name="connsiteY144" fmla="*/ 94075 h 6673902"/>
              <a:gd name="connsiteX145" fmla="*/ 8561515 w 8636594"/>
              <a:gd name="connsiteY145" fmla="*/ 62312 h 6673902"/>
              <a:gd name="connsiteX146" fmla="*/ 8598881 w 8636594"/>
              <a:gd name="connsiteY146" fmla="*/ 30951 h 6673902"/>
              <a:gd name="connsiteX147" fmla="*/ 8636594 w 8636594"/>
              <a:gd name="connsiteY147" fmla="*/ 0 h 6673902"/>
              <a:gd name="connsiteX0" fmla="*/ 8636594 w 8636594"/>
              <a:gd name="connsiteY0" fmla="*/ 0 h 6666549"/>
              <a:gd name="connsiteX1" fmla="*/ 5293 w 8636594"/>
              <a:gd name="connsiteY1" fmla="*/ 0 h 6666549"/>
              <a:gd name="connsiteX2" fmla="*/ 0 w 8636594"/>
              <a:gd name="connsiteY2" fmla="*/ 5587843 h 6666549"/>
              <a:gd name="connsiteX3" fmla="*/ 1594033 w 8636594"/>
              <a:gd name="connsiteY3" fmla="*/ 5600057 h 6666549"/>
              <a:gd name="connsiteX4" fmla="*/ 1686068 w 8636594"/>
              <a:gd name="connsiteY4" fmla="*/ 5599745 h 6666549"/>
              <a:gd name="connsiteX5" fmla="*/ 1883237 w 8636594"/>
              <a:gd name="connsiteY5" fmla="*/ 5855484 h 6666549"/>
              <a:gd name="connsiteX6" fmla="*/ 1756810 w 8636594"/>
              <a:gd name="connsiteY6" fmla="*/ 6666549 h 6666549"/>
              <a:gd name="connsiteX7" fmla="*/ 1820216 w 8636594"/>
              <a:gd name="connsiteY7" fmla="*/ 6658735 h 6666549"/>
              <a:gd name="connsiteX8" fmla="*/ 1882914 w 8636594"/>
              <a:gd name="connsiteY8" fmla="*/ 6650463 h 6666549"/>
              <a:gd name="connsiteX9" fmla="*/ 1944909 w 8636594"/>
              <a:gd name="connsiteY9" fmla="*/ 6641737 h 6666549"/>
              <a:gd name="connsiteX10" fmla="*/ 2006208 w 8636594"/>
              <a:gd name="connsiteY10" fmla="*/ 6632561 h 6666549"/>
              <a:gd name="connsiteX11" fmla="*/ 2066817 w 8636594"/>
              <a:gd name="connsiteY11" fmla="*/ 6622937 h 6666549"/>
              <a:gd name="connsiteX12" fmla="*/ 2126742 w 8636594"/>
              <a:gd name="connsiteY12" fmla="*/ 6612869 h 6666549"/>
              <a:gd name="connsiteX13" fmla="*/ 2185991 w 8636594"/>
              <a:gd name="connsiteY13" fmla="*/ 6602362 h 6666549"/>
              <a:gd name="connsiteX14" fmla="*/ 2244569 w 8636594"/>
              <a:gd name="connsiteY14" fmla="*/ 6591417 h 6666549"/>
              <a:gd name="connsiteX15" fmla="*/ 2302482 w 8636594"/>
              <a:gd name="connsiteY15" fmla="*/ 6580040 h 6666549"/>
              <a:gd name="connsiteX16" fmla="*/ 2359737 w 8636594"/>
              <a:gd name="connsiteY16" fmla="*/ 6568233 h 6666549"/>
              <a:gd name="connsiteX17" fmla="*/ 2416341 w 8636594"/>
              <a:gd name="connsiteY17" fmla="*/ 6555999 h 6666549"/>
              <a:gd name="connsiteX18" fmla="*/ 2472299 w 8636594"/>
              <a:gd name="connsiteY18" fmla="*/ 6543344 h 6666549"/>
              <a:gd name="connsiteX19" fmla="*/ 2527618 w 8636594"/>
              <a:gd name="connsiteY19" fmla="*/ 6530269 h 6666549"/>
              <a:gd name="connsiteX20" fmla="*/ 2582304 w 8636594"/>
              <a:gd name="connsiteY20" fmla="*/ 6516778 h 6666549"/>
              <a:gd name="connsiteX21" fmla="*/ 2636364 w 8636594"/>
              <a:gd name="connsiteY21" fmla="*/ 6502876 h 6666549"/>
              <a:gd name="connsiteX22" fmla="*/ 2689804 w 8636594"/>
              <a:gd name="connsiteY22" fmla="*/ 6488565 h 6666549"/>
              <a:gd name="connsiteX23" fmla="*/ 2742629 w 8636594"/>
              <a:gd name="connsiteY23" fmla="*/ 6473849 h 6666549"/>
              <a:gd name="connsiteX24" fmla="*/ 2794848 w 8636594"/>
              <a:gd name="connsiteY24" fmla="*/ 6458731 h 6666549"/>
              <a:gd name="connsiteX25" fmla="*/ 2846466 w 8636594"/>
              <a:gd name="connsiteY25" fmla="*/ 6443216 h 6666549"/>
              <a:gd name="connsiteX26" fmla="*/ 2897488 w 8636594"/>
              <a:gd name="connsiteY26" fmla="*/ 6427305 h 6666549"/>
              <a:gd name="connsiteX27" fmla="*/ 2947923 w 8636594"/>
              <a:gd name="connsiteY27" fmla="*/ 6411004 h 6666549"/>
              <a:gd name="connsiteX28" fmla="*/ 2997775 w 8636594"/>
              <a:gd name="connsiteY28" fmla="*/ 6394316 h 6666549"/>
              <a:gd name="connsiteX29" fmla="*/ 3047052 w 8636594"/>
              <a:gd name="connsiteY29" fmla="*/ 6377243 h 6666549"/>
              <a:gd name="connsiteX30" fmla="*/ 3095759 w 8636594"/>
              <a:gd name="connsiteY30" fmla="*/ 6359791 h 6666549"/>
              <a:gd name="connsiteX31" fmla="*/ 3143903 w 8636594"/>
              <a:gd name="connsiteY31" fmla="*/ 6341961 h 6666549"/>
              <a:gd name="connsiteX32" fmla="*/ 3191491 w 8636594"/>
              <a:gd name="connsiteY32" fmla="*/ 6323757 h 6666549"/>
              <a:gd name="connsiteX33" fmla="*/ 3238528 w 8636594"/>
              <a:gd name="connsiteY33" fmla="*/ 6305184 h 6666549"/>
              <a:gd name="connsiteX34" fmla="*/ 3285021 w 8636594"/>
              <a:gd name="connsiteY34" fmla="*/ 6286245 h 6666549"/>
              <a:gd name="connsiteX35" fmla="*/ 3330977 w 8636594"/>
              <a:gd name="connsiteY35" fmla="*/ 6266942 h 6666549"/>
              <a:gd name="connsiteX36" fmla="*/ 3376401 w 8636594"/>
              <a:gd name="connsiteY36" fmla="*/ 6247281 h 6666549"/>
              <a:gd name="connsiteX37" fmla="*/ 3421300 w 8636594"/>
              <a:gd name="connsiteY37" fmla="*/ 6227263 h 6666549"/>
              <a:gd name="connsiteX38" fmla="*/ 3465680 w 8636594"/>
              <a:gd name="connsiteY38" fmla="*/ 6206893 h 6666549"/>
              <a:gd name="connsiteX39" fmla="*/ 3509548 w 8636594"/>
              <a:gd name="connsiteY39" fmla="*/ 6186174 h 6666549"/>
              <a:gd name="connsiteX40" fmla="*/ 3552910 w 8636594"/>
              <a:gd name="connsiteY40" fmla="*/ 6165110 h 6666549"/>
              <a:gd name="connsiteX41" fmla="*/ 3595773 w 8636594"/>
              <a:gd name="connsiteY41" fmla="*/ 6143704 h 6666549"/>
              <a:gd name="connsiteX42" fmla="*/ 3638142 w 8636594"/>
              <a:gd name="connsiteY42" fmla="*/ 6121960 h 6666549"/>
              <a:gd name="connsiteX43" fmla="*/ 3680024 w 8636594"/>
              <a:gd name="connsiteY43" fmla="*/ 6099881 h 6666549"/>
              <a:gd name="connsiteX44" fmla="*/ 3721426 w 8636594"/>
              <a:gd name="connsiteY44" fmla="*/ 6077471 h 6666549"/>
              <a:gd name="connsiteX45" fmla="*/ 3762353 w 8636594"/>
              <a:gd name="connsiteY45" fmla="*/ 6054733 h 6666549"/>
              <a:gd name="connsiteX46" fmla="*/ 3802812 w 8636594"/>
              <a:gd name="connsiteY46" fmla="*/ 6031671 h 6666549"/>
              <a:gd name="connsiteX47" fmla="*/ 3842810 w 8636594"/>
              <a:gd name="connsiteY47" fmla="*/ 6008288 h 6666549"/>
              <a:gd name="connsiteX48" fmla="*/ 3882352 w 8636594"/>
              <a:gd name="connsiteY48" fmla="*/ 5984588 h 6666549"/>
              <a:gd name="connsiteX49" fmla="*/ 3921445 w 8636594"/>
              <a:gd name="connsiteY49" fmla="*/ 5960574 h 6666549"/>
              <a:gd name="connsiteX50" fmla="*/ 3960096 w 8636594"/>
              <a:gd name="connsiteY50" fmla="*/ 5936250 h 6666549"/>
              <a:gd name="connsiteX51" fmla="*/ 3998311 w 8636594"/>
              <a:gd name="connsiteY51" fmla="*/ 5911619 h 6666549"/>
              <a:gd name="connsiteX52" fmla="*/ 4036095 w 8636594"/>
              <a:gd name="connsiteY52" fmla="*/ 5886685 h 6666549"/>
              <a:gd name="connsiteX53" fmla="*/ 4073456 w 8636594"/>
              <a:gd name="connsiteY53" fmla="*/ 5861452 h 6666549"/>
              <a:gd name="connsiteX54" fmla="*/ 4110400 w 8636594"/>
              <a:gd name="connsiteY54" fmla="*/ 5835922 h 6666549"/>
              <a:gd name="connsiteX55" fmla="*/ 4146933 w 8636594"/>
              <a:gd name="connsiteY55" fmla="*/ 5810100 h 6666549"/>
              <a:gd name="connsiteX56" fmla="*/ 4183061 w 8636594"/>
              <a:gd name="connsiteY56" fmla="*/ 5783988 h 6666549"/>
              <a:gd name="connsiteX57" fmla="*/ 4218791 w 8636594"/>
              <a:gd name="connsiteY57" fmla="*/ 5757591 h 6666549"/>
              <a:gd name="connsiteX58" fmla="*/ 4254129 w 8636594"/>
              <a:gd name="connsiteY58" fmla="*/ 5730912 h 6666549"/>
              <a:gd name="connsiteX59" fmla="*/ 4289081 w 8636594"/>
              <a:gd name="connsiteY59" fmla="*/ 5703955 h 6666549"/>
              <a:gd name="connsiteX60" fmla="*/ 4323654 w 8636594"/>
              <a:gd name="connsiteY60" fmla="*/ 5676722 h 6666549"/>
              <a:gd name="connsiteX61" fmla="*/ 4357854 w 8636594"/>
              <a:gd name="connsiteY61" fmla="*/ 5649218 h 6666549"/>
              <a:gd name="connsiteX62" fmla="*/ 4391688 w 8636594"/>
              <a:gd name="connsiteY62" fmla="*/ 5621446 h 6666549"/>
              <a:gd name="connsiteX63" fmla="*/ 4425162 w 8636594"/>
              <a:gd name="connsiteY63" fmla="*/ 5593409 h 6666549"/>
              <a:gd name="connsiteX64" fmla="*/ 4458281 w 8636594"/>
              <a:gd name="connsiteY64" fmla="*/ 5565111 h 6666549"/>
              <a:gd name="connsiteX65" fmla="*/ 4491053 w 8636594"/>
              <a:gd name="connsiteY65" fmla="*/ 5536556 h 6666549"/>
              <a:gd name="connsiteX66" fmla="*/ 4523484 w 8636594"/>
              <a:gd name="connsiteY66" fmla="*/ 5507747 h 6666549"/>
              <a:gd name="connsiteX67" fmla="*/ 4555580 w 8636594"/>
              <a:gd name="connsiteY67" fmla="*/ 5478687 h 6666549"/>
              <a:gd name="connsiteX68" fmla="*/ 4587347 w 8636594"/>
              <a:gd name="connsiteY68" fmla="*/ 5449380 h 6666549"/>
              <a:gd name="connsiteX69" fmla="*/ 4618793 w 8636594"/>
              <a:gd name="connsiteY69" fmla="*/ 5419830 h 6666549"/>
              <a:gd name="connsiteX70" fmla="*/ 4649922 w 8636594"/>
              <a:gd name="connsiteY70" fmla="*/ 5390040 h 6666549"/>
              <a:gd name="connsiteX71" fmla="*/ 4680742 w 8636594"/>
              <a:gd name="connsiteY71" fmla="*/ 5360014 h 6666549"/>
              <a:gd name="connsiteX72" fmla="*/ 4711259 w 8636594"/>
              <a:gd name="connsiteY72" fmla="*/ 5329755 h 6666549"/>
              <a:gd name="connsiteX73" fmla="*/ 4741478 w 8636594"/>
              <a:gd name="connsiteY73" fmla="*/ 5299266 h 6666549"/>
              <a:gd name="connsiteX74" fmla="*/ 4771408 w 8636594"/>
              <a:gd name="connsiteY74" fmla="*/ 5268551 h 6666549"/>
              <a:gd name="connsiteX75" fmla="*/ 4801053 w 8636594"/>
              <a:gd name="connsiteY75" fmla="*/ 5237614 h 6666549"/>
              <a:gd name="connsiteX76" fmla="*/ 4830420 w 8636594"/>
              <a:gd name="connsiteY76" fmla="*/ 5206458 h 6666549"/>
              <a:gd name="connsiteX77" fmla="*/ 4859516 w 8636594"/>
              <a:gd name="connsiteY77" fmla="*/ 5175087 h 6666549"/>
              <a:gd name="connsiteX78" fmla="*/ 4888347 w 8636594"/>
              <a:gd name="connsiteY78" fmla="*/ 5143504 h 6666549"/>
              <a:gd name="connsiteX79" fmla="*/ 4916919 w 8636594"/>
              <a:gd name="connsiteY79" fmla="*/ 5111713 h 6666549"/>
              <a:gd name="connsiteX80" fmla="*/ 4945238 w 8636594"/>
              <a:gd name="connsiteY80" fmla="*/ 5079717 h 6666549"/>
              <a:gd name="connsiteX81" fmla="*/ 4973311 w 8636594"/>
              <a:gd name="connsiteY81" fmla="*/ 5047519 h 6666549"/>
              <a:gd name="connsiteX82" fmla="*/ 5001145 w 8636594"/>
              <a:gd name="connsiteY82" fmla="*/ 5015124 h 6666549"/>
              <a:gd name="connsiteX83" fmla="*/ 5028745 w 8636594"/>
              <a:gd name="connsiteY83" fmla="*/ 4982535 h 6666549"/>
              <a:gd name="connsiteX84" fmla="*/ 5056117 w 8636594"/>
              <a:gd name="connsiteY84" fmla="*/ 4949755 h 6666549"/>
              <a:gd name="connsiteX85" fmla="*/ 5083269 w 8636594"/>
              <a:gd name="connsiteY85" fmla="*/ 4916787 h 6666549"/>
              <a:gd name="connsiteX86" fmla="*/ 5110207 w 8636594"/>
              <a:gd name="connsiteY86" fmla="*/ 4883636 h 6666549"/>
              <a:gd name="connsiteX87" fmla="*/ 5136937 w 8636594"/>
              <a:gd name="connsiteY87" fmla="*/ 4850305 h 6666549"/>
              <a:gd name="connsiteX88" fmla="*/ 5163464 w 8636594"/>
              <a:gd name="connsiteY88" fmla="*/ 4816797 h 6666549"/>
              <a:gd name="connsiteX89" fmla="*/ 5215940 w 8636594"/>
              <a:gd name="connsiteY89" fmla="*/ 4749265 h 6666549"/>
              <a:gd name="connsiteX90" fmla="*/ 5267684 w 8636594"/>
              <a:gd name="connsiteY90" fmla="*/ 4681068 h 6666549"/>
              <a:gd name="connsiteX91" fmla="*/ 5318748 w 8636594"/>
              <a:gd name="connsiteY91" fmla="*/ 4612234 h 6666549"/>
              <a:gd name="connsiteX92" fmla="*/ 5369182 w 8636594"/>
              <a:gd name="connsiteY92" fmla="*/ 4542793 h 6666549"/>
              <a:gd name="connsiteX93" fmla="*/ 5419038 w 8636594"/>
              <a:gd name="connsiteY93" fmla="*/ 4472771 h 6666549"/>
              <a:gd name="connsiteX94" fmla="*/ 5468365 w 8636594"/>
              <a:gd name="connsiteY94" fmla="*/ 4402196 h 6666549"/>
              <a:gd name="connsiteX95" fmla="*/ 5517215 w 8636594"/>
              <a:gd name="connsiteY95" fmla="*/ 4331098 h 6666549"/>
              <a:gd name="connsiteX96" fmla="*/ 5565637 w 8636594"/>
              <a:gd name="connsiteY96" fmla="*/ 4259503 h 6666549"/>
              <a:gd name="connsiteX97" fmla="*/ 5613684 w 8636594"/>
              <a:gd name="connsiteY97" fmla="*/ 4187441 h 6666549"/>
              <a:gd name="connsiteX98" fmla="*/ 5685160 w 8636594"/>
              <a:gd name="connsiteY98" fmla="*/ 4078531 h 6666549"/>
              <a:gd name="connsiteX99" fmla="*/ 5756074 w 8636594"/>
              <a:gd name="connsiteY99" fmla="*/ 3968727 h 6666549"/>
              <a:gd name="connsiteX100" fmla="*/ 5873483 w 8636594"/>
              <a:gd name="connsiteY100" fmla="*/ 3783989 h 6666549"/>
              <a:gd name="connsiteX101" fmla="*/ 6203209 w 8636594"/>
              <a:gd name="connsiteY101" fmla="*/ 3258640 h 6666549"/>
              <a:gd name="connsiteX102" fmla="*/ 6299430 w 8636594"/>
              <a:gd name="connsiteY102" fmla="*/ 3107321 h 6666549"/>
              <a:gd name="connsiteX103" fmla="*/ 6372650 w 8636594"/>
              <a:gd name="connsiteY103" fmla="*/ 2993735 h 6666549"/>
              <a:gd name="connsiteX104" fmla="*/ 6453197 w 8636594"/>
              <a:gd name="connsiteY104" fmla="*/ 2869788 h 6666549"/>
              <a:gd name="connsiteX105" fmla="*/ 6564167 w 8636594"/>
              <a:gd name="connsiteY105" fmla="*/ 2696807 h 6666549"/>
              <a:gd name="connsiteX106" fmla="*/ 6976233 w 8636594"/>
              <a:gd name="connsiteY106" fmla="*/ 2045274 h 6666549"/>
              <a:gd name="connsiteX107" fmla="*/ 7086755 w 8636594"/>
              <a:gd name="connsiteY107" fmla="*/ 1872743 h 6666549"/>
              <a:gd name="connsiteX108" fmla="*/ 7170279 w 8636594"/>
              <a:gd name="connsiteY108" fmla="*/ 1744202 h 6666549"/>
              <a:gd name="connsiteX109" fmla="*/ 7226351 w 8636594"/>
              <a:gd name="connsiteY109" fmla="*/ 1659017 h 6666549"/>
              <a:gd name="connsiteX110" fmla="*/ 7282789 w 8636594"/>
              <a:gd name="connsiteY110" fmla="*/ 1574303 h 6666549"/>
              <a:gd name="connsiteX111" fmla="*/ 7339643 w 8636594"/>
              <a:gd name="connsiteY111" fmla="*/ 1490113 h 6666549"/>
              <a:gd name="connsiteX112" fmla="*/ 7396957 w 8636594"/>
              <a:gd name="connsiteY112" fmla="*/ 1406503 h 6666549"/>
              <a:gd name="connsiteX113" fmla="*/ 7454781 w 8636594"/>
              <a:gd name="connsiteY113" fmla="*/ 1323526 h 6666549"/>
              <a:gd name="connsiteX114" fmla="*/ 7513161 w 8636594"/>
              <a:gd name="connsiteY114" fmla="*/ 1241237 h 6666549"/>
              <a:gd name="connsiteX115" fmla="*/ 7572144 w 8636594"/>
              <a:gd name="connsiteY115" fmla="*/ 1159689 h 6666549"/>
              <a:gd name="connsiteX116" fmla="*/ 7601877 w 8636594"/>
              <a:gd name="connsiteY116" fmla="*/ 1119210 h 6666549"/>
              <a:gd name="connsiteX117" fmla="*/ 7631779 w 8636594"/>
              <a:gd name="connsiteY117" fmla="*/ 1078937 h 6666549"/>
              <a:gd name="connsiteX118" fmla="*/ 7661855 w 8636594"/>
              <a:gd name="connsiteY118" fmla="*/ 1038876 h 6666549"/>
              <a:gd name="connsiteX119" fmla="*/ 7692111 w 8636594"/>
              <a:gd name="connsiteY119" fmla="*/ 999035 h 6666549"/>
              <a:gd name="connsiteX120" fmla="*/ 7722554 w 8636594"/>
              <a:gd name="connsiteY120" fmla="*/ 959419 h 6666549"/>
              <a:gd name="connsiteX121" fmla="*/ 7753190 w 8636594"/>
              <a:gd name="connsiteY121" fmla="*/ 920037 h 6666549"/>
              <a:gd name="connsiteX122" fmla="*/ 7784023 w 8636594"/>
              <a:gd name="connsiteY122" fmla="*/ 880894 h 6666549"/>
              <a:gd name="connsiteX123" fmla="*/ 7815061 w 8636594"/>
              <a:gd name="connsiteY123" fmla="*/ 841997 h 6666549"/>
              <a:gd name="connsiteX124" fmla="*/ 7846308 w 8636594"/>
              <a:gd name="connsiteY124" fmla="*/ 803354 h 6666549"/>
              <a:gd name="connsiteX125" fmla="*/ 7877772 w 8636594"/>
              <a:gd name="connsiteY125" fmla="*/ 764970 h 6666549"/>
              <a:gd name="connsiteX126" fmla="*/ 7909458 w 8636594"/>
              <a:gd name="connsiteY126" fmla="*/ 726853 h 6666549"/>
              <a:gd name="connsiteX127" fmla="*/ 7941371 w 8636594"/>
              <a:gd name="connsiteY127" fmla="*/ 689010 h 6666549"/>
              <a:gd name="connsiteX128" fmla="*/ 7973518 w 8636594"/>
              <a:gd name="connsiteY128" fmla="*/ 651447 h 6666549"/>
              <a:gd name="connsiteX129" fmla="*/ 8005905 w 8636594"/>
              <a:gd name="connsiteY129" fmla="*/ 614171 h 6666549"/>
              <a:gd name="connsiteX130" fmla="*/ 8038538 w 8636594"/>
              <a:gd name="connsiteY130" fmla="*/ 577189 h 6666549"/>
              <a:gd name="connsiteX131" fmla="*/ 8071421 w 8636594"/>
              <a:gd name="connsiteY131" fmla="*/ 540507 h 6666549"/>
              <a:gd name="connsiteX132" fmla="*/ 8104563 w 8636594"/>
              <a:gd name="connsiteY132" fmla="*/ 504132 h 6666549"/>
              <a:gd name="connsiteX133" fmla="*/ 8137967 w 8636594"/>
              <a:gd name="connsiteY133" fmla="*/ 468072 h 6666549"/>
              <a:gd name="connsiteX134" fmla="*/ 8171641 w 8636594"/>
              <a:gd name="connsiteY134" fmla="*/ 432332 h 6666549"/>
              <a:gd name="connsiteX135" fmla="*/ 8205590 w 8636594"/>
              <a:gd name="connsiteY135" fmla="*/ 396920 h 6666549"/>
              <a:gd name="connsiteX136" fmla="*/ 8239820 w 8636594"/>
              <a:gd name="connsiteY136" fmla="*/ 361843 h 6666549"/>
              <a:gd name="connsiteX137" fmla="*/ 8274337 w 8636594"/>
              <a:gd name="connsiteY137" fmla="*/ 327107 h 6666549"/>
              <a:gd name="connsiteX138" fmla="*/ 8309147 w 8636594"/>
              <a:gd name="connsiteY138" fmla="*/ 292718 h 6666549"/>
              <a:gd name="connsiteX139" fmla="*/ 8344256 w 8636594"/>
              <a:gd name="connsiteY139" fmla="*/ 258685 h 6666549"/>
              <a:gd name="connsiteX140" fmla="*/ 8379669 w 8636594"/>
              <a:gd name="connsiteY140" fmla="*/ 225013 h 6666549"/>
              <a:gd name="connsiteX141" fmla="*/ 8415394 w 8636594"/>
              <a:gd name="connsiteY141" fmla="*/ 191709 h 6666549"/>
              <a:gd name="connsiteX142" fmla="*/ 8451434 w 8636594"/>
              <a:gd name="connsiteY142" fmla="*/ 158780 h 6666549"/>
              <a:gd name="connsiteX143" fmla="*/ 8487798 w 8636594"/>
              <a:gd name="connsiteY143" fmla="*/ 126233 h 6666549"/>
              <a:gd name="connsiteX144" fmla="*/ 8524489 w 8636594"/>
              <a:gd name="connsiteY144" fmla="*/ 94075 h 6666549"/>
              <a:gd name="connsiteX145" fmla="*/ 8561515 w 8636594"/>
              <a:gd name="connsiteY145" fmla="*/ 62312 h 6666549"/>
              <a:gd name="connsiteX146" fmla="*/ 8598881 w 8636594"/>
              <a:gd name="connsiteY146" fmla="*/ 30951 h 6666549"/>
              <a:gd name="connsiteX147" fmla="*/ 8636594 w 8636594"/>
              <a:gd name="connsiteY147" fmla="*/ 0 h 6666549"/>
              <a:gd name="connsiteX0" fmla="*/ 8636594 w 8636594"/>
              <a:gd name="connsiteY0" fmla="*/ 0 h 6658735"/>
              <a:gd name="connsiteX1" fmla="*/ 5293 w 8636594"/>
              <a:gd name="connsiteY1" fmla="*/ 0 h 6658735"/>
              <a:gd name="connsiteX2" fmla="*/ 0 w 8636594"/>
              <a:gd name="connsiteY2" fmla="*/ 5587843 h 6658735"/>
              <a:gd name="connsiteX3" fmla="*/ 1594033 w 8636594"/>
              <a:gd name="connsiteY3" fmla="*/ 5600057 h 6658735"/>
              <a:gd name="connsiteX4" fmla="*/ 1686068 w 8636594"/>
              <a:gd name="connsiteY4" fmla="*/ 5599745 h 6658735"/>
              <a:gd name="connsiteX5" fmla="*/ 1883237 w 8636594"/>
              <a:gd name="connsiteY5" fmla="*/ 5855484 h 6658735"/>
              <a:gd name="connsiteX6" fmla="*/ 2084977 w 8636594"/>
              <a:gd name="connsiteY6" fmla="*/ 5695440 h 6658735"/>
              <a:gd name="connsiteX7" fmla="*/ 1820216 w 8636594"/>
              <a:gd name="connsiteY7" fmla="*/ 6658735 h 6658735"/>
              <a:gd name="connsiteX8" fmla="*/ 1882914 w 8636594"/>
              <a:gd name="connsiteY8" fmla="*/ 6650463 h 6658735"/>
              <a:gd name="connsiteX9" fmla="*/ 1944909 w 8636594"/>
              <a:gd name="connsiteY9" fmla="*/ 6641737 h 6658735"/>
              <a:gd name="connsiteX10" fmla="*/ 2006208 w 8636594"/>
              <a:gd name="connsiteY10" fmla="*/ 6632561 h 6658735"/>
              <a:gd name="connsiteX11" fmla="*/ 2066817 w 8636594"/>
              <a:gd name="connsiteY11" fmla="*/ 6622937 h 6658735"/>
              <a:gd name="connsiteX12" fmla="*/ 2126742 w 8636594"/>
              <a:gd name="connsiteY12" fmla="*/ 6612869 h 6658735"/>
              <a:gd name="connsiteX13" fmla="*/ 2185991 w 8636594"/>
              <a:gd name="connsiteY13" fmla="*/ 6602362 h 6658735"/>
              <a:gd name="connsiteX14" fmla="*/ 2244569 w 8636594"/>
              <a:gd name="connsiteY14" fmla="*/ 6591417 h 6658735"/>
              <a:gd name="connsiteX15" fmla="*/ 2302482 w 8636594"/>
              <a:gd name="connsiteY15" fmla="*/ 6580040 h 6658735"/>
              <a:gd name="connsiteX16" fmla="*/ 2359737 w 8636594"/>
              <a:gd name="connsiteY16" fmla="*/ 6568233 h 6658735"/>
              <a:gd name="connsiteX17" fmla="*/ 2416341 w 8636594"/>
              <a:gd name="connsiteY17" fmla="*/ 6555999 h 6658735"/>
              <a:gd name="connsiteX18" fmla="*/ 2472299 w 8636594"/>
              <a:gd name="connsiteY18" fmla="*/ 6543344 h 6658735"/>
              <a:gd name="connsiteX19" fmla="*/ 2527618 w 8636594"/>
              <a:gd name="connsiteY19" fmla="*/ 6530269 h 6658735"/>
              <a:gd name="connsiteX20" fmla="*/ 2582304 w 8636594"/>
              <a:gd name="connsiteY20" fmla="*/ 6516778 h 6658735"/>
              <a:gd name="connsiteX21" fmla="*/ 2636364 w 8636594"/>
              <a:gd name="connsiteY21" fmla="*/ 6502876 h 6658735"/>
              <a:gd name="connsiteX22" fmla="*/ 2689804 w 8636594"/>
              <a:gd name="connsiteY22" fmla="*/ 6488565 h 6658735"/>
              <a:gd name="connsiteX23" fmla="*/ 2742629 w 8636594"/>
              <a:gd name="connsiteY23" fmla="*/ 6473849 h 6658735"/>
              <a:gd name="connsiteX24" fmla="*/ 2794848 w 8636594"/>
              <a:gd name="connsiteY24" fmla="*/ 6458731 h 6658735"/>
              <a:gd name="connsiteX25" fmla="*/ 2846466 w 8636594"/>
              <a:gd name="connsiteY25" fmla="*/ 6443216 h 6658735"/>
              <a:gd name="connsiteX26" fmla="*/ 2897488 w 8636594"/>
              <a:gd name="connsiteY26" fmla="*/ 6427305 h 6658735"/>
              <a:gd name="connsiteX27" fmla="*/ 2947923 w 8636594"/>
              <a:gd name="connsiteY27" fmla="*/ 6411004 h 6658735"/>
              <a:gd name="connsiteX28" fmla="*/ 2997775 w 8636594"/>
              <a:gd name="connsiteY28" fmla="*/ 6394316 h 6658735"/>
              <a:gd name="connsiteX29" fmla="*/ 3047052 w 8636594"/>
              <a:gd name="connsiteY29" fmla="*/ 6377243 h 6658735"/>
              <a:gd name="connsiteX30" fmla="*/ 3095759 w 8636594"/>
              <a:gd name="connsiteY30" fmla="*/ 6359791 h 6658735"/>
              <a:gd name="connsiteX31" fmla="*/ 3143903 w 8636594"/>
              <a:gd name="connsiteY31" fmla="*/ 6341961 h 6658735"/>
              <a:gd name="connsiteX32" fmla="*/ 3191491 w 8636594"/>
              <a:gd name="connsiteY32" fmla="*/ 6323757 h 6658735"/>
              <a:gd name="connsiteX33" fmla="*/ 3238528 w 8636594"/>
              <a:gd name="connsiteY33" fmla="*/ 6305184 h 6658735"/>
              <a:gd name="connsiteX34" fmla="*/ 3285021 w 8636594"/>
              <a:gd name="connsiteY34" fmla="*/ 6286245 h 6658735"/>
              <a:gd name="connsiteX35" fmla="*/ 3330977 w 8636594"/>
              <a:gd name="connsiteY35" fmla="*/ 6266942 h 6658735"/>
              <a:gd name="connsiteX36" fmla="*/ 3376401 w 8636594"/>
              <a:gd name="connsiteY36" fmla="*/ 6247281 h 6658735"/>
              <a:gd name="connsiteX37" fmla="*/ 3421300 w 8636594"/>
              <a:gd name="connsiteY37" fmla="*/ 6227263 h 6658735"/>
              <a:gd name="connsiteX38" fmla="*/ 3465680 w 8636594"/>
              <a:gd name="connsiteY38" fmla="*/ 6206893 h 6658735"/>
              <a:gd name="connsiteX39" fmla="*/ 3509548 w 8636594"/>
              <a:gd name="connsiteY39" fmla="*/ 6186174 h 6658735"/>
              <a:gd name="connsiteX40" fmla="*/ 3552910 w 8636594"/>
              <a:gd name="connsiteY40" fmla="*/ 6165110 h 6658735"/>
              <a:gd name="connsiteX41" fmla="*/ 3595773 w 8636594"/>
              <a:gd name="connsiteY41" fmla="*/ 6143704 h 6658735"/>
              <a:gd name="connsiteX42" fmla="*/ 3638142 w 8636594"/>
              <a:gd name="connsiteY42" fmla="*/ 6121960 h 6658735"/>
              <a:gd name="connsiteX43" fmla="*/ 3680024 w 8636594"/>
              <a:gd name="connsiteY43" fmla="*/ 6099881 h 6658735"/>
              <a:gd name="connsiteX44" fmla="*/ 3721426 w 8636594"/>
              <a:gd name="connsiteY44" fmla="*/ 6077471 h 6658735"/>
              <a:gd name="connsiteX45" fmla="*/ 3762353 w 8636594"/>
              <a:gd name="connsiteY45" fmla="*/ 6054733 h 6658735"/>
              <a:gd name="connsiteX46" fmla="*/ 3802812 w 8636594"/>
              <a:gd name="connsiteY46" fmla="*/ 6031671 h 6658735"/>
              <a:gd name="connsiteX47" fmla="*/ 3842810 w 8636594"/>
              <a:gd name="connsiteY47" fmla="*/ 6008288 h 6658735"/>
              <a:gd name="connsiteX48" fmla="*/ 3882352 w 8636594"/>
              <a:gd name="connsiteY48" fmla="*/ 5984588 h 6658735"/>
              <a:gd name="connsiteX49" fmla="*/ 3921445 w 8636594"/>
              <a:gd name="connsiteY49" fmla="*/ 5960574 h 6658735"/>
              <a:gd name="connsiteX50" fmla="*/ 3960096 w 8636594"/>
              <a:gd name="connsiteY50" fmla="*/ 5936250 h 6658735"/>
              <a:gd name="connsiteX51" fmla="*/ 3998311 w 8636594"/>
              <a:gd name="connsiteY51" fmla="*/ 5911619 h 6658735"/>
              <a:gd name="connsiteX52" fmla="*/ 4036095 w 8636594"/>
              <a:gd name="connsiteY52" fmla="*/ 5886685 h 6658735"/>
              <a:gd name="connsiteX53" fmla="*/ 4073456 w 8636594"/>
              <a:gd name="connsiteY53" fmla="*/ 5861452 h 6658735"/>
              <a:gd name="connsiteX54" fmla="*/ 4110400 w 8636594"/>
              <a:gd name="connsiteY54" fmla="*/ 5835922 h 6658735"/>
              <a:gd name="connsiteX55" fmla="*/ 4146933 w 8636594"/>
              <a:gd name="connsiteY55" fmla="*/ 5810100 h 6658735"/>
              <a:gd name="connsiteX56" fmla="*/ 4183061 w 8636594"/>
              <a:gd name="connsiteY56" fmla="*/ 5783988 h 6658735"/>
              <a:gd name="connsiteX57" fmla="*/ 4218791 w 8636594"/>
              <a:gd name="connsiteY57" fmla="*/ 5757591 h 6658735"/>
              <a:gd name="connsiteX58" fmla="*/ 4254129 w 8636594"/>
              <a:gd name="connsiteY58" fmla="*/ 5730912 h 6658735"/>
              <a:gd name="connsiteX59" fmla="*/ 4289081 w 8636594"/>
              <a:gd name="connsiteY59" fmla="*/ 5703955 h 6658735"/>
              <a:gd name="connsiteX60" fmla="*/ 4323654 w 8636594"/>
              <a:gd name="connsiteY60" fmla="*/ 5676722 h 6658735"/>
              <a:gd name="connsiteX61" fmla="*/ 4357854 w 8636594"/>
              <a:gd name="connsiteY61" fmla="*/ 5649218 h 6658735"/>
              <a:gd name="connsiteX62" fmla="*/ 4391688 w 8636594"/>
              <a:gd name="connsiteY62" fmla="*/ 5621446 h 6658735"/>
              <a:gd name="connsiteX63" fmla="*/ 4425162 w 8636594"/>
              <a:gd name="connsiteY63" fmla="*/ 5593409 h 6658735"/>
              <a:gd name="connsiteX64" fmla="*/ 4458281 w 8636594"/>
              <a:gd name="connsiteY64" fmla="*/ 5565111 h 6658735"/>
              <a:gd name="connsiteX65" fmla="*/ 4491053 w 8636594"/>
              <a:gd name="connsiteY65" fmla="*/ 5536556 h 6658735"/>
              <a:gd name="connsiteX66" fmla="*/ 4523484 w 8636594"/>
              <a:gd name="connsiteY66" fmla="*/ 5507747 h 6658735"/>
              <a:gd name="connsiteX67" fmla="*/ 4555580 w 8636594"/>
              <a:gd name="connsiteY67" fmla="*/ 5478687 h 6658735"/>
              <a:gd name="connsiteX68" fmla="*/ 4587347 w 8636594"/>
              <a:gd name="connsiteY68" fmla="*/ 5449380 h 6658735"/>
              <a:gd name="connsiteX69" fmla="*/ 4618793 w 8636594"/>
              <a:gd name="connsiteY69" fmla="*/ 5419830 h 6658735"/>
              <a:gd name="connsiteX70" fmla="*/ 4649922 w 8636594"/>
              <a:gd name="connsiteY70" fmla="*/ 5390040 h 6658735"/>
              <a:gd name="connsiteX71" fmla="*/ 4680742 w 8636594"/>
              <a:gd name="connsiteY71" fmla="*/ 5360014 h 6658735"/>
              <a:gd name="connsiteX72" fmla="*/ 4711259 w 8636594"/>
              <a:gd name="connsiteY72" fmla="*/ 5329755 h 6658735"/>
              <a:gd name="connsiteX73" fmla="*/ 4741478 w 8636594"/>
              <a:gd name="connsiteY73" fmla="*/ 5299266 h 6658735"/>
              <a:gd name="connsiteX74" fmla="*/ 4771408 w 8636594"/>
              <a:gd name="connsiteY74" fmla="*/ 5268551 h 6658735"/>
              <a:gd name="connsiteX75" fmla="*/ 4801053 w 8636594"/>
              <a:gd name="connsiteY75" fmla="*/ 5237614 h 6658735"/>
              <a:gd name="connsiteX76" fmla="*/ 4830420 w 8636594"/>
              <a:gd name="connsiteY76" fmla="*/ 5206458 h 6658735"/>
              <a:gd name="connsiteX77" fmla="*/ 4859516 w 8636594"/>
              <a:gd name="connsiteY77" fmla="*/ 5175087 h 6658735"/>
              <a:gd name="connsiteX78" fmla="*/ 4888347 w 8636594"/>
              <a:gd name="connsiteY78" fmla="*/ 5143504 h 6658735"/>
              <a:gd name="connsiteX79" fmla="*/ 4916919 w 8636594"/>
              <a:gd name="connsiteY79" fmla="*/ 5111713 h 6658735"/>
              <a:gd name="connsiteX80" fmla="*/ 4945238 w 8636594"/>
              <a:gd name="connsiteY80" fmla="*/ 5079717 h 6658735"/>
              <a:gd name="connsiteX81" fmla="*/ 4973311 w 8636594"/>
              <a:gd name="connsiteY81" fmla="*/ 5047519 h 6658735"/>
              <a:gd name="connsiteX82" fmla="*/ 5001145 w 8636594"/>
              <a:gd name="connsiteY82" fmla="*/ 5015124 h 6658735"/>
              <a:gd name="connsiteX83" fmla="*/ 5028745 w 8636594"/>
              <a:gd name="connsiteY83" fmla="*/ 4982535 h 6658735"/>
              <a:gd name="connsiteX84" fmla="*/ 5056117 w 8636594"/>
              <a:gd name="connsiteY84" fmla="*/ 4949755 h 6658735"/>
              <a:gd name="connsiteX85" fmla="*/ 5083269 w 8636594"/>
              <a:gd name="connsiteY85" fmla="*/ 4916787 h 6658735"/>
              <a:gd name="connsiteX86" fmla="*/ 5110207 w 8636594"/>
              <a:gd name="connsiteY86" fmla="*/ 4883636 h 6658735"/>
              <a:gd name="connsiteX87" fmla="*/ 5136937 w 8636594"/>
              <a:gd name="connsiteY87" fmla="*/ 4850305 h 6658735"/>
              <a:gd name="connsiteX88" fmla="*/ 5163464 w 8636594"/>
              <a:gd name="connsiteY88" fmla="*/ 4816797 h 6658735"/>
              <a:gd name="connsiteX89" fmla="*/ 5215940 w 8636594"/>
              <a:gd name="connsiteY89" fmla="*/ 4749265 h 6658735"/>
              <a:gd name="connsiteX90" fmla="*/ 5267684 w 8636594"/>
              <a:gd name="connsiteY90" fmla="*/ 4681068 h 6658735"/>
              <a:gd name="connsiteX91" fmla="*/ 5318748 w 8636594"/>
              <a:gd name="connsiteY91" fmla="*/ 4612234 h 6658735"/>
              <a:gd name="connsiteX92" fmla="*/ 5369182 w 8636594"/>
              <a:gd name="connsiteY92" fmla="*/ 4542793 h 6658735"/>
              <a:gd name="connsiteX93" fmla="*/ 5419038 w 8636594"/>
              <a:gd name="connsiteY93" fmla="*/ 4472771 h 6658735"/>
              <a:gd name="connsiteX94" fmla="*/ 5468365 w 8636594"/>
              <a:gd name="connsiteY94" fmla="*/ 4402196 h 6658735"/>
              <a:gd name="connsiteX95" fmla="*/ 5517215 w 8636594"/>
              <a:gd name="connsiteY95" fmla="*/ 4331098 h 6658735"/>
              <a:gd name="connsiteX96" fmla="*/ 5565637 w 8636594"/>
              <a:gd name="connsiteY96" fmla="*/ 4259503 h 6658735"/>
              <a:gd name="connsiteX97" fmla="*/ 5613684 w 8636594"/>
              <a:gd name="connsiteY97" fmla="*/ 4187441 h 6658735"/>
              <a:gd name="connsiteX98" fmla="*/ 5685160 w 8636594"/>
              <a:gd name="connsiteY98" fmla="*/ 4078531 h 6658735"/>
              <a:gd name="connsiteX99" fmla="*/ 5756074 w 8636594"/>
              <a:gd name="connsiteY99" fmla="*/ 3968727 h 6658735"/>
              <a:gd name="connsiteX100" fmla="*/ 5873483 w 8636594"/>
              <a:gd name="connsiteY100" fmla="*/ 3783989 h 6658735"/>
              <a:gd name="connsiteX101" fmla="*/ 6203209 w 8636594"/>
              <a:gd name="connsiteY101" fmla="*/ 3258640 h 6658735"/>
              <a:gd name="connsiteX102" fmla="*/ 6299430 w 8636594"/>
              <a:gd name="connsiteY102" fmla="*/ 3107321 h 6658735"/>
              <a:gd name="connsiteX103" fmla="*/ 6372650 w 8636594"/>
              <a:gd name="connsiteY103" fmla="*/ 2993735 h 6658735"/>
              <a:gd name="connsiteX104" fmla="*/ 6453197 w 8636594"/>
              <a:gd name="connsiteY104" fmla="*/ 2869788 h 6658735"/>
              <a:gd name="connsiteX105" fmla="*/ 6564167 w 8636594"/>
              <a:gd name="connsiteY105" fmla="*/ 2696807 h 6658735"/>
              <a:gd name="connsiteX106" fmla="*/ 6976233 w 8636594"/>
              <a:gd name="connsiteY106" fmla="*/ 2045274 h 6658735"/>
              <a:gd name="connsiteX107" fmla="*/ 7086755 w 8636594"/>
              <a:gd name="connsiteY107" fmla="*/ 1872743 h 6658735"/>
              <a:gd name="connsiteX108" fmla="*/ 7170279 w 8636594"/>
              <a:gd name="connsiteY108" fmla="*/ 1744202 h 6658735"/>
              <a:gd name="connsiteX109" fmla="*/ 7226351 w 8636594"/>
              <a:gd name="connsiteY109" fmla="*/ 1659017 h 6658735"/>
              <a:gd name="connsiteX110" fmla="*/ 7282789 w 8636594"/>
              <a:gd name="connsiteY110" fmla="*/ 1574303 h 6658735"/>
              <a:gd name="connsiteX111" fmla="*/ 7339643 w 8636594"/>
              <a:gd name="connsiteY111" fmla="*/ 1490113 h 6658735"/>
              <a:gd name="connsiteX112" fmla="*/ 7396957 w 8636594"/>
              <a:gd name="connsiteY112" fmla="*/ 1406503 h 6658735"/>
              <a:gd name="connsiteX113" fmla="*/ 7454781 w 8636594"/>
              <a:gd name="connsiteY113" fmla="*/ 1323526 h 6658735"/>
              <a:gd name="connsiteX114" fmla="*/ 7513161 w 8636594"/>
              <a:gd name="connsiteY114" fmla="*/ 1241237 h 6658735"/>
              <a:gd name="connsiteX115" fmla="*/ 7572144 w 8636594"/>
              <a:gd name="connsiteY115" fmla="*/ 1159689 h 6658735"/>
              <a:gd name="connsiteX116" fmla="*/ 7601877 w 8636594"/>
              <a:gd name="connsiteY116" fmla="*/ 1119210 h 6658735"/>
              <a:gd name="connsiteX117" fmla="*/ 7631779 w 8636594"/>
              <a:gd name="connsiteY117" fmla="*/ 1078937 h 6658735"/>
              <a:gd name="connsiteX118" fmla="*/ 7661855 w 8636594"/>
              <a:gd name="connsiteY118" fmla="*/ 1038876 h 6658735"/>
              <a:gd name="connsiteX119" fmla="*/ 7692111 w 8636594"/>
              <a:gd name="connsiteY119" fmla="*/ 999035 h 6658735"/>
              <a:gd name="connsiteX120" fmla="*/ 7722554 w 8636594"/>
              <a:gd name="connsiteY120" fmla="*/ 959419 h 6658735"/>
              <a:gd name="connsiteX121" fmla="*/ 7753190 w 8636594"/>
              <a:gd name="connsiteY121" fmla="*/ 920037 h 6658735"/>
              <a:gd name="connsiteX122" fmla="*/ 7784023 w 8636594"/>
              <a:gd name="connsiteY122" fmla="*/ 880894 h 6658735"/>
              <a:gd name="connsiteX123" fmla="*/ 7815061 w 8636594"/>
              <a:gd name="connsiteY123" fmla="*/ 841997 h 6658735"/>
              <a:gd name="connsiteX124" fmla="*/ 7846308 w 8636594"/>
              <a:gd name="connsiteY124" fmla="*/ 803354 h 6658735"/>
              <a:gd name="connsiteX125" fmla="*/ 7877772 w 8636594"/>
              <a:gd name="connsiteY125" fmla="*/ 764970 h 6658735"/>
              <a:gd name="connsiteX126" fmla="*/ 7909458 w 8636594"/>
              <a:gd name="connsiteY126" fmla="*/ 726853 h 6658735"/>
              <a:gd name="connsiteX127" fmla="*/ 7941371 w 8636594"/>
              <a:gd name="connsiteY127" fmla="*/ 689010 h 6658735"/>
              <a:gd name="connsiteX128" fmla="*/ 7973518 w 8636594"/>
              <a:gd name="connsiteY128" fmla="*/ 651447 h 6658735"/>
              <a:gd name="connsiteX129" fmla="*/ 8005905 w 8636594"/>
              <a:gd name="connsiteY129" fmla="*/ 614171 h 6658735"/>
              <a:gd name="connsiteX130" fmla="*/ 8038538 w 8636594"/>
              <a:gd name="connsiteY130" fmla="*/ 577189 h 6658735"/>
              <a:gd name="connsiteX131" fmla="*/ 8071421 w 8636594"/>
              <a:gd name="connsiteY131" fmla="*/ 540507 h 6658735"/>
              <a:gd name="connsiteX132" fmla="*/ 8104563 w 8636594"/>
              <a:gd name="connsiteY132" fmla="*/ 504132 h 6658735"/>
              <a:gd name="connsiteX133" fmla="*/ 8137967 w 8636594"/>
              <a:gd name="connsiteY133" fmla="*/ 468072 h 6658735"/>
              <a:gd name="connsiteX134" fmla="*/ 8171641 w 8636594"/>
              <a:gd name="connsiteY134" fmla="*/ 432332 h 6658735"/>
              <a:gd name="connsiteX135" fmla="*/ 8205590 w 8636594"/>
              <a:gd name="connsiteY135" fmla="*/ 396920 h 6658735"/>
              <a:gd name="connsiteX136" fmla="*/ 8239820 w 8636594"/>
              <a:gd name="connsiteY136" fmla="*/ 361843 h 6658735"/>
              <a:gd name="connsiteX137" fmla="*/ 8274337 w 8636594"/>
              <a:gd name="connsiteY137" fmla="*/ 327107 h 6658735"/>
              <a:gd name="connsiteX138" fmla="*/ 8309147 w 8636594"/>
              <a:gd name="connsiteY138" fmla="*/ 292718 h 6658735"/>
              <a:gd name="connsiteX139" fmla="*/ 8344256 w 8636594"/>
              <a:gd name="connsiteY139" fmla="*/ 258685 h 6658735"/>
              <a:gd name="connsiteX140" fmla="*/ 8379669 w 8636594"/>
              <a:gd name="connsiteY140" fmla="*/ 225013 h 6658735"/>
              <a:gd name="connsiteX141" fmla="*/ 8415394 w 8636594"/>
              <a:gd name="connsiteY141" fmla="*/ 191709 h 6658735"/>
              <a:gd name="connsiteX142" fmla="*/ 8451434 w 8636594"/>
              <a:gd name="connsiteY142" fmla="*/ 158780 h 6658735"/>
              <a:gd name="connsiteX143" fmla="*/ 8487798 w 8636594"/>
              <a:gd name="connsiteY143" fmla="*/ 126233 h 6658735"/>
              <a:gd name="connsiteX144" fmla="*/ 8524489 w 8636594"/>
              <a:gd name="connsiteY144" fmla="*/ 94075 h 6658735"/>
              <a:gd name="connsiteX145" fmla="*/ 8561515 w 8636594"/>
              <a:gd name="connsiteY145" fmla="*/ 62312 h 6658735"/>
              <a:gd name="connsiteX146" fmla="*/ 8598881 w 8636594"/>
              <a:gd name="connsiteY146" fmla="*/ 30951 h 6658735"/>
              <a:gd name="connsiteX147" fmla="*/ 8636594 w 8636594"/>
              <a:gd name="connsiteY147" fmla="*/ 0 h 6658735"/>
              <a:gd name="connsiteX0" fmla="*/ 8636594 w 8636594"/>
              <a:gd name="connsiteY0" fmla="*/ 0 h 6650463"/>
              <a:gd name="connsiteX1" fmla="*/ 5293 w 8636594"/>
              <a:gd name="connsiteY1" fmla="*/ 0 h 6650463"/>
              <a:gd name="connsiteX2" fmla="*/ 0 w 8636594"/>
              <a:gd name="connsiteY2" fmla="*/ 5587843 h 6650463"/>
              <a:gd name="connsiteX3" fmla="*/ 1594033 w 8636594"/>
              <a:gd name="connsiteY3" fmla="*/ 5600057 h 6650463"/>
              <a:gd name="connsiteX4" fmla="*/ 1686068 w 8636594"/>
              <a:gd name="connsiteY4" fmla="*/ 5599745 h 6650463"/>
              <a:gd name="connsiteX5" fmla="*/ 1883237 w 8636594"/>
              <a:gd name="connsiteY5" fmla="*/ 5855484 h 6650463"/>
              <a:gd name="connsiteX6" fmla="*/ 2084977 w 8636594"/>
              <a:gd name="connsiteY6" fmla="*/ 5695440 h 6650463"/>
              <a:gd name="connsiteX7" fmla="*/ 2222486 w 8636594"/>
              <a:gd name="connsiteY7" fmla="*/ 5687627 h 6650463"/>
              <a:gd name="connsiteX8" fmla="*/ 1882914 w 8636594"/>
              <a:gd name="connsiteY8" fmla="*/ 6650463 h 6650463"/>
              <a:gd name="connsiteX9" fmla="*/ 1944909 w 8636594"/>
              <a:gd name="connsiteY9" fmla="*/ 6641737 h 6650463"/>
              <a:gd name="connsiteX10" fmla="*/ 2006208 w 8636594"/>
              <a:gd name="connsiteY10" fmla="*/ 6632561 h 6650463"/>
              <a:gd name="connsiteX11" fmla="*/ 2066817 w 8636594"/>
              <a:gd name="connsiteY11" fmla="*/ 6622937 h 6650463"/>
              <a:gd name="connsiteX12" fmla="*/ 2126742 w 8636594"/>
              <a:gd name="connsiteY12" fmla="*/ 6612869 h 6650463"/>
              <a:gd name="connsiteX13" fmla="*/ 2185991 w 8636594"/>
              <a:gd name="connsiteY13" fmla="*/ 6602362 h 6650463"/>
              <a:gd name="connsiteX14" fmla="*/ 2244569 w 8636594"/>
              <a:gd name="connsiteY14" fmla="*/ 6591417 h 6650463"/>
              <a:gd name="connsiteX15" fmla="*/ 2302482 w 8636594"/>
              <a:gd name="connsiteY15" fmla="*/ 6580040 h 6650463"/>
              <a:gd name="connsiteX16" fmla="*/ 2359737 w 8636594"/>
              <a:gd name="connsiteY16" fmla="*/ 6568233 h 6650463"/>
              <a:gd name="connsiteX17" fmla="*/ 2416341 w 8636594"/>
              <a:gd name="connsiteY17" fmla="*/ 6555999 h 6650463"/>
              <a:gd name="connsiteX18" fmla="*/ 2472299 w 8636594"/>
              <a:gd name="connsiteY18" fmla="*/ 6543344 h 6650463"/>
              <a:gd name="connsiteX19" fmla="*/ 2527618 w 8636594"/>
              <a:gd name="connsiteY19" fmla="*/ 6530269 h 6650463"/>
              <a:gd name="connsiteX20" fmla="*/ 2582304 w 8636594"/>
              <a:gd name="connsiteY20" fmla="*/ 6516778 h 6650463"/>
              <a:gd name="connsiteX21" fmla="*/ 2636364 w 8636594"/>
              <a:gd name="connsiteY21" fmla="*/ 6502876 h 6650463"/>
              <a:gd name="connsiteX22" fmla="*/ 2689804 w 8636594"/>
              <a:gd name="connsiteY22" fmla="*/ 6488565 h 6650463"/>
              <a:gd name="connsiteX23" fmla="*/ 2742629 w 8636594"/>
              <a:gd name="connsiteY23" fmla="*/ 6473849 h 6650463"/>
              <a:gd name="connsiteX24" fmla="*/ 2794848 w 8636594"/>
              <a:gd name="connsiteY24" fmla="*/ 6458731 h 6650463"/>
              <a:gd name="connsiteX25" fmla="*/ 2846466 w 8636594"/>
              <a:gd name="connsiteY25" fmla="*/ 6443216 h 6650463"/>
              <a:gd name="connsiteX26" fmla="*/ 2897488 w 8636594"/>
              <a:gd name="connsiteY26" fmla="*/ 6427305 h 6650463"/>
              <a:gd name="connsiteX27" fmla="*/ 2947923 w 8636594"/>
              <a:gd name="connsiteY27" fmla="*/ 6411004 h 6650463"/>
              <a:gd name="connsiteX28" fmla="*/ 2997775 w 8636594"/>
              <a:gd name="connsiteY28" fmla="*/ 6394316 h 6650463"/>
              <a:gd name="connsiteX29" fmla="*/ 3047052 w 8636594"/>
              <a:gd name="connsiteY29" fmla="*/ 6377243 h 6650463"/>
              <a:gd name="connsiteX30" fmla="*/ 3095759 w 8636594"/>
              <a:gd name="connsiteY30" fmla="*/ 6359791 h 6650463"/>
              <a:gd name="connsiteX31" fmla="*/ 3143903 w 8636594"/>
              <a:gd name="connsiteY31" fmla="*/ 6341961 h 6650463"/>
              <a:gd name="connsiteX32" fmla="*/ 3191491 w 8636594"/>
              <a:gd name="connsiteY32" fmla="*/ 6323757 h 6650463"/>
              <a:gd name="connsiteX33" fmla="*/ 3238528 w 8636594"/>
              <a:gd name="connsiteY33" fmla="*/ 6305184 h 6650463"/>
              <a:gd name="connsiteX34" fmla="*/ 3285021 w 8636594"/>
              <a:gd name="connsiteY34" fmla="*/ 6286245 h 6650463"/>
              <a:gd name="connsiteX35" fmla="*/ 3330977 w 8636594"/>
              <a:gd name="connsiteY35" fmla="*/ 6266942 h 6650463"/>
              <a:gd name="connsiteX36" fmla="*/ 3376401 w 8636594"/>
              <a:gd name="connsiteY36" fmla="*/ 6247281 h 6650463"/>
              <a:gd name="connsiteX37" fmla="*/ 3421300 w 8636594"/>
              <a:gd name="connsiteY37" fmla="*/ 6227263 h 6650463"/>
              <a:gd name="connsiteX38" fmla="*/ 3465680 w 8636594"/>
              <a:gd name="connsiteY38" fmla="*/ 6206893 h 6650463"/>
              <a:gd name="connsiteX39" fmla="*/ 3509548 w 8636594"/>
              <a:gd name="connsiteY39" fmla="*/ 6186174 h 6650463"/>
              <a:gd name="connsiteX40" fmla="*/ 3552910 w 8636594"/>
              <a:gd name="connsiteY40" fmla="*/ 6165110 h 6650463"/>
              <a:gd name="connsiteX41" fmla="*/ 3595773 w 8636594"/>
              <a:gd name="connsiteY41" fmla="*/ 6143704 h 6650463"/>
              <a:gd name="connsiteX42" fmla="*/ 3638142 w 8636594"/>
              <a:gd name="connsiteY42" fmla="*/ 6121960 h 6650463"/>
              <a:gd name="connsiteX43" fmla="*/ 3680024 w 8636594"/>
              <a:gd name="connsiteY43" fmla="*/ 6099881 h 6650463"/>
              <a:gd name="connsiteX44" fmla="*/ 3721426 w 8636594"/>
              <a:gd name="connsiteY44" fmla="*/ 6077471 h 6650463"/>
              <a:gd name="connsiteX45" fmla="*/ 3762353 w 8636594"/>
              <a:gd name="connsiteY45" fmla="*/ 6054733 h 6650463"/>
              <a:gd name="connsiteX46" fmla="*/ 3802812 w 8636594"/>
              <a:gd name="connsiteY46" fmla="*/ 6031671 h 6650463"/>
              <a:gd name="connsiteX47" fmla="*/ 3842810 w 8636594"/>
              <a:gd name="connsiteY47" fmla="*/ 6008288 h 6650463"/>
              <a:gd name="connsiteX48" fmla="*/ 3882352 w 8636594"/>
              <a:gd name="connsiteY48" fmla="*/ 5984588 h 6650463"/>
              <a:gd name="connsiteX49" fmla="*/ 3921445 w 8636594"/>
              <a:gd name="connsiteY49" fmla="*/ 5960574 h 6650463"/>
              <a:gd name="connsiteX50" fmla="*/ 3960096 w 8636594"/>
              <a:gd name="connsiteY50" fmla="*/ 5936250 h 6650463"/>
              <a:gd name="connsiteX51" fmla="*/ 3998311 w 8636594"/>
              <a:gd name="connsiteY51" fmla="*/ 5911619 h 6650463"/>
              <a:gd name="connsiteX52" fmla="*/ 4036095 w 8636594"/>
              <a:gd name="connsiteY52" fmla="*/ 5886685 h 6650463"/>
              <a:gd name="connsiteX53" fmla="*/ 4073456 w 8636594"/>
              <a:gd name="connsiteY53" fmla="*/ 5861452 h 6650463"/>
              <a:gd name="connsiteX54" fmla="*/ 4110400 w 8636594"/>
              <a:gd name="connsiteY54" fmla="*/ 5835922 h 6650463"/>
              <a:gd name="connsiteX55" fmla="*/ 4146933 w 8636594"/>
              <a:gd name="connsiteY55" fmla="*/ 5810100 h 6650463"/>
              <a:gd name="connsiteX56" fmla="*/ 4183061 w 8636594"/>
              <a:gd name="connsiteY56" fmla="*/ 5783988 h 6650463"/>
              <a:gd name="connsiteX57" fmla="*/ 4218791 w 8636594"/>
              <a:gd name="connsiteY57" fmla="*/ 5757591 h 6650463"/>
              <a:gd name="connsiteX58" fmla="*/ 4254129 w 8636594"/>
              <a:gd name="connsiteY58" fmla="*/ 5730912 h 6650463"/>
              <a:gd name="connsiteX59" fmla="*/ 4289081 w 8636594"/>
              <a:gd name="connsiteY59" fmla="*/ 5703955 h 6650463"/>
              <a:gd name="connsiteX60" fmla="*/ 4323654 w 8636594"/>
              <a:gd name="connsiteY60" fmla="*/ 5676722 h 6650463"/>
              <a:gd name="connsiteX61" fmla="*/ 4357854 w 8636594"/>
              <a:gd name="connsiteY61" fmla="*/ 5649218 h 6650463"/>
              <a:gd name="connsiteX62" fmla="*/ 4391688 w 8636594"/>
              <a:gd name="connsiteY62" fmla="*/ 5621446 h 6650463"/>
              <a:gd name="connsiteX63" fmla="*/ 4425162 w 8636594"/>
              <a:gd name="connsiteY63" fmla="*/ 5593409 h 6650463"/>
              <a:gd name="connsiteX64" fmla="*/ 4458281 w 8636594"/>
              <a:gd name="connsiteY64" fmla="*/ 5565111 h 6650463"/>
              <a:gd name="connsiteX65" fmla="*/ 4491053 w 8636594"/>
              <a:gd name="connsiteY65" fmla="*/ 5536556 h 6650463"/>
              <a:gd name="connsiteX66" fmla="*/ 4523484 w 8636594"/>
              <a:gd name="connsiteY66" fmla="*/ 5507747 h 6650463"/>
              <a:gd name="connsiteX67" fmla="*/ 4555580 w 8636594"/>
              <a:gd name="connsiteY67" fmla="*/ 5478687 h 6650463"/>
              <a:gd name="connsiteX68" fmla="*/ 4587347 w 8636594"/>
              <a:gd name="connsiteY68" fmla="*/ 5449380 h 6650463"/>
              <a:gd name="connsiteX69" fmla="*/ 4618793 w 8636594"/>
              <a:gd name="connsiteY69" fmla="*/ 5419830 h 6650463"/>
              <a:gd name="connsiteX70" fmla="*/ 4649922 w 8636594"/>
              <a:gd name="connsiteY70" fmla="*/ 5390040 h 6650463"/>
              <a:gd name="connsiteX71" fmla="*/ 4680742 w 8636594"/>
              <a:gd name="connsiteY71" fmla="*/ 5360014 h 6650463"/>
              <a:gd name="connsiteX72" fmla="*/ 4711259 w 8636594"/>
              <a:gd name="connsiteY72" fmla="*/ 5329755 h 6650463"/>
              <a:gd name="connsiteX73" fmla="*/ 4741478 w 8636594"/>
              <a:gd name="connsiteY73" fmla="*/ 5299266 h 6650463"/>
              <a:gd name="connsiteX74" fmla="*/ 4771408 w 8636594"/>
              <a:gd name="connsiteY74" fmla="*/ 5268551 h 6650463"/>
              <a:gd name="connsiteX75" fmla="*/ 4801053 w 8636594"/>
              <a:gd name="connsiteY75" fmla="*/ 5237614 h 6650463"/>
              <a:gd name="connsiteX76" fmla="*/ 4830420 w 8636594"/>
              <a:gd name="connsiteY76" fmla="*/ 5206458 h 6650463"/>
              <a:gd name="connsiteX77" fmla="*/ 4859516 w 8636594"/>
              <a:gd name="connsiteY77" fmla="*/ 5175087 h 6650463"/>
              <a:gd name="connsiteX78" fmla="*/ 4888347 w 8636594"/>
              <a:gd name="connsiteY78" fmla="*/ 5143504 h 6650463"/>
              <a:gd name="connsiteX79" fmla="*/ 4916919 w 8636594"/>
              <a:gd name="connsiteY79" fmla="*/ 5111713 h 6650463"/>
              <a:gd name="connsiteX80" fmla="*/ 4945238 w 8636594"/>
              <a:gd name="connsiteY80" fmla="*/ 5079717 h 6650463"/>
              <a:gd name="connsiteX81" fmla="*/ 4973311 w 8636594"/>
              <a:gd name="connsiteY81" fmla="*/ 5047519 h 6650463"/>
              <a:gd name="connsiteX82" fmla="*/ 5001145 w 8636594"/>
              <a:gd name="connsiteY82" fmla="*/ 5015124 h 6650463"/>
              <a:gd name="connsiteX83" fmla="*/ 5028745 w 8636594"/>
              <a:gd name="connsiteY83" fmla="*/ 4982535 h 6650463"/>
              <a:gd name="connsiteX84" fmla="*/ 5056117 w 8636594"/>
              <a:gd name="connsiteY84" fmla="*/ 4949755 h 6650463"/>
              <a:gd name="connsiteX85" fmla="*/ 5083269 w 8636594"/>
              <a:gd name="connsiteY85" fmla="*/ 4916787 h 6650463"/>
              <a:gd name="connsiteX86" fmla="*/ 5110207 w 8636594"/>
              <a:gd name="connsiteY86" fmla="*/ 4883636 h 6650463"/>
              <a:gd name="connsiteX87" fmla="*/ 5136937 w 8636594"/>
              <a:gd name="connsiteY87" fmla="*/ 4850305 h 6650463"/>
              <a:gd name="connsiteX88" fmla="*/ 5163464 w 8636594"/>
              <a:gd name="connsiteY88" fmla="*/ 4816797 h 6650463"/>
              <a:gd name="connsiteX89" fmla="*/ 5215940 w 8636594"/>
              <a:gd name="connsiteY89" fmla="*/ 4749265 h 6650463"/>
              <a:gd name="connsiteX90" fmla="*/ 5267684 w 8636594"/>
              <a:gd name="connsiteY90" fmla="*/ 4681068 h 6650463"/>
              <a:gd name="connsiteX91" fmla="*/ 5318748 w 8636594"/>
              <a:gd name="connsiteY91" fmla="*/ 4612234 h 6650463"/>
              <a:gd name="connsiteX92" fmla="*/ 5369182 w 8636594"/>
              <a:gd name="connsiteY92" fmla="*/ 4542793 h 6650463"/>
              <a:gd name="connsiteX93" fmla="*/ 5419038 w 8636594"/>
              <a:gd name="connsiteY93" fmla="*/ 4472771 h 6650463"/>
              <a:gd name="connsiteX94" fmla="*/ 5468365 w 8636594"/>
              <a:gd name="connsiteY94" fmla="*/ 4402196 h 6650463"/>
              <a:gd name="connsiteX95" fmla="*/ 5517215 w 8636594"/>
              <a:gd name="connsiteY95" fmla="*/ 4331098 h 6650463"/>
              <a:gd name="connsiteX96" fmla="*/ 5565637 w 8636594"/>
              <a:gd name="connsiteY96" fmla="*/ 4259503 h 6650463"/>
              <a:gd name="connsiteX97" fmla="*/ 5613684 w 8636594"/>
              <a:gd name="connsiteY97" fmla="*/ 4187441 h 6650463"/>
              <a:gd name="connsiteX98" fmla="*/ 5685160 w 8636594"/>
              <a:gd name="connsiteY98" fmla="*/ 4078531 h 6650463"/>
              <a:gd name="connsiteX99" fmla="*/ 5756074 w 8636594"/>
              <a:gd name="connsiteY99" fmla="*/ 3968727 h 6650463"/>
              <a:gd name="connsiteX100" fmla="*/ 5873483 w 8636594"/>
              <a:gd name="connsiteY100" fmla="*/ 3783989 h 6650463"/>
              <a:gd name="connsiteX101" fmla="*/ 6203209 w 8636594"/>
              <a:gd name="connsiteY101" fmla="*/ 3258640 h 6650463"/>
              <a:gd name="connsiteX102" fmla="*/ 6299430 w 8636594"/>
              <a:gd name="connsiteY102" fmla="*/ 3107321 h 6650463"/>
              <a:gd name="connsiteX103" fmla="*/ 6372650 w 8636594"/>
              <a:gd name="connsiteY103" fmla="*/ 2993735 h 6650463"/>
              <a:gd name="connsiteX104" fmla="*/ 6453197 w 8636594"/>
              <a:gd name="connsiteY104" fmla="*/ 2869788 h 6650463"/>
              <a:gd name="connsiteX105" fmla="*/ 6564167 w 8636594"/>
              <a:gd name="connsiteY105" fmla="*/ 2696807 h 6650463"/>
              <a:gd name="connsiteX106" fmla="*/ 6976233 w 8636594"/>
              <a:gd name="connsiteY106" fmla="*/ 2045274 h 6650463"/>
              <a:gd name="connsiteX107" fmla="*/ 7086755 w 8636594"/>
              <a:gd name="connsiteY107" fmla="*/ 1872743 h 6650463"/>
              <a:gd name="connsiteX108" fmla="*/ 7170279 w 8636594"/>
              <a:gd name="connsiteY108" fmla="*/ 1744202 h 6650463"/>
              <a:gd name="connsiteX109" fmla="*/ 7226351 w 8636594"/>
              <a:gd name="connsiteY109" fmla="*/ 1659017 h 6650463"/>
              <a:gd name="connsiteX110" fmla="*/ 7282789 w 8636594"/>
              <a:gd name="connsiteY110" fmla="*/ 1574303 h 6650463"/>
              <a:gd name="connsiteX111" fmla="*/ 7339643 w 8636594"/>
              <a:gd name="connsiteY111" fmla="*/ 1490113 h 6650463"/>
              <a:gd name="connsiteX112" fmla="*/ 7396957 w 8636594"/>
              <a:gd name="connsiteY112" fmla="*/ 1406503 h 6650463"/>
              <a:gd name="connsiteX113" fmla="*/ 7454781 w 8636594"/>
              <a:gd name="connsiteY113" fmla="*/ 1323526 h 6650463"/>
              <a:gd name="connsiteX114" fmla="*/ 7513161 w 8636594"/>
              <a:gd name="connsiteY114" fmla="*/ 1241237 h 6650463"/>
              <a:gd name="connsiteX115" fmla="*/ 7572144 w 8636594"/>
              <a:gd name="connsiteY115" fmla="*/ 1159689 h 6650463"/>
              <a:gd name="connsiteX116" fmla="*/ 7601877 w 8636594"/>
              <a:gd name="connsiteY116" fmla="*/ 1119210 h 6650463"/>
              <a:gd name="connsiteX117" fmla="*/ 7631779 w 8636594"/>
              <a:gd name="connsiteY117" fmla="*/ 1078937 h 6650463"/>
              <a:gd name="connsiteX118" fmla="*/ 7661855 w 8636594"/>
              <a:gd name="connsiteY118" fmla="*/ 1038876 h 6650463"/>
              <a:gd name="connsiteX119" fmla="*/ 7692111 w 8636594"/>
              <a:gd name="connsiteY119" fmla="*/ 999035 h 6650463"/>
              <a:gd name="connsiteX120" fmla="*/ 7722554 w 8636594"/>
              <a:gd name="connsiteY120" fmla="*/ 959419 h 6650463"/>
              <a:gd name="connsiteX121" fmla="*/ 7753190 w 8636594"/>
              <a:gd name="connsiteY121" fmla="*/ 920037 h 6650463"/>
              <a:gd name="connsiteX122" fmla="*/ 7784023 w 8636594"/>
              <a:gd name="connsiteY122" fmla="*/ 880894 h 6650463"/>
              <a:gd name="connsiteX123" fmla="*/ 7815061 w 8636594"/>
              <a:gd name="connsiteY123" fmla="*/ 841997 h 6650463"/>
              <a:gd name="connsiteX124" fmla="*/ 7846308 w 8636594"/>
              <a:gd name="connsiteY124" fmla="*/ 803354 h 6650463"/>
              <a:gd name="connsiteX125" fmla="*/ 7877772 w 8636594"/>
              <a:gd name="connsiteY125" fmla="*/ 764970 h 6650463"/>
              <a:gd name="connsiteX126" fmla="*/ 7909458 w 8636594"/>
              <a:gd name="connsiteY126" fmla="*/ 726853 h 6650463"/>
              <a:gd name="connsiteX127" fmla="*/ 7941371 w 8636594"/>
              <a:gd name="connsiteY127" fmla="*/ 689010 h 6650463"/>
              <a:gd name="connsiteX128" fmla="*/ 7973518 w 8636594"/>
              <a:gd name="connsiteY128" fmla="*/ 651447 h 6650463"/>
              <a:gd name="connsiteX129" fmla="*/ 8005905 w 8636594"/>
              <a:gd name="connsiteY129" fmla="*/ 614171 h 6650463"/>
              <a:gd name="connsiteX130" fmla="*/ 8038538 w 8636594"/>
              <a:gd name="connsiteY130" fmla="*/ 577189 h 6650463"/>
              <a:gd name="connsiteX131" fmla="*/ 8071421 w 8636594"/>
              <a:gd name="connsiteY131" fmla="*/ 540507 h 6650463"/>
              <a:gd name="connsiteX132" fmla="*/ 8104563 w 8636594"/>
              <a:gd name="connsiteY132" fmla="*/ 504132 h 6650463"/>
              <a:gd name="connsiteX133" fmla="*/ 8137967 w 8636594"/>
              <a:gd name="connsiteY133" fmla="*/ 468072 h 6650463"/>
              <a:gd name="connsiteX134" fmla="*/ 8171641 w 8636594"/>
              <a:gd name="connsiteY134" fmla="*/ 432332 h 6650463"/>
              <a:gd name="connsiteX135" fmla="*/ 8205590 w 8636594"/>
              <a:gd name="connsiteY135" fmla="*/ 396920 h 6650463"/>
              <a:gd name="connsiteX136" fmla="*/ 8239820 w 8636594"/>
              <a:gd name="connsiteY136" fmla="*/ 361843 h 6650463"/>
              <a:gd name="connsiteX137" fmla="*/ 8274337 w 8636594"/>
              <a:gd name="connsiteY137" fmla="*/ 327107 h 6650463"/>
              <a:gd name="connsiteX138" fmla="*/ 8309147 w 8636594"/>
              <a:gd name="connsiteY138" fmla="*/ 292718 h 6650463"/>
              <a:gd name="connsiteX139" fmla="*/ 8344256 w 8636594"/>
              <a:gd name="connsiteY139" fmla="*/ 258685 h 6650463"/>
              <a:gd name="connsiteX140" fmla="*/ 8379669 w 8636594"/>
              <a:gd name="connsiteY140" fmla="*/ 225013 h 6650463"/>
              <a:gd name="connsiteX141" fmla="*/ 8415394 w 8636594"/>
              <a:gd name="connsiteY141" fmla="*/ 191709 h 6650463"/>
              <a:gd name="connsiteX142" fmla="*/ 8451434 w 8636594"/>
              <a:gd name="connsiteY142" fmla="*/ 158780 h 6650463"/>
              <a:gd name="connsiteX143" fmla="*/ 8487798 w 8636594"/>
              <a:gd name="connsiteY143" fmla="*/ 126233 h 6650463"/>
              <a:gd name="connsiteX144" fmla="*/ 8524489 w 8636594"/>
              <a:gd name="connsiteY144" fmla="*/ 94075 h 6650463"/>
              <a:gd name="connsiteX145" fmla="*/ 8561515 w 8636594"/>
              <a:gd name="connsiteY145" fmla="*/ 62312 h 6650463"/>
              <a:gd name="connsiteX146" fmla="*/ 8598881 w 8636594"/>
              <a:gd name="connsiteY146" fmla="*/ 30951 h 6650463"/>
              <a:gd name="connsiteX147" fmla="*/ 8636594 w 8636594"/>
              <a:gd name="connsiteY147" fmla="*/ 0 h 6650463"/>
              <a:gd name="connsiteX0" fmla="*/ 8636594 w 8636594"/>
              <a:gd name="connsiteY0" fmla="*/ 0 h 6641737"/>
              <a:gd name="connsiteX1" fmla="*/ 5293 w 8636594"/>
              <a:gd name="connsiteY1" fmla="*/ 0 h 6641737"/>
              <a:gd name="connsiteX2" fmla="*/ 0 w 8636594"/>
              <a:gd name="connsiteY2" fmla="*/ 5587843 h 6641737"/>
              <a:gd name="connsiteX3" fmla="*/ 1594033 w 8636594"/>
              <a:gd name="connsiteY3" fmla="*/ 5600057 h 6641737"/>
              <a:gd name="connsiteX4" fmla="*/ 1686068 w 8636594"/>
              <a:gd name="connsiteY4" fmla="*/ 5599745 h 6641737"/>
              <a:gd name="connsiteX5" fmla="*/ 1883237 w 8636594"/>
              <a:gd name="connsiteY5" fmla="*/ 5855484 h 6641737"/>
              <a:gd name="connsiteX6" fmla="*/ 2084977 w 8636594"/>
              <a:gd name="connsiteY6" fmla="*/ 5695440 h 6641737"/>
              <a:gd name="connsiteX7" fmla="*/ 2222486 w 8636594"/>
              <a:gd name="connsiteY7" fmla="*/ 5687627 h 6641737"/>
              <a:gd name="connsiteX8" fmla="*/ 2412216 w 8636594"/>
              <a:gd name="connsiteY8" fmla="*/ 5587741 h 6641737"/>
              <a:gd name="connsiteX9" fmla="*/ 1944909 w 8636594"/>
              <a:gd name="connsiteY9" fmla="*/ 6641737 h 6641737"/>
              <a:gd name="connsiteX10" fmla="*/ 2006208 w 8636594"/>
              <a:gd name="connsiteY10" fmla="*/ 6632561 h 6641737"/>
              <a:gd name="connsiteX11" fmla="*/ 2066817 w 8636594"/>
              <a:gd name="connsiteY11" fmla="*/ 6622937 h 6641737"/>
              <a:gd name="connsiteX12" fmla="*/ 2126742 w 8636594"/>
              <a:gd name="connsiteY12" fmla="*/ 6612869 h 6641737"/>
              <a:gd name="connsiteX13" fmla="*/ 2185991 w 8636594"/>
              <a:gd name="connsiteY13" fmla="*/ 6602362 h 6641737"/>
              <a:gd name="connsiteX14" fmla="*/ 2244569 w 8636594"/>
              <a:gd name="connsiteY14" fmla="*/ 6591417 h 6641737"/>
              <a:gd name="connsiteX15" fmla="*/ 2302482 w 8636594"/>
              <a:gd name="connsiteY15" fmla="*/ 6580040 h 6641737"/>
              <a:gd name="connsiteX16" fmla="*/ 2359737 w 8636594"/>
              <a:gd name="connsiteY16" fmla="*/ 6568233 h 6641737"/>
              <a:gd name="connsiteX17" fmla="*/ 2416341 w 8636594"/>
              <a:gd name="connsiteY17" fmla="*/ 6555999 h 6641737"/>
              <a:gd name="connsiteX18" fmla="*/ 2472299 w 8636594"/>
              <a:gd name="connsiteY18" fmla="*/ 6543344 h 6641737"/>
              <a:gd name="connsiteX19" fmla="*/ 2527618 w 8636594"/>
              <a:gd name="connsiteY19" fmla="*/ 6530269 h 6641737"/>
              <a:gd name="connsiteX20" fmla="*/ 2582304 w 8636594"/>
              <a:gd name="connsiteY20" fmla="*/ 6516778 h 6641737"/>
              <a:gd name="connsiteX21" fmla="*/ 2636364 w 8636594"/>
              <a:gd name="connsiteY21" fmla="*/ 6502876 h 6641737"/>
              <a:gd name="connsiteX22" fmla="*/ 2689804 w 8636594"/>
              <a:gd name="connsiteY22" fmla="*/ 6488565 h 6641737"/>
              <a:gd name="connsiteX23" fmla="*/ 2742629 w 8636594"/>
              <a:gd name="connsiteY23" fmla="*/ 6473849 h 6641737"/>
              <a:gd name="connsiteX24" fmla="*/ 2794848 w 8636594"/>
              <a:gd name="connsiteY24" fmla="*/ 6458731 h 6641737"/>
              <a:gd name="connsiteX25" fmla="*/ 2846466 w 8636594"/>
              <a:gd name="connsiteY25" fmla="*/ 6443216 h 6641737"/>
              <a:gd name="connsiteX26" fmla="*/ 2897488 w 8636594"/>
              <a:gd name="connsiteY26" fmla="*/ 6427305 h 6641737"/>
              <a:gd name="connsiteX27" fmla="*/ 2947923 w 8636594"/>
              <a:gd name="connsiteY27" fmla="*/ 6411004 h 6641737"/>
              <a:gd name="connsiteX28" fmla="*/ 2997775 w 8636594"/>
              <a:gd name="connsiteY28" fmla="*/ 6394316 h 6641737"/>
              <a:gd name="connsiteX29" fmla="*/ 3047052 w 8636594"/>
              <a:gd name="connsiteY29" fmla="*/ 6377243 h 6641737"/>
              <a:gd name="connsiteX30" fmla="*/ 3095759 w 8636594"/>
              <a:gd name="connsiteY30" fmla="*/ 6359791 h 6641737"/>
              <a:gd name="connsiteX31" fmla="*/ 3143903 w 8636594"/>
              <a:gd name="connsiteY31" fmla="*/ 6341961 h 6641737"/>
              <a:gd name="connsiteX32" fmla="*/ 3191491 w 8636594"/>
              <a:gd name="connsiteY32" fmla="*/ 6323757 h 6641737"/>
              <a:gd name="connsiteX33" fmla="*/ 3238528 w 8636594"/>
              <a:gd name="connsiteY33" fmla="*/ 6305184 h 6641737"/>
              <a:gd name="connsiteX34" fmla="*/ 3285021 w 8636594"/>
              <a:gd name="connsiteY34" fmla="*/ 6286245 h 6641737"/>
              <a:gd name="connsiteX35" fmla="*/ 3330977 w 8636594"/>
              <a:gd name="connsiteY35" fmla="*/ 6266942 h 6641737"/>
              <a:gd name="connsiteX36" fmla="*/ 3376401 w 8636594"/>
              <a:gd name="connsiteY36" fmla="*/ 6247281 h 6641737"/>
              <a:gd name="connsiteX37" fmla="*/ 3421300 w 8636594"/>
              <a:gd name="connsiteY37" fmla="*/ 6227263 h 6641737"/>
              <a:gd name="connsiteX38" fmla="*/ 3465680 w 8636594"/>
              <a:gd name="connsiteY38" fmla="*/ 6206893 h 6641737"/>
              <a:gd name="connsiteX39" fmla="*/ 3509548 w 8636594"/>
              <a:gd name="connsiteY39" fmla="*/ 6186174 h 6641737"/>
              <a:gd name="connsiteX40" fmla="*/ 3552910 w 8636594"/>
              <a:gd name="connsiteY40" fmla="*/ 6165110 h 6641737"/>
              <a:gd name="connsiteX41" fmla="*/ 3595773 w 8636594"/>
              <a:gd name="connsiteY41" fmla="*/ 6143704 h 6641737"/>
              <a:gd name="connsiteX42" fmla="*/ 3638142 w 8636594"/>
              <a:gd name="connsiteY42" fmla="*/ 6121960 h 6641737"/>
              <a:gd name="connsiteX43" fmla="*/ 3680024 w 8636594"/>
              <a:gd name="connsiteY43" fmla="*/ 6099881 h 6641737"/>
              <a:gd name="connsiteX44" fmla="*/ 3721426 w 8636594"/>
              <a:gd name="connsiteY44" fmla="*/ 6077471 h 6641737"/>
              <a:gd name="connsiteX45" fmla="*/ 3762353 w 8636594"/>
              <a:gd name="connsiteY45" fmla="*/ 6054733 h 6641737"/>
              <a:gd name="connsiteX46" fmla="*/ 3802812 w 8636594"/>
              <a:gd name="connsiteY46" fmla="*/ 6031671 h 6641737"/>
              <a:gd name="connsiteX47" fmla="*/ 3842810 w 8636594"/>
              <a:gd name="connsiteY47" fmla="*/ 6008288 h 6641737"/>
              <a:gd name="connsiteX48" fmla="*/ 3882352 w 8636594"/>
              <a:gd name="connsiteY48" fmla="*/ 5984588 h 6641737"/>
              <a:gd name="connsiteX49" fmla="*/ 3921445 w 8636594"/>
              <a:gd name="connsiteY49" fmla="*/ 5960574 h 6641737"/>
              <a:gd name="connsiteX50" fmla="*/ 3960096 w 8636594"/>
              <a:gd name="connsiteY50" fmla="*/ 5936250 h 6641737"/>
              <a:gd name="connsiteX51" fmla="*/ 3998311 w 8636594"/>
              <a:gd name="connsiteY51" fmla="*/ 5911619 h 6641737"/>
              <a:gd name="connsiteX52" fmla="*/ 4036095 w 8636594"/>
              <a:gd name="connsiteY52" fmla="*/ 5886685 h 6641737"/>
              <a:gd name="connsiteX53" fmla="*/ 4073456 w 8636594"/>
              <a:gd name="connsiteY53" fmla="*/ 5861452 h 6641737"/>
              <a:gd name="connsiteX54" fmla="*/ 4110400 w 8636594"/>
              <a:gd name="connsiteY54" fmla="*/ 5835922 h 6641737"/>
              <a:gd name="connsiteX55" fmla="*/ 4146933 w 8636594"/>
              <a:gd name="connsiteY55" fmla="*/ 5810100 h 6641737"/>
              <a:gd name="connsiteX56" fmla="*/ 4183061 w 8636594"/>
              <a:gd name="connsiteY56" fmla="*/ 5783988 h 6641737"/>
              <a:gd name="connsiteX57" fmla="*/ 4218791 w 8636594"/>
              <a:gd name="connsiteY57" fmla="*/ 5757591 h 6641737"/>
              <a:gd name="connsiteX58" fmla="*/ 4254129 w 8636594"/>
              <a:gd name="connsiteY58" fmla="*/ 5730912 h 6641737"/>
              <a:gd name="connsiteX59" fmla="*/ 4289081 w 8636594"/>
              <a:gd name="connsiteY59" fmla="*/ 5703955 h 6641737"/>
              <a:gd name="connsiteX60" fmla="*/ 4323654 w 8636594"/>
              <a:gd name="connsiteY60" fmla="*/ 5676722 h 6641737"/>
              <a:gd name="connsiteX61" fmla="*/ 4357854 w 8636594"/>
              <a:gd name="connsiteY61" fmla="*/ 5649218 h 6641737"/>
              <a:gd name="connsiteX62" fmla="*/ 4391688 w 8636594"/>
              <a:gd name="connsiteY62" fmla="*/ 5621446 h 6641737"/>
              <a:gd name="connsiteX63" fmla="*/ 4425162 w 8636594"/>
              <a:gd name="connsiteY63" fmla="*/ 5593409 h 6641737"/>
              <a:gd name="connsiteX64" fmla="*/ 4458281 w 8636594"/>
              <a:gd name="connsiteY64" fmla="*/ 5565111 h 6641737"/>
              <a:gd name="connsiteX65" fmla="*/ 4491053 w 8636594"/>
              <a:gd name="connsiteY65" fmla="*/ 5536556 h 6641737"/>
              <a:gd name="connsiteX66" fmla="*/ 4523484 w 8636594"/>
              <a:gd name="connsiteY66" fmla="*/ 5507747 h 6641737"/>
              <a:gd name="connsiteX67" fmla="*/ 4555580 w 8636594"/>
              <a:gd name="connsiteY67" fmla="*/ 5478687 h 6641737"/>
              <a:gd name="connsiteX68" fmla="*/ 4587347 w 8636594"/>
              <a:gd name="connsiteY68" fmla="*/ 5449380 h 6641737"/>
              <a:gd name="connsiteX69" fmla="*/ 4618793 w 8636594"/>
              <a:gd name="connsiteY69" fmla="*/ 5419830 h 6641737"/>
              <a:gd name="connsiteX70" fmla="*/ 4649922 w 8636594"/>
              <a:gd name="connsiteY70" fmla="*/ 5390040 h 6641737"/>
              <a:gd name="connsiteX71" fmla="*/ 4680742 w 8636594"/>
              <a:gd name="connsiteY71" fmla="*/ 5360014 h 6641737"/>
              <a:gd name="connsiteX72" fmla="*/ 4711259 w 8636594"/>
              <a:gd name="connsiteY72" fmla="*/ 5329755 h 6641737"/>
              <a:gd name="connsiteX73" fmla="*/ 4741478 w 8636594"/>
              <a:gd name="connsiteY73" fmla="*/ 5299266 h 6641737"/>
              <a:gd name="connsiteX74" fmla="*/ 4771408 w 8636594"/>
              <a:gd name="connsiteY74" fmla="*/ 5268551 h 6641737"/>
              <a:gd name="connsiteX75" fmla="*/ 4801053 w 8636594"/>
              <a:gd name="connsiteY75" fmla="*/ 5237614 h 6641737"/>
              <a:gd name="connsiteX76" fmla="*/ 4830420 w 8636594"/>
              <a:gd name="connsiteY76" fmla="*/ 5206458 h 6641737"/>
              <a:gd name="connsiteX77" fmla="*/ 4859516 w 8636594"/>
              <a:gd name="connsiteY77" fmla="*/ 5175087 h 6641737"/>
              <a:gd name="connsiteX78" fmla="*/ 4888347 w 8636594"/>
              <a:gd name="connsiteY78" fmla="*/ 5143504 h 6641737"/>
              <a:gd name="connsiteX79" fmla="*/ 4916919 w 8636594"/>
              <a:gd name="connsiteY79" fmla="*/ 5111713 h 6641737"/>
              <a:gd name="connsiteX80" fmla="*/ 4945238 w 8636594"/>
              <a:gd name="connsiteY80" fmla="*/ 5079717 h 6641737"/>
              <a:gd name="connsiteX81" fmla="*/ 4973311 w 8636594"/>
              <a:gd name="connsiteY81" fmla="*/ 5047519 h 6641737"/>
              <a:gd name="connsiteX82" fmla="*/ 5001145 w 8636594"/>
              <a:gd name="connsiteY82" fmla="*/ 5015124 h 6641737"/>
              <a:gd name="connsiteX83" fmla="*/ 5028745 w 8636594"/>
              <a:gd name="connsiteY83" fmla="*/ 4982535 h 6641737"/>
              <a:gd name="connsiteX84" fmla="*/ 5056117 w 8636594"/>
              <a:gd name="connsiteY84" fmla="*/ 4949755 h 6641737"/>
              <a:gd name="connsiteX85" fmla="*/ 5083269 w 8636594"/>
              <a:gd name="connsiteY85" fmla="*/ 4916787 h 6641737"/>
              <a:gd name="connsiteX86" fmla="*/ 5110207 w 8636594"/>
              <a:gd name="connsiteY86" fmla="*/ 4883636 h 6641737"/>
              <a:gd name="connsiteX87" fmla="*/ 5136937 w 8636594"/>
              <a:gd name="connsiteY87" fmla="*/ 4850305 h 6641737"/>
              <a:gd name="connsiteX88" fmla="*/ 5163464 w 8636594"/>
              <a:gd name="connsiteY88" fmla="*/ 4816797 h 6641737"/>
              <a:gd name="connsiteX89" fmla="*/ 5215940 w 8636594"/>
              <a:gd name="connsiteY89" fmla="*/ 4749265 h 6641737"/>
              <a:gd name="connsiteX90" fmla="*/ 5267684 w 8636594"/>
              <a:gd name="connsiteY90" fmla="*/ 4681068 h 6641737"/>
              <a:gd name="connsiteX91" fmla="*/ 5318748 w 8636594"/>
              <a:gd name="connsiteY91" fmla="*/ 4612234 h 6641737"/>
              <a:gd name="connsiteX92" fmla="*/ 5369182 w 8636594"/>
              <a:gd name="connsiteY92" fmla="*/ 4542793 h 6641737"/>
              <a:gd name="connsiteX93" fmla="*/ 5419038 w 8636594"/>
              <a:gd name="connsiteY93" fmla="*/ 4472771 h 6641737"/>
              <a:gd name="connsiteX94" fmla="*/ 5468365 w 8636594"/>
              <a:gd name="connsiteY94" fmla="*/ 4402196 h 6641737"/>
              <a:gd name="connsiteX95" fmla="*/ 5517215 w 8636594"/>
              <a:gd name="connsiteY95" fmla="*/ 4331098 h 6641737"/>
              <a:gd name="connsiteX96" fmla="*/ 5565637 w 8636594"/>
              <a:gd name="connsiteY96" fmla="*/ 4259503 h 6641737"/>
              <a:gd name="connsiteX97" fmla="*/ 5613684 w 8636594"/>
              <a:gd name="connsiteY97" fmla="*/ 4187441 h 6641737"/>
              <a:gd name="connsiteX98" fmla="*/ 5685160 w 8636594"/>
              <a:gd name="connsiteY98" fmla="*/ 4078531 h 6641737"/>
              <a:gd name="connsiteX99" fmla="*/ 5756074 w 8636594"/>
              <a:gd name="connsiteY99" fmla="*/ 3968727 h 6641737"/>
              <a:gd name="connsiteX100" fmla="*/ 5873483 w 8636594"/>
              <a:gd name="connsiteY100" fmla="*/ 3783989 h 6641737"/>
              <a:gd name="connsiteX101" fmla="*/ 6203209 w 8636594"/>
              <a:gd name="connsiteY101" fmla="*/ 3258640 h 6641737"/>
              <a:gd name="connsiteX102" fmla="*/ 6299430 w 8636594"/>
              <a:gd name="connsiteY102" fmla="*/ 3107321 h 6641737"/>
              <a:gd name="connsiteX103" fmla="*/ 6372650 w 8636594"/>
              <a:gd name="connsiteY103" fmla="*/ 2993735 h 6641737"/>
              <a:gd name="connsiteX104" fmla="*/ 6453197 w 8636594"/>
              <a:gd name="connsiteY104" fmla="*/ 2869788 h 6641737"/>
              <a:gd name="connsiteX105" fmla="*/ 6564167 w 8636594"/>
              <a:gd name="connsiteY105" fmla="*/ 2696807 h 6641737"/>
              <a:gd name="connsiteX106" fmla="*/ 6976233 w 8636594"/>
              <a:gd name="connsiteY106" fmla="*/ 2045274 h 6641737"/>
              <a:gd name="connsiteX107" fmla="*/ 7086755 w 8636594"/>
              <a:gd name="connsiteY107" fmla="*/ 1872743 h 6641737"/>
              <a:gd name="connsiteX108" fmla="*/ 7170279 w 8636594"/>
              <a:gd name="connsiteY108" fmla="*/ 1744202 h 6641737"/>
              <a:gd name="connsiteX109" fmla="*/ 7226351 w 8636594"/>
              <a:gd name="connsiteY109" fmla="*/ 1659017 h 6641737"/>
              <a:gd name="connsiteX110" fmla="*/ 7282789 w 8636594"/>
              <a:gd name="connsiteY110" fmla="*/ 1574303 h 6641737"/>
              <a:gd name="connsiteX111" fmla="*/ 7339643 w 8636594"/>
              <a:gd name="connsiteY111" fmla="*/ 1490113 h 6641737"/>
              <a:gd name="connsiteX112" fmla="*/ 7396957 w 8636594"/>
              <a:gd name="connsiteY112" fmla="*/ 1406503 h 6641737"/>
              <a:gd name="connsiteX113" fmla="*/ 7454781 w 8636594"/>
              <a:gd name="connsiteY113" fmla="*/ 1323526 h 6641737"/>
              <a:gd name="connsiteX114" fmla="*/ 7513161 w 8636594"/>
              <a:gd name="connsiteY114" fmla="*/ 1241237 h 6641737"/>
              <a:gd name="connsiteX115" fmla="*/ 7572144 w 8636594"/>
              <a:gd name="connsiteY115" fmla="*/ 1159689 h 6641737"/>
              <a:gd name="connsiteX116" fmla="*/ 7601877 w 8636594"/>
              <a:gd name="connsiteY116" fmla="*/ 1119210 h 6641737"/>
              <a:gd name="connsiteX117" fmla="*/ 7631779 w 8636594"/>
              <a:gd name="connsiteY117" fmla="*/ 1078937 h 6641737"/>
              <a:gd name="connsiteX118" fmla="*/ 7661855 w 8636594"/>
              <a:gd name="connsiteY118" fmla="*/ 1038876 h 6641737"/>
              <a:gd name="connsiteX119" fmla="*/ 7692111 w 8636594"/>
              <a:gd name="connsiteY119" fmla="*/ 999035 h 6641737"/>
              <a:gd name="connsiteX120" fmla="*/ 7722554 w 8636594"/>
              <a:gd name="connsiteY120" fmla="*/ 959419 h 6641737"/>
              <a:gd name="connsiteX121" fmla="*/ 7753190 w 8636594"/>
              <a:gd name="connsiteY121" fmla="*/ 920037 h 6641737"/>
              <a:gd name="connsiteX122" fmla="*/ 7784023 w 8636594"/>
              <a:gd name="connsiteY122" fmla="*/ 880894 h 6641737"/>
              <a:gd name="connsiteX123" fmla="*/ 7815061 w 8636594"/>
              <a:gd name="connsiteY123" fmla="*/ 841997 h 6641737"/>
              <a:gd name="connsiteX124" fmla="*/ 7846308 w 8636594"/>
              <a:gd name="connsiteY124" fmla="*/ 803354 h 6641737"/>
              <a:gd name="connsiteX125" fmla="*/ 7877772 w 8636594"/>
              <a:gd name="connsiteY125" fmla="*/ 764970 h 6641737"/>
              <a:gd name="connsiteX126" fmla="*/ 7909458 w 8636594"/>
              <a:gd name="connsiteY126" fmla="*/ 726853 h 6641737"/>
              <a:gd name="connsiteX127" fmla="*/ 7941371 w 8636594"/>
              <a:gd name="connsiteY127" fmla="*/ 689010 h 6641737"/>
              <a:gd name="connsiteX128" fmla="*/ 7973518 w 8636594"/>
              <a:gd name="connsiteY128" fmla="*/ 651447 h 6641737"/>
              <a:gd name="connsiteX129" fmla="*/ 8005905 w 8636594"/>
              <a:gd name="connsiteY129" fmla="*/ 614171 h 6641737"/>
              <a:gd name="connsiteX130" fmla="*/ 8038538 w 8636594"/>
              <a:gd name="connsiteY130" fmla="*/ 577189 h 6641737"/>
              <a:gd name="connsiteX131" fmla="*/ 8071421 w 8636594"/>
              <a:gd name="connsiteY131" fmla="*/ 540507 h 6641737"/>
              <a:gd name="connsiteX132" fmla="*/ 8104563 w 8636594"/>
              <a:gd name="connsiteY132" fmla="*/ 504132 h 6641737"/>
              <a:gd name="connsiteX133" fmla="*/ 8137967 w 8636594"/>
              <a:gd name="connsiteY133" fmla="*/ 468072 h 6641737"/>
              <a:gd name="connsiteX134" fmla="*/ 8171641 w 8636594"/>
              <a:gd name="connsiteY134" fmla="*/ 432332 h 6641737"/>
              <a:gd name="connsiteX135" fmla="*/ 8205590 w 8636594"/>
              <a:gd name="connsiteY135" fmla="*/ 396920 h 6641737"/>
              <a:gd name="connsiteX136" fmla="*/ 8239820 w 8636594"/>
              <a:gd name="connsiteY136" fmla="*/ 361843 h 6641737"/>
              <a:gd name="connsiteX137" fmla="*/ 8274337 w 8636594"/>
              <a:gd name="connsiteY137" fmla="*/ 327107 h 6641737"/>
              <a:gd name="connsiteX138" fmla="*/ 8309147 w 8636594"/>
              <a:gd name="connsiteY138" fmla="*/ 292718 h 6641737"/>
              <a:gd name="connsiteX139" fmla="*/ 8344256 w 8636594"/>
              <a:gd name="connsiteY139" fmla="*/ 258685 h 6641737"/>
              <a:gd name="connsiteX140" fmla="*/ 8379669 w 8636594"/>
              <a:gd name="connsiteY140" fmla="*/ 225013 h 6641737"/>
              <a:gd name="connsiteX141" fmla="*/ 8415394 w 8636594"/>
              <a:gd name="connsiteY141" fmla="*/ 191709 h 6641737"/>
              <a:gd name="connsiteX142" fmla="*/ 8451434 w 8636594"/>
              <a:gd name="connsiteY142" fmla="*/ 158780 h 6641737"/>
              <a:gd name="connsiteX143" fmla="*/ 8487798 w 8636594"/>
              <a:gd name="connsiteY143" fmla="*/ 126233 h 6641737"/>
              <a:gd name="connsiteX144" fmla="*/ 8524489 w 8636594"/>
              <a:gd name="connsiteY144" fmla="*/ 94075 h 6641737"/>
              <a:gd name="connsiteX145" fmla="*/ 8561515 w 8636594"/>
              <a:gd name="connsiteY145" fmla="*/ 62312 h 6641737"/>
              <a:gd name="connsiteX146" fmla="*/ 8598881 w 8636594"/>
              <a:gd name="connsiteY146" fmla="*/ 30951 h 6641737"/>
              <a:gd name="connsiteX147" fmla="*/ 8636594 w 8636594"/>
              <a:gd name="connsiteY147" fmla="*/ 0 h 6641737"/>
              <a:gd name="connsiteX0" fmla="*/ 8636594 w 8636594"/>
              <a:gd name="connsiteY0" fmla="*/ 0 h 6632561"/>
              <a:gd name="connsiteX1" fmla="*/ 5293 w 8636594"/>
              <a:gd name="connsiteY1" fmla="*/ 0 h 6632561"/>
              <a:gd name="connsiteX2" fmla="*/ 0 w 8636594"/>
              <a:gd name="connsiteY2" fmla="*/ 5587843 h 6632561"/>
              <a:gd name="connsiteX3" fmla="*/ 1594033 w 8636594"/>
              <a:gd name="connsiteY3" fmla="*/ 5600057 h 6632561"/>
              <a:gd name="connsiteX4" fmla="*/ 1686068 w 8636594"/>
              <a:gd name="connsiteY4" fmla="*/ 5599745 h 6632561"/>
              <a:gd name="connsiteX5" fmla="*/ 1883237 w 8636594"/>
              <a:gd name="connsiteY5" fmla="*/ 5855484 h 6632561"/>
              <a:gd name="connsiteX6" fmla="*/ 2084977 w 8636594"/>
              <a:gd name="connsiteY6" fmla="*/ 5695440 h 6632561"/>
              <a:gd name="connsiteX7" fmla="*/ 2222486 w 8636594"/>
              <a:gd name="connsiteY7" fmla="*/ 5687627 h 6632561"/>
              <a:gd name="connsiteX8" fmla="*/ 2412216 w 8636594"/>
              <a:gd name="connsiteY8" fmla="*/ 5587741 h 6632561"/>
              <a:gd name="connsiteX9" fmla="*/ 2490090 w 8636594"/>
              <a:gd name="connsiteY9" fmla="*/ 5591230 h 6632561"/>
              <a:gd name="connsiteX10" fmla="*/ 2006208 w 8636594"/>
              <a:gd name="connsiteY10" fmla="*/ 6632561 h 6632561"/>
              <a:gd name="connsiteX11" fmla="*/ 2066817 w 8636594"/>
              <a:gd name="connsiteY11" fmla="*/ 6622937 h 6632561"/>
              <a:gd name="connsiteX12" fmla="*/ 2126742 w 8636594"/>
              <a:gd name="connsiteY12" fmla="*/ 6612869 h 6632561"/>
              <a:gd name="connsiteX13" fmla="*/ 2185991 w 8636594"/>
              <a:gd name="connsiteY13" fmla="*/ 6602362 h 6632561"/>
              <a:gd name="connsiteX14" fmla="*/ 2244569 w 8636594"/>
              <a:gd name="connsiteY14" fmla="*/ 6591417 h 6632561"/>
              <a:gd name="connsiteX15" fmla="*/ 2302482 w 8636594"/>
              <a:gd name="connsiteY15" fmla="*/ 6580040 h 6632561"/>
              <a:gd name="connsiteX16" fmla="*/ 2359737 w 8636594"/>
              <a:gd name="connsiteY16" fmla="*/ 6568233 h 6632561"/>
              <a:gd name="connsiteX17" fmla="*/ 2416341 w 8636594"/>
              <a:gd name="connsiteY17" fmla="*/ 6555999 h 6632561"/>
              <a:gd name="connsiteX18" fmla="*/ 2472299 w 8636594"/>
              <a:gd name="connsiteY18" fmla="*/ 6543344 h 6632561"/>
              <a:gd name="connsiteX19" fmla="*/ 2527618 w 8636594"/>
              <a:gd name="connsiteY19" fmla="*/ 6530269 h 6632561"/>
              <a:gd name="connsiteX20" fmla="*/ 2582304 w 8636594"/>
              <a:gd name="connsiteY20" fmla="*/ 6516778 h 6632561"/>
              <a:gd name="connsiteX21" fmla="*/ 2636364 w 8636594"/>
              <a:gd name="connsiteY21" fmla="*/ 6502876 h 6632561"/>
              <a:gd name="connsiteX22" fmla="*/ 2689804 w 8636594"/>
              <a:gd name="connsiteY22" fmla="*/ 6488565 h 6632561"/>
              <a:gd name="connsiteX23" fmla="*/ 2742629 w 8636594"/>
              <a:gd name="connsiteY23" fmla="*/ 6473849 h 6632561"/>
              <a:gd name="connsiteX24" fmla="*/ 2794848 w 8636594"/>
              <a:gd name="connsiteY24" fmla="*/ 6458731 h 6632561"/>
              <a:gd name="connsiteX25" fmla="*/ 2846466 w 8636594"/>
              <a:gd name="connsiteY25" fmla="*/ 6443216 h 6632561"/>
              <a:gd name="connsiteX26" fmla="*/ 2897488 w 8636594"/>
              <a:gd name="connsiteY26" fmla="*/ 6427305 h 6632561"/>
              <a:gd name="connsiteX27" fmla="*/ 2947923 w 8636594"/>
              <a:gd name="connsiteY27" fmla="*/ 6411004 h 6632561"/>
              <a:gd name="connsiteX28" fmla="*/ 2997775 w 8636594"/>
              <a:gd name="connsiteY28" fmla="*/ 6394316 h 6632561"/>
              <a:gd name="connsiteX29" fmla="*/ 3047052 w 8636594"/>
              <a:gd name="connsiteY29" fmla="*/ 6377243 h 6632561"/>
              <a:gd name="connsiteX30" fmla="*/ 3095759 w 8636594"/>
              <a:gd name="connsiteY30" fmla="*/ 6359791 h 6632561"/>
              <a:gd name="connsiteX31" fmla="*/ 3143903 w 8636594"/>
              <a:gd name="connsiteY31" fmla="*/ 6341961 h 6632561"/>
              <a:gd name="connsiteX32" fmla="*/ 3191491 w 8636594"/>
              <a:gd name="connsiteY32" fmla="*/ 6323757 h 6632561"/>
              <a:gd name="connsiteX33" fmla="*/ 3238528 w 8636594"/>
              <a:gd name="connsiteY33" fmla="*/ 6305184 h 6632561"/>
              <a:gd name="connsiteX34" fmla="*/ 3285021 w 8636594"/>
              <a:gd name="connsiteY34" fmla="*/ 6286245 h 6632561"/>
              <a:gd name="connsiteX35" fmla="*/ 3330977 w 8636594"/>
              <a:gd name="connsiteY35" fmla="*/ 6266942 h 6632561"/>
              <a:gd name="connsiteX36" fmla="*/ 3376401 w 8636594"/>
              <a:gd name="connsiteY36" fmla="*/ 6247281 h 6632561"/>
              <a:gd name="connsiteX37" fmla="*/ 3421300 w 8636594"/>
              <a:gd name="connsiteY37" fmla="*/ 6227263 h 6632561"/>
              <a:gd name="connsiteX38" fmla="*/ 3465680 w 8636594"/>
              <a:gd name="connsiteY38" fmla="*/ 6206893 h 6632561"/>
              <a:gd name="connsiteX39" fmla="*/ 3509548 w 8636594"/>
              <a:gd name="connsiteY39" fmla="*/ 6186174 h 6632561"/>
              <a:gd name="connsiteX40" fmla="*/ 3552910 w 8636594"/>
              <a:gd name="connsiteY40" fmla="*/ 6165110 h 6632561"/>
              <a:gd name="connsiteX41" fmla="*/ 3595773 w 8636594"/>
              <a:gd name="connsiteY41" fmla="*/ 6143704 h 6632561"/>
              <a:gd name="connsiteX42" fmla="*/ 3638142 w 8636594"/>
              <a:gd name="connsiteY42" fmla="*/ 6121960 h 6632561"/>
              <a:gd name="connsiteX43" fmla="*/ 3680024 w 8636594"/>
              <a:gd name="connsiteY43" fmla="*/ 6099881 h 6632561"/>
              <a:gd name="connsiteX44" fmla="*/ 3721426 w 8636594"/>
              <a:gd name="connsiteY44" fmla="*/ 6077471 h 6632561"/>
              <a:gd name="connsiteX45" fmla="*/ 3762353 w 8636594"/>
              <a:gd name="connsiteY45" fmla="*/ 6054733 h 6632561"/>
              <a:gd name="connsiteX46" fmla="*/ 3802812 w 8636594"/>
              <a:gd name="connsiteY46" fmla="*/ 6031671 h 6632561"/>
              <a:gd name="connsiteX47" fmla="*/ 3842810 w 8636594"/>
              <a:gd name="connsiteY47" fmla="*/ 6008288 h 6632561"/>
              <a:gd name="connsiteX48" fmla="*/ 3882352 w 8636594"/>
              <a:gd name="connsiteY48" fmla="*/ 5984588 h 6632561"/>
              <a:gd name="connsiteX49" fmla="*/ 3921445 w 8636594"/>
              <a:gd name="connsiteY49" fmla="*/ 5960574 h 6632561"/>
              <a:gd name="connsiteX50" fmla="*/ 3960096 w 8636594"/>
              <a:gd name="connsiteY50" fmla="*/ 5936250 h 6632561"/>
              <a:gd name="connsiteX51" fmla="*/ 3998311 w 8636594"/>
              <a:gd name="connsiteY51" fmla="*/ 5911619 h 6632561"/>
              <a:gd name="connsiteX52" fmla="*/ 4036095 w 8636594"/>
              <a:gd name="connsiteY52" fmla="*/ 5886685 h 6632561"/>
              <a:gd name="connsiteX53" fmla="*/ 4073456 w 8636594"/>
              <a:gd name="connsiteY53" fmla="*/ 5861452 h 6632561"/>
              <a:gd name="connsiteX54" fmla="*/ 4110400 w 8636594"/>
              <a:gd name="connsiteY54" fmla="*/ 5835922 h 6632561"/>
              <a:gd name="connsiteX55" fmla="*/ 4146933 w 8636594"/>
              <a:gd name="connsiteY55" fmla="*/ 5810100 h 6632561"/>
              <a:gd name="connsiteX56" fmla="*/ 4183061 w 8636594"/>
              <a:gd name="connsiteY56" fmla="*/ 5783988 h 6632561"/>
              <a:gd name="connsiteX57" fmla="*/ 4218791 w 8636594"/>
              <a:gd name="connsiteY57" fmla="*/ 5757591 h 6632561"/>
              <a:gd name="connsiteX58" fmla="*/ 4254129 w 8636594"/>
              <a:gd name="connsiteY58" fmla="*/ 5730912 h 6632561"/>
              <a:gd name="connsiteX59" fmla="*/ 4289081 w 8636594"/>
              <a:gd name="connsiteY59" fmla="*/ 5703955 h 6632561"/>
              <a:gd name="connsiteX60" fmla="*/ 4323654 w 8636594"/>
              <a:gd name="connsiteY60" fmla="*/ 5676722 h 6632561"/>
              <a:gd name="connsiteX61" fmla="*/ 4357854 w 8636594"/>
              <a:gd name="connsiteY61" fmla="*/ 5649218 h 6632561"/>
              <a:gd name="connsiteX62" fmla="*/ 4391688 w 8636594"/>
              <a:gd name="connsiteY62" fmla="*/ 5621446 h 6632561"/>
              <a:gd name="connsiteX63" fmla="*/ 4425162 w 8636594"/>
              <a:gd name="connsiteY63" fmla="*/ 5593409 h 6632561"/>
              <a:gd name="connsiteX64" fmla="*/ 4458281 w 8636594"/>
              <a:gd name="connsiteY64" fmla="*/ 5565111 h 6632561"/>
              <a:gd name="connsiteX65" fmla="*/ 4491053 w 8636594"/>
              <a:gd name="connsiteY65" fmla="*/ 5536556 h 6632561"/>
              <a:gd name="connsiteX66" fmla="*/ 4523484 w 8636594"/>
              <a:gd name="connsiteY66" fmla="*/ 5507747 h 6632561"/>
              <a:gd name="connsiteX67" fmla="*/ 4555580 w 8636594"/>
              <a:gd name="connsiteY67" fmla="*/ 5478687 h 6632561"/>
              <a:gd name="connsiteX68" fmla="*/ 4587347 w 8636594"/>
              <a:gd name="connsiteY68" fmla="*/ 5449380 h 6632561"/>
              <a:gd name="connsiteX69" fmla="*/ 4618793 w 8636594"/>
              <a:gd name="connsiteY69" fmla="*/ 5419830 h 6632561"/>
              <a:gd name="connsiteX70" fmla="*/ 4649922 w 8636594"/>
              <a:gd name="connsiteY70" fmla="*/ 5390040 h 6632561"/>
              <a:gd name="connsiteX71" fmla="*/ 4680742 w 8636594"/>
              <a:gd name="connsiteY71" fmla="*/ 5360014 h 6632561"/>
              <a:gd name="connsiteX72" fmla="*/ 4711259 w 8636594"/>
              <a:gd name="connsiteY72" fmla="*/ 5329755 h 6632561"/>
              <a:gd name="connsiteX73" fmla="*/ 4741478 w 8636594"/>
              <a:gd name="connsiteY73" fmla="*/ 5299266 h 6632561"/>
              <a:gd name="connsiteX74" fmla="*/ 4771408 w 8636594"/>
              <a:gd name="connsiteY74" fmla="*/ 5268551 h 6632561"/>
              <a:gd name="connsiteX75" fmla="*/ 4801053 w 8636594"/>
              <a:gd name="connsiteY75" fmla="*/ 5237614 h 6632561"/>
              <a:gd name="connsiteX76" fmla="*/ 4830420 w 8636594"/>
              <a:gd name="connsiteY76" fmla="*/ 5206458 h 6632561"/>
              <a:gd name="connsiteX77" fmla="*/ 4859516 w 8636594"/>
              <a:gd name="connsiteY77" fmla="*/ 5175087 h 6632561"/>
              <a:gd name="connsiteX78" fmla="*/ 4888347 w 8636594"/>
              <a:gd name="connsiteY78" fmla="*/ 5143504 h 6632561"/>
              <a:gd name="connsiteX79" fmla="*/ 4916919 w 8636594"/>
              <a:gd name="connsiteY79" fmla="*/ 5111713 h 6632561"/>
              <a:gd name="connsiteX80" fmla="*/ 4945238 w 8636594"/>
              <a:gd name="connsiteY80" fmla="*/ 5079717 h 6632561"/>
              <a:gd name="connsiteX81" fmla="*/ 4973311 w 8636594"/>
              <a:gd name="connsiteY81" fmla="*/ 5047519 h 6632561"/>
              <a:gd name="connsiteX82" fmla="*/ 5001145 w 8636594"/>
              <a:gd name="connsiteY82" fmla="*/ 5015124 h 6632561"/>
              <a:gd name="connsiteX83" fmla="*/ 5028745 w 8636594"/>
              <a:gd name="connsiteY83" fmla="*/ 4982535 h 6632561"/>
              <a:gd name="connsiteX84" fmla="*/ 5056117 w 8636594"/>
              <a:gd name="connsiteY84" fmla="*/ 4949755 h 6632561"/>
              <a:gd name="connsiteX85" fmla="*/ 5083269 w 8636594"/>
              <a:gd name="connsiteY85" fmla="*/ 4916787 h 6632561"/>
              <a:gd name="connsiteX86" fmla="*/ 5110207 w 8636594"/>
              <a:gd name="connsiteY86" fmla="*/ 4883636 h 6632561"/>
              <a:gd name="connsiteX87" fmla="*/ 5136937 w 8636594"/>
              <a:gd name="connsiteY87" fmla="*/ 4850305 h 6632561"/>
              <a:gd name="connsiteX88" fmla="*/ 5163464 w 8636594"/>
              <a:gd name="connsiteY88" fmla="*/ 4816797 h 6632561"/>
              <a:gd name="connsiteX89" fmla="*/ 5215940 w 8636594"/>
              <a:gd name="connsiteY89" fmla="*/ 4749265 h 6632561"/>
              <a:gd name="connsiteX90" fmla="*/ 5267684 w 8636594"/>
              <a:gd name="connsiteY90" fmla="*/ 4681068 h 6632561"/>
              <a:gd name="connsiteX91" fmla="*/ 5318748 w 8636594"/>
              <a:gd name="connsiteY91" fmla="*/ 4612234 h 6632561"/>
              <a:gd name="connsiteX92" fmla="*/ 5369182 w 8636594"/>
              <a:gd name="connsiteY92" fmla="*/ 4542793 h 6632561"/>
              <a:gd name="connsiteX93" fmla="*/ 5419038 w 8636594"/>
              <a:gd name="connsiteY93" fmla="*/ 4472771 h 6632561"/>
              <a:gd name="connsiteX94" fmla="*/ 5468365 w 8636594"/>
              <a:gd name="connsiteY94" fmla="*/ 4402196 h 6632561"/>
              <a:gd name="connsiteX95" fmla="*/ 5517215 w 8636594"/>
              <a:gd name="connsiteY95" fmla="*/ 4331098 h 6632561"/>
              <a:gd name="connsiteX96" fmla="*/ 5565637 w 8636594"/>
              <a:gd name="connsiteY96" fmla="*/ 4259503 h 6632561"/>
              <a:gd name="connsiteX97" fmla="*/ 5613684 w 8636594"/>
              <a:gd name="connsiteY97" fmla="*/ 4187441 h 6632561"/>
              <a:gd name="connsiteX98" fmla="*/ 5685160 w 8636594"/>
              <a:gd name="connsiteY98" fmla="*/ 4078531 h 6632561"/>
              <a:gd name="connsiteX99" fmla="*/ 5756074 w 8636594"/>
              <a:gd name="connsiteY99" fmla="*/ 3968727 h 6632561"/>
              <a:gd name="connsiteX100" fmla="*/ 5873483 w 8636594"/>
              <a:gd name="connsiteY100" fmla="*/ 3783989 h 6632561"/>
              <a:gd name="connsiteX101" fmla="*/ 6203209 w 8636594"/>
              <a:gd name="connsiteY101" fmla="*/ 3258640 h 6632561"/>
              <a:gd name="connsiteX102" fmla="*/ 6299430 w 8636594"/>
              <a:gd name="connsiteY102" fmla="*/ 3107321 h 6632561"/>
              <a:gd name="connsiteX103" fmla="*/ 6372650 w 8636594"/>
              <a:gd name="connsiteY103" fmla="*/ 2993735 h 6632561"/>
              <a:gd name="connsiteX104" fmla="*/ 6453197 w 8636594"/>
              <a:gd name="connsiteY104" fmla="*/ 2869788 h 6632561"/>
              <a:gd name="connsiteX105" fmla="*/ 6564167 w 8636594"/>
              <a:gd name="connsiteY105" fmla="*/ 2696807 h 6632561"/>
              <a:gd name="connsiteX106" fmla="*/ 6976233 w 8636594"/>
              <a:gd name="connsiteY106" fmla="*/ 2045274 h 6632561"/>
              <a:gd name="connsiteX107" fmla="*/ 7086755 w 8636594"/>
              <a:gd name="connsiteY107" fmla="*/ 1872743 h 6632561"/>
              <a:gd name="connsiteX108" fmla="*/ 7170279 w 8636594"/>
              <a:gd name="connsiteY108" fmla="*/ 1744202 h 6632561"/>
              <a:gd name="connsiteX109" fmla="*/ 7226351 w 8636594"/>
              <a:gd name="connsiteY109" fmla="*/ 1659017 h 6632561"/>
              <a:gd name="connsiteX110" fmla="*/ 7282789 w 8636594"/>
              <a:gd name="connsiteY110" fmla="*/ 1574303 h 6632561"/>
              <a:gd name="connsiteX111" fmla="*/ 7339643 w 8636594"/>
              <a:gd name="connsiteY111" fmla="*/ 1490113 h 6632561"/>
              <a:gd name="connsiteX112" fmla="*/ 7396957 w 8636594"/>
              <a:gd name="connsiteY112" fmla="*/ 1406503 h 6632561"/>
              <a:gd name="connsiteX113" fmla="*/ 7454781 w 8636594"/>
              <a:gd name="connsiteY113" fmla="*/ 1323526 h 6632561"/>
              <a:gd name="connsiteX114" fmla="*/ 7513161 w 8636594"/>
              <a:gd name="connsiteY114" fmla="*/ 1241237 h 6632561"/>
              <a:gd name="connsiteX115" fmla="*/ 7572144 w 8636594"/>
              <a:gd name="connsiteY115" fmla="*/ 1159689 h 6632561"/>
              <a:gd name="connsiteX116" fmla="*/ 7601877 w 8636594"/>
              <a:gd name="connsiteY116" fmla="*/ 1119210 h 6632561"/>
              <a:gd name="connsiteX117" fmla="*/ 7631779 w 8636594"/>
              <a:gd name="connsiteY117" fmla="*/ 1078937 h 6632561"/>
              <a:gd name="connsiteX118" fmla="*/ 7661855 w 8636594"/>
              <a:gd name="connsiteY118" fmla="*/ 1038876 h 6632561"/>
              <a:gd name="connsiteX119" fmla="*/ 7692111 w 8636594"/>
              <a:gd name="connsiteY119" fmla="*/ 999035 h 6632561"/>
              <a:gd name="connsiteX120" fmla="*/ 7722554 w 8636594"/>
              <a:gd name="connsiteY120" fmla="*/ 959419 h 6632561"/>
              <a:gd name="connsiteX121" fmla="*/ 7753190 w 8636594"/>
              <a:gd name="connsiteY121" fmla="*/ 920037 h 6632561"/>
              <a:gd name="connsiteX122" fmla="*/ 7784023 w 8636594"/>
              <a:gd name="connsiteY122" fmla="*/ 880894 h 6632561"/>
              <a:gd name="connsiteX123" fmla="*/ 7815061 w 8636594"/>
              <a:gd name="connsiteY123" fmla="*/ 841997 h 6632561"/>
              <a:gd name="connsiteX124" fmla="*/ 7846308 w 8636594"/>
              <a:gd name="connsiteY124" fmla="*/ 803354 h 6632561"/>
              <a:gd name="connsiteX125" fmla="*/ 7877772 w 8636594"/>
              <a:gd name="connsiteY125" fmla="*/ 764970 h 6632561"/>
              <a:gd name="connsiteX126" fmla="*/ 7909458 w 8636594"/>
              <a:gd name="connsiteY126" fmla="*/ 726853 h 6632561"/>
              <a:gd name="connsiteX127" fmla="*/ 7941371 w 8636594"/>
              <a:gd name="connsiteY127" fmla="*/ 689010 h 6632561"/>
              <a:gd name="connsiteX128" fmla="*/ 7973518 w 8636594"/>
              <a:gd name="connsiteY128" fmla="*/ 651447 h 6632561"/>
              <a:gd name="connsiteX129" fmla="*/ 8005905 w 8636594"/>
              <a:gd name="connsiteY129" fmla="*/ 614171 h 6632561"/>
              <a:gd name="connsiteX130" fmla="*/ 8038538 w 8636594"/>
              <a:gd name="connsiteY130" fmla="*/ 577189 h 6632561"/>
              <a:gd name="connsiteX131" fmla="*/ 8071421 w 8636594"/>
              <a:gd name="connsiteY131" fmla="*/ 540507 h 6632561"/>
              <a:gd name="connsiteX132" fmla="*/ 8104563 w 8636594"/>
              <a:gd name="connsiteY132" fmla="*/ 504132 h 6632561"/>
              <a:gd name="connsiteX133" fmla="*/ 8137967 w 8636594"/>
              <a:gd name="connsiteY133" fmla="*/ 468072 h 6632561"/>
              <a:gd name="connsiteX134" fmla="*/ 8171641 w 8636594"/>
              <a:gd name="connsiteY134" fmla="*/ 432332 h 6632561"/>
              <a:gd name="connsiteX135" fmla="*/ 8205590 w 8636594"/>
              <a:gd name="connsiteY135" fmla="*/ 396920 h 6632561"/>
              <a:gd name="connsiteX136" fmla="*/ 8239820 w 8636594"/>
              <a:gd name="connsiteY136" fmla="*/ 361843 h 6632561"/>
              <a:gd name="connsiteX137" fmla="*/ 8274337 w 8636594"/>
              <a:gd name="connsiteY137" fmla="*/ 327107 h 6632561"/>
              <a:gd name="connsiteX138" fmla="*/ 8309147 w 8636594"/>
              <a:gd name="connsiteY138" fmla="*/ 292718 h 6632561"/>
              <a:gd name="connsiteX139" fmla="*/ 8344256 w 8636594"/>
              <a:gd name="connsiteY139" fmla="*/ 258685 h 6632561"/>
              <a:gd name="connsiteX140" fmla="*/ 8379669 w 8636594"/>
              <a:gd name="connsiteY140" fmla="*/ 225013 h 6632561"/>
              <a:gd name="connsiteX141" fmla="*/ 8415394 w 8636594"/>
              <a:gd name="connsiteY141" fmla="*/ 191709 h 6632561"/>
              <a:gd name="connsiteX142" fmla="*/ 8451434 w 8636594"/>
              <a:gd name="connsiteY142" fmla="*/ 158780 h 6632561"/>
              <a:gd name="connsiteX143" fmla="*/ 8487798 w 8636594"/>
              <a:gd name="connsiteY143" fmla="*/ 126233 h 6632561"/>
              <a:gd name="connsiteX144" fmla="*/ 8524489 w 8636594"/>
              <a:gd name="connsiteY144" fmla="*/ 94075 h 6632561"/>
              <a:gd name="connsiteX145" fmla="*/ 8561515 w 8636594"/>
              <a:gd name="connsiteY145" fmla="*/ 62312 h 6632561"/>
              <a:gd name="connsiteX146" fmla="*/ 8598881 w 8636594"/>
              <a:gd name="connsiteY146" fmla="*/ 30951 h 6632561"/>
              <a:gd name="connsiteX147" fmla="*/ 8636594 w 8636594"/>
              <a:gd name="connsiteY147" fmla="*/ 0 h 6632561"/>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222486 w 8636594"/>
              <a:gd name="connsiteY6" fmla="*/ 5687627 h 6622937"/>
              <a:gd name="connsiteX7" fmla="*/ 2412216 w 8636594"/>
              <a:gd name="connsiteY7" fmla="*/ 5587741 h 6622937"/>
              <a:gd name="connsiteX8" fmla="*/ 2490090 w 8636594"/>
              <a:gd name="connsiteY8" fmla="*/ 5591230 h 6622937"/>
              <a:gd name="connsiteX9" fmla="*/ 2561975 w 8636594"/>
              <a:gd name="connsiteY9" fmla="*/ 5533193 h 6622937"/>
              <a:gd name="connsiteX10" fmla="*/ 2066817 w 8636594"/>
              <a:gd name="connsiteY10" fmla="*/ 6622937 h 6622937"/>
              <a:gd name="connsiteX11" fmla="*/ 2126742 w 8636594"/>
              <a:gd name="connsiteY11" fmla="*/ 6612869 h 6622937"/>
              <a:gd name="connsiteX12" fmla="*/ 2185991 w 8636594"/>
              <a:gd name="connsiteY12" fmla="*/ 6602362 h 6622937"/>
              <a:gd name="connsiteX13" fmla="*/ 2244569 w 8636594"/>
              <a:gd name="connsiteY13" fmla="*/ 6591417 h 6622937"/>
              <a:gd name="connsiteX14" fmla="*/ 2302482 w 8636594"/>
              <a:gd name="connsiteY14" fmla="*/ 6580040 h 6622937"/>
              <a:gd name="connsiteX15" fmla="*/ 2359737 w 8636594"/>
              <a:gd name="connsiteY15" fmla="*/ 6568233 h 6622937"/>
              <a:gd name="connsiteX16" fmla="*/ 2416341 w 8636594"/>
              <a:gd name="connsiteY16" fmla="*/ 6555999 h 6622937"/>
              <a:gd name="connsiteX17" fmla="*/ 2472299 w 8636594"/>
              <a:gd name="connsiteY17" fmla="*/ 6543344 h 6622937"/>
              <a:gd name="connsiteX18" fmla="*/ 2527618 w 8636594"/>
              <a:gd name="connsiteY18" fmla="*/ 6530269 h 6622937"/>
              <a:gd name="connsiteX19" fmla="*/ 2582304 w 8636594"/>
              <a:gd name="connsiteY19" fmla="*/ 6516778 h 6622937"/>
              <a:gd name="connsiteX20" fmla="*/ 2636364 w 8636594"/>
              <a:gd name="connsiteY20" fmla="*/ 6502876 h 6622937"/>
              <a:gd name="connsiteX21" fmla="*/ 2689804 w 8636594"/>
              <a:gd name="connsiteY21" fmla="*/ 6488565 h 6622937"/>
              <a:gd name="connsiteX22" fmla="*/ 2742629 w 8636594"/>
              <a:gd name="connsiteY22" fmla="*/ 6473849 h 6622937"/>
              <a:gd name="connsiteX23" fmla="*/ 2794848 w 8636594"/>
              <a:gd name="connsiteY23" fmla="*/ 6458731 h 6622937"/>
              <a:gd name="connsiteX24" fmla="*/ 2846466 w 8636594"/>
              <a:gd name="connsiteY24" fmla="*/ 6443216 h 6622937"/>
              <a:gd name="connsiteX25" fmla="*/ 2897488 w 8636594"/>
              <a:gd name="connsiteY25" fmla="*/ 6427305 h 6622937"/>
              <a:gd name="connsiteX26" fmla="*/ 2947923 w 8636594"/>
              <a:gd name="connsiteY26" fmla="*/ 6411004 h 6622937"/>
              <a:gd name="connsiteX27" fmla="*/ 2997775 w 8636594"/>
              <a:gd name="connsiteY27" fmla="*/ 6394316 h 6622937"/>
              <a:gd name="connsiteX28" fmla="*/ 3047052 w 8636594"/>
              <a:gd name="connsiteY28" fmla="*/ 6377243 h 6622937"/>
              <a:gd name="connsiteX29" fmla="*/ 3095759 w 8636594"/>
              <a:gd name="connsiteY29" fmla="*/ 6359791 h 6622937"/>
              <a:gd name="connsiteX30" fmla="*/ 3143903 w 8636594"/>
              <a:gd name="connsiteY30" fmla="*/ 6341961 h 6622937"/>
              <a:gd name="connsiteX31" fmla="*/ 3191491 w 8636594"/>
              <a:gd name="connsiteY31" fmla="*/ 6323757 h 6622937"/>
              <a:gd name="connsiteX32" fmla="*/ 3238528 w 8636594"/>
              <a:gd name="connsiteY32" fmla="*/ 6305184 h 6622937"/>
              <a:gd name="connsiteX33" fmla="*/ 3285021 w 8636594"/>
              <a:gd name="connsiteY33" fmla="*/ 6286245 h 6622937"/>
              <a:gd name="connsiteX34" fmla="*/ 3330977 w 8636594"/>
              <a:gd name="connsiteY34" fmla="*/ 6266942 h 6622937"/>
              <a:gd name="connsiteX35" fmla="*/ 3376401 w 8636594"/>
              <a:gd name="connsiteY35" fmla="*/ 6247281 h 6622937"/>
              <a:gd name="connsiteX36" fmla="*/ 3421300 w 8636594"/>
              <a:gd name="connsiteY36" fmla="*/ 6227263 h 6622937"/>
              <a:gd name="connsiteX37" fmla="*/ 3465680 w 8636594"/>
              <a:gd name="connsiteY37" fmla="*/ 6206893 h 6622937"/>
              <a:gd name="connsiteX38" fmla="*/ 3509548 w 8636594"/>
              <a:gd name="connsiteY38" fmla="*/ 6186174 h 6622937"/>
              <a:gd name="connsiteX39" fmla="*/ 3552910 w 8636594"/>
              <a:gd name="connsiteY39" fmla="*/ 6165110 h 6622937"/>
              <a:gd name="connsiteX40" fmla="*/ 3595773 w 8636594"/>
              <a:gd name="connsiteY40" fmla="*/ 6143704 h 6622937"/>
              <a:gd name="connsiteX41" fmla="*/ 3638142 w 8636594"/>
              <a:gd name="connsiteY41" fmla="*/ 6121960 h 6622937"/>
              <a:gd name="connsiteX42" fmla="*/ 3680024 w 8636594"/>
              <a:gd name="connsiteY42" fmla="*/ 6099881 h 6622937"/>
              <a:gd name="connsiteX43" fmla="*/ 3721426 w 8636594"/>
              <a:gd name="connsiteY43" fmla="*/ 6077471 h 6622937"/>
              <a:gd name="connsiteX44" fmla="*/ 3762353 w 8636594"/>
              <a:gd name="connsiteY44" fmla="*/ 6054733 h 6622937"/>
              <a:gd name="connsiteX45" fmla="*/ 3802812 w 8636594"/>
              <a:gd name="connsiteY45" fmla="*/ 6031671 h 6622937"/>
              <a:gd name="connsiteX46" fmla="*/ 3842810 w 8636594"/>
              <a:gd name="connsiteY46" fmla="*/ 6008288 h 6622937"/>
              <a:gd name="connsiteX47" fmla="*/ 3882352 w 8636594"/>
              <a:gd name="connsiteY47" fmla="*/ 5984588 h 6622937"/>
              <a:gd name="connsiteX48" fmla="*/ 3921445 w 8636594"/>
              <a:gd name="connsiteY48" fmla="*/ 5960574 h 6622937"/>
              <a:gd name="connsiteX49" fmla="*/ 3960096 w 8636594"/>
              <a:gd name="connsiteY49" fmla="*/ 5936250 h 6622937"/>
              <a:gd name="connsiteX50" fmla="*/ 3998311 w 8636594"/>
              <a:gd name="connsiteY50" fmla="*/ 5911619 h 6622937"/>
              <a:gd name="connsiteX51" fmla="*/ 4036095 w 8636594"/>
              <a:gd name="connsiteY51" fmla="*/ 5886685 h 6622937"/>
              <a:gd name="connsiteX52" fmla="*/ 4073456 w 8636594"/>
              <a:gd name="connsiteY52" fmla="*/ 5861452 h 6622937"/>
              <a:gd name="connsiteX53" fmla="*/ 4110400 w 8636594"/>
              <a:gd name="connsiteY53" fmla="*/ 5835922 h 6622937"/>
              <a:gd name="connsiteX54" fmla="*/ 4146933 w 8636594"/>
              <a:gd name="connsiteY54" fmla="*/ 5810100 h 6622937"/>
              <a:gd name="connsiteX55" fmla="*/ 4183061 w 8636594"/>
              <a:gd name="connsiteY55" fmla="*/ 5783988 h 6622937"/>
              <a:gd name="connsiteX56" fmla="*/ 4218791 w 8636594"/>
              <a:gd name="connsiteY56" fmla="*/ 5757591 h 6622937"/>
              <a:gd name="connsiteX57" fmla="*/ 4254129 w 8636594"/>
              <a:gd name="connsiteY57" fmla="*/ 5730912 h 6622937"/>
              <a:gd name="connsiteX58" fmla="*/ 4289081 w 8636594"/>
              <a:gd name="connsiteY58" fmla="*/ 5703955 h 6622937"/>
              <a:gd name="connsiteX59" fmla="*/ 4323654 w 8636594"/>
              <a:gd name="connsiteY59" fmla="*/ 5676722 h 6622937"/>
              <a:gd name="connsiteX60" fmla="*/ 4357854 w 8636594"/>
              <a:gd name="connsiteY60" fmla="*/ 5649218 h 6622937"/>
              <a:gd name="connsiteX61" fmla="*/ 4391688 w 8636594"/>
              <a:gd name="connsiteY61" fmla="*/ 5621446 h 6622937"/>
              <a:gd name="connsiteX62" fmla="*/ 4425162 w 8636594"/>
              <a:gd name="connsiteY62" fmla="*/ 5593409 h 6622937"/>
              <a:gd name="connsiteX63" fmla="*/ 4458281 w 8636594"/>
              <a:gd name="connsiteY63" fmla="*/ 5565111 h 6622937"/>
              <a:gd name="connsiteX64" fmla="*/ 4491053 w 8636594"/>
              <a:gd name="connsiteY64" fmla="*/ 5536556 h 6622937"/>
              <a:gd name="connsiteX65" fmla="*/ 4523484 w 8636594"/>
              <a:gd name="connsiteY65" fmla="*/ 5507747 h 6622937"/>
              <a:gd name="connsiteX66" fmla="*/ 4555580 w 8636594"/>
              <a:gd name="connsiteY66" fmla="*/ 5478687 h 6622937"/>
              <a:gd name="connsiteX67" fmla="*/ 4587347 w 8636594"/>
              <a:gd name="connsiteY67" fmla="*/ 5449380 h 6622937"/>
              <a:gd name="connsiteX68" fmla="*/ 4618793 w 8636594"/>
              <a:gd name="connsiteY68" fmla="*/ 5419830 h 6622937"/>
              <a:gd name="connsiteX69" fmla="*/ 4649922 w 8636594"/>
              <a:gd name="connsiteY69" fmla="*/ 5390040 h 6622937"/>
              <a:gd name="connsiteX70" fmla="*/ 4680742 w 8636594"/>
              <a:gd name="connsiteY70" fmla="*/ 5360014 h 6622937"/>
              <a:gd name="connsiteX71" fmla="*/ 4711259 w 8636594"/>
              <a:gd name="connsiteY71" fmla="*/ 5329755 h 6622937"/>
              <a:gd name="connsiteX72" fmla="*/ 4741478 w 8636594"/>
              <a:gd name="connsiteY72" fmla="*/ 5299266 h 6622937"/>
              <a:gd name="connsiteX73" fmla="*/ 4771408 w 8636594"/>
              <a:gd name="connsiteY73" fmla="*/ 5268551 h 6622937"/>
              <a:gd name="connsiteX74" fmla="*/ 4801053 w 8636594"/>
              <a:gd name="connsiteY74" fmla="*/ 5237614 h 6622937"/>
              <a:gd name="connsiteX75" fmla="*/ 4830420 w 8636594"/>
              <a:gd name="connsiteY75" fmla="*/ 5206458 h 6622937"/>
              <a:gd name="connsiteX76" fmla="*/ 4859516 w 8636594"/>
              <a:gd name="connsiteY76" fmla="*/ 5175087 h 6622937"/>
              <a:gd name="connsiteX77" fmla="*/ 4888347 w 8636594"/>
              <a:gd name="connsiteY77" fmla="*/ 5143504 h 6622937"/>
              <a:gd name="connsiteX78" fmla="*/ 4916919 w 8636594"/>
              <a:gd name="connsiteY78" fmla="*/ 5111713 h 6622937"/>
              <a:gd name="connsiteX79" fmla="*/ 4945238 w 8636594"/>
              <a:gd name="connsiteY79" fmla="*/ 5079717 h 6622937"/>
              <a:gd name="connsiteX80" fmla="*/ 4973311 w 8636594"/>
              <a:gd name="connsiteY80" fmla="*/ 5047519 h 6622937"/>
              <a:gd name="connsiteX81" fmla="*/ 5001145 w 8636594"/>
              <a:gd name="connsiteY81" fmla="*/ 5015124 h 6622937"/>
              <a:gd name="connsiteX82" fmla="*/ 5028745 w 8636594"/>
              <a:gd name="connsiteY82" fmla="*/ 4982535 h 6622937"/>
              <a:gd name="connsiteX83" fmla="*/ 5056117 w 8636594"/>
              <a:gd name="connsiteY83" fmla="*/ 4949755 h 6622937"/>
              <a:gd name="connsiteX84" fmla="*/ 5083269 w 8636594"/>
              <a:gd name="connsiteY84" fmla="*/ 4916787 h 6622937"/>
              <a:gd name="connsiteX85" fmla="*/ 5110207 w 8636594"/>
              <a:gd name="connsiteY85" fmla="*/ 4883636 h 6622937"/>
              <a:gd name="connsiteX86" fmla="*/ 5136937 w 8636594"/>
              <a:gd name="connsiteY86" fmla="*/ 4850305 h 6622937"/>
              <a:gd name="connsiteX87" fmla="*/ 5163464 w 8636594"/>
              <a:gd name="connsiteY87" fmla="*/ 4816797 h 6622937"/>
              <a:gd name="connsiteX88" fmla="*/ 5215940 w 8636594"/>
              <a:gd name="connsiteY88" fmla="*/ 4749265 h 6622937"/>
              <a:gd name="connsiteX89" fmla="*/ 5267684 w 8636594"/>
              <a:gd name="connsiteY89" fmla="*/ 4681068 h 6622937"/>
              <a:gd name="connsiteX90" fmla="*/ 5318748 w 8636594"/>
              <a:gd name="connsiteY90" fmla="*/ 4612234 h 6622937"/>
              <a:gd name="connsiteX91" fmla="*/ 5369182 w 8636594"/>
              <a:gd name="connsiteY91" fmla="*/ 4542793 h 6622937"/>
              <a:gd name="connsiteX92" fmla="*/ 5419038 w 8636594"/>
              <a:gd name="connsiteY92" fmla="*/ 4472771 h 6622937"/>
              <a:gd name="connsiteX93" fmla="*/ 5468365 w 8636594"/>
              <a:gd name="connsiteY93" fmla="*/ 4402196 h 6622937"/>
              <a:gd name="connsiteX94" fmla="*/ 5517215 w 8636594"/>
              <a:gd name="connsiteY94" fmla="*/ 4331098 h 6622937"/>
              <a:gd name="connsiteX95" fmla="*/ 5565637 w 8636594"/>
              <a:gd name="connsiteY95" fmla="*/ 4259503 h 6622937"/>
              <a:gd name="connsiteX96" fmla="*/ 5613684 w 8636594"/>
              <a:gd name="connsiteY96" fmla="*/ 4187441 h 6622937"/>
              <a:gd name="connsiteX97" fmla="*/ 5685160 w 8636594"/>
              <a:gd name="connsiteY97" fmla="*/ 4078531 h 6622937"/>
              <a:gd name="connsiteX98" fmla="*/ 5756074 w 8636594"/>
              <a:gd name="connsiteY98" fmla="*/ 3968727 h 6622937"/>
              <a:gd name="connsiteX99" fmla="*/ 5873483 w 8636594"/>
              <a:gd name="connsiteY99" fmla="*/ 3783989 h 6622937"/>
              <a:gd name="connsiteX100" fmla="*/ 6203209 w 8636594"/>
              <a:gd name="connsiteY100" fmla="*/ 3258640 h 6622937"/>
              <a:gd name="connsiteX101" fmla="*/ 6299430 w 8636594"/>
              <a:gd name="connsiteY101" fmla="*/ 3107321 h 6622937"/>
              <a:gd name="connsiteX102" fmla="*/ 6372650 w 8636594"/>
              <a:gd name="connsiteY102" fmla="*/ 2993735 h 6622937"/>
              <a:gd name="connsiteX103" fmla="*/ 6453197 w 8636594"/>
              <a:gd name="connsiteY103" fmla="*/ 2869788 h 6622937"/>
              <a:gd name="connsiteX104" fmla="*/ 6564167 w 8636594"/>
              <a:gd name="connsiteY104" fmla="*/ 2696807 h 6622937"/>
              <a:gd name="connsiteX105" fmla="*/ 6976233 w 8636594"/>
              <a:gd name="connsiteY105" fmla="*/ 2045274 h 6622937"/>
              <a:gd name="connsiteX106" fmla="*/ 7086755 w 8636594"/>
              <a:gd name="connsiteY106" fmla="*/ 1872743 h 6622937"/>
              <a:gd name="connsiteX107" fmla="*/ 7170279 w 8636594"/>
              <a:gd name="connsiteY107" fmla="*/ 1744202 h 6622937"/>
              <a:gd name="connsiteX108" fmla="*/ 7226351 w 8636594"/>
              <a:gd name="connsiteY108" fmla="*/ 1659017 h 6622937"/>
              <a:gd name="connsiteX109" fmla="*/ 7282789 w 8636594"/>
              <a:gd name="connsiteY109" fmla="*/ 1574303 h 6622937"/>
              <a:gd name="connsiteX110" fmla="*/ 7339643 w 8636594"/>
              <a:gd name="connsiteY110" fmla="*/ 1490113 h 6622937"/>
              <a:gd name="connsiteX111" fmla="*/ 7396957 w 8636594"/>
              <a:gd name="connsiteY111" fmla="*/ 1406503 h 6622937"/>
              <a:gd name="connsiteX112" fmla="*/ 7454781 w 8636594"/>
              <a:gd name="connsiteY112" fmla="*/ 1323526 h 6622937"/>
              <a:gd name="connsiteX113" fmla="*/ 7513161 w 8636594"/>
              <a:gd name="connsiteY113" fmla="*/ 1241237 h 6622937"/>
              <a:gd name="connsiteX114" fmla="*/ 7572144 w 8636594"/>
              <a:gd name="connsiteY114" fmla="*/ 1159689 h 6622937"/>
              <a:gd name="connsiteX115" fmla="*/ 7601877 w 8636594"/>
              <a:gd name="connsiteY115" fmla="*/ 1119210 h 6622937"/>
              <a:gd name="connsiteX116" fmla="*/ 7631779 w 8636594"/>
              <a:gd name="connsiteY116" fmla="*/ 1078937 h 6622937"/>
              <a:gd name="connsiteX117" fmla="*/ 7661855 w 8636594"/>
              <a:gd name="connsiteY117" fmla="*/ 1038876 h 6622937"/>
              <a:gd name="connsiteX118" fmla="*/ 7692111 w 8636594"/>
              <a:gd name="connsiteY118" fmla="*/ 999035 h 6622937"/>
              <a:gd name="connsiteX119" fmla="*/ 7722554 w 8636594"/>
              <a:gd name="connsiteY119" fmla="*/ 959419 h 6622937"/>
              <a:gd name="connsiteX120" fmla="*/ 7753190 w 8636594"/>
              <a:gd name="connsiteY120" fmla="*/ 920037 h 6622937"/>
              <a:gd name="connsiteX121" fmla="*/ 7784023 w 8636594"/>
              <a:gd name="connsiteY121" fmla="*/ 880894 h 6622937"/>
              <a:gd name="connsiteX122" fmla="*/ 7815061 w 8636594"/>
              <a:gd name="connsiteY122" fmla="*/ 841997 h 6622937"/>
              <a:gd name="connsiteX123" fmla="*/ 7846308 w 8636594"/>
              <a:gd name="connsiteY123" fmla="*/ 803354 h 6622937"/>
              <a:gd name="connsiteX124" fmla="*/ 7877772 w 8636594"/>
              <a:gd name="connsiteY124" fmla="*/ 764970 h 6622937"/>
              <a:gd name="connsiteX125" fmla="*/ 7909458 w 8636594"/>
              <a:gd name="connsiteY125" fmla="*/ 726853 h 6622937"/>
              <a:gd name="connsiteX126" fmla="*/ 7941371 w 8636594"/>
              <a:gd name="connsiteY126" fmla="*/ 689010 h 6622937"/>
              <a:gd name="connsiteX127" fmla="*/ 7973518 w 8636594"/>
              <a:gd name="connsiteY127" fmla="*/ 651447 h 6622937"/>
              <a:gd name="connsiteX128" fmla="*/ 8005905 w 8636594"/>
              <a:gd name="connsiteY128" fmla="*/ 614171 h 6622937"/>
              <a:gd name="connsiteX129" fmla="*/ 8038538 w 8636594"/>
              <a:gd name="connsiteY129" fmla="*/ 577189 h 6622937"/>
              <a:gd name="connsiteX130" fmla="*/ 8071421 w 8636594"/>
              <a:gd name="connsiteY130" fmla="*/ 540507 h 6622937"/>
              <a:gd name="connsiteX131" fmla="*/ 8104563 w 8636594"/>
              <a:gd name="connsiteY131" fmla="*/ 504132 h 6622937"/>
              <a:gd name="connsiteX132" fmla="*/ 8137967 w 8636594"/>
              <a:gd name="connsiteY132" fmla="*/ 468072 h 6622937"/>
              <a:gd name="connsiteX133" fmla="*/ 8171641 w 8636594"/>
              <a:gd name="connsiteY133" fmla="*/ 432332 h 6622937"/>
              <a:gd name="connsiteX134" fmla="*/ 8205590 w 8636594"/>
              <a:gd name="connsiteY134" fmla="*/ 396920 h 6622937"/>
              <a:gd name="connsiteX135" fmla="*/ 8239820 w 8636594"/>
              <a:gd name="connsiteY135" fmla="*/ 361843 h 6622937"/>
              <a:gd name="connsiteX136" fmla="*/ 8274337 w 8636594"/>
              <a:gd name="connsiteY136" fmla="*/ 327107 h 6622937"/>
              <a:gd name="connsiteX137" fmla="*/ 8309147 w 8636594"/>
              <a:gd name="connsiteY137" fmla="*/ 292718 h 6622937"/>
              <a:gd name="connsiteX138" fmla="*/ 8344256 w 8636594"/>
              <a:gd name="connsiteY138" fmla="*/ 258685 h 6622937"/>
              <a:gd name="connsiteX139" fmla="*/ 8379669 w 8636594"/>
              <a:gd name="connsiteY139" fmla="*/ 225013 h 6622937"/>
              <a:gd name="connsiteX140" fmla="*/ 8415394 w 8636594"/>
              <a:gd name="connsiteY140" fmla="*/ 191709 h 6622937"/>
              <a:gd name="connsiteX141" fmla="*/ 8451434 w 8636594"/>
              <a:gd name="connsiteY141" fmla="*/ 158780 h 6622937"/>
              <a:gd name="connsiteX142" fmla="*/ 8487798 w 8636594"/>
              <a:gd name="connsiteY142" fmla="*/ 126233 h 6622937"/>
              <a:gd name="connsiteX143" fmla="*/ 8524489 w 8636594"/>
              <a:gd name="connsiteY143" fmla="*/ 94075 h 6622937"/>
              <a:gd name="connsiteX144" fmla="*/ 8561515 w 8636594"/>
              <a:gd name="connsiteY144" fmla="*/ 62312 h 6622937"/>
              <a:gd name="connsiteX145" fmla="*/ 8598881 w 8636594"/>
              <a:gd name="connsiteY145" fmla="*/ 30951 h 6622937"/>
              <a:gd name="connsiteX146" fmla="*/ 8636594 w 8636594"/>
              <a:gd name="connsiteY146"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222486 w 8636594"/>
              <a:gd name="connsiteY5" fmla="*/ 5687627 h 6622937"/>
              <a:gd name="connsiteX6" fmla="*/ 2412216 w 8636594"/>
              <a:gd name="connsiteY6" fmla="*/ 5587741 h 6622937"/>
              <a:gd name="connsiteX7" fmla="*/ 2490090 w 8636594"/>
              <a:gd name="connsiteY7" fmla="*/ 5591230 h 6622937"/>
              <a:gd name="connsiteX8" fmla="*/ 2561975 w 8636594"/>
              <a:gd name="connsiteY8" fmla="*/ 5533193 h 6622937"/>
              <a:gd name="connsiteX9" fmla="*/ 2066817 w 8636594"/>
              <a:gd name="connsiteY9" fmla="*/ 6622937 h 6622937"/>
              <a:gd name="connsiteX10" fmla="*/ 2126742 w 8636594"/>
              <a:gd name="connsiteY10" fmla="*/ 6612869 h 6622937"/>
              <a:gd name="connsiteX11" fmla="*/ 2185991 w 8636594"/>
              <a:gd name="connsiteY11" fmla="*/ 6602362 h 6622937"/>
              <a:gd name="connsiteX12" fmla="*/ 2244569 w 8636594"/>
              <a:gd name="connsiteY12" fmla="*/ 6591417 h 6622937"/>
              <a:gd name="connsiteX13" fmla="*/ 2302482 w 8636594"/>
              <a:gd name="connsiteY13" fmla="*/ 6580040 h 6622937"/>
              <a:gd name="connsiteX14" fmla="*/ 2359737 w 8636594"/>
              <a:gd name="connsiteY14" fmla="*/ 6568233 h 6622937"/>
              <a:gd name="connsiteX15" fmla="*/ 2416341 w 8636594"/>
              <a:gd name="connsiteY15" fmla="*/ 6555999 h 6622937"/>
              <a:gd name="connsiteX16" fmla="*/ 2472299 w 8636594"/>
              <a:gd name="connsiteY16" fmla="*/ 6543344 h 6622937"/>
              <a:gd name="connsiteX17" fmla="*/ 2527618 w 8636594"/>
              <a:gd name="connsiteY17" fmla="*/ 6530269 h 6622937"/>
              <a:gd name="connsiteX18" fmla="*/ 2582304 w 8636594"/>
              <a:gd name="connsiteY18" fmla="*/ 6516778 h 6622937"/>
              <a:gd name="connsiteX19" fmla="*/ 2636364 w 8636594"/>
              <a:gd name="connsiteY19" fmla="*/ 6502876 h 6622937"/>
              <a:gd name="connsiteX20" fmla="*/ 2689804 w 8636594"/>
              <a:gd name="connsiteY20" fmla="*/ 6488565 h 6622937"/>
              <a:gd name="connsiteX21" fmla="*/ 2742629 w 8636594"/>
              <a:gd name="connsiteY21" fmla="*/ 6473849 h 6622937"/>
              <a:gd name="connsiteX22" fmla="*/ 2794848 w 8636594"/>
              <a:gd name="connsiteY22" fmla="*/ 6458731 h 6622937"/>
              <a:gd name="connsiteX23" fmla="*/ 2846466 w 8636594"/>
              <a:gd name="connsiteY23" fmla="*/ 6443216 h 6622937"/>
              <a:gd name="connsiteX24" fmla="*/ 2897488 w 8636594"/>
              <a:gd name="connsiteY24" fmla="*/ 6427305 h 6622937"/>
              <a:gd name="connsiteX25" fmla="*/ 2947923 w 8636594"/>
              <a:gd name="connsiteY25" fmla="*/ 6411004 h 6622937"/>
              <a:gd name="connsiteX26" fmla="*/ 2997775 w 8636594"/>
              <a:gd name="connsiteY26" fmla="*/ 6394316 h 6622937"/>
              <a:gd name="connsiteX27" fmla="*/ 3047052 w 8636594"/>
              <a:gd name="connsiteY27" fmla="*/ 6377243 h 6622937"/>
              <a:gd name="connsiteX28" fmla="*/ 3095759 w 8636594"/>
              <a:gd name="connsiteY28" fmla="*/ 6359791 h 6622937"/>
              <a:gd name="connsiteX29" fmla="*/ 3143903 w 8636594"/>
              <a:gd name="connsiteY29" fmla="*/ 6341961 h 6622937"/>
              <a:gd name="connsiteX30" fmla="*/ 3191491 w 8636594"/>
              <a:gd name="connsiteY30" fmla="*/ 6323757 h 6622937"/>
              <a:gd name="connsiteX31" fmla="*/ 3238528 w 8636594"/>
              <a:gd name="connsiteY31" fmla="*/ 6305184 h 6622937"/>
              <a:gd name="connsiteX32" fmla="*/ 3285021 w 8636594"/>
              <a:gd name="connsiteY32" fmla="*/ 6286245 h 6622937"/>
              <a:gd name="connsiteX33" fmla="*/ 3330977 w 8636594"/>
              <a:gd name="connsiteY33" fmla="*/ 6266942 h 6622937"/>
              <a:gd name="connsiteX34" fmla="*/ 3376401 w 8636594"/>
              <a:gd name="connsiteY34" fmla="*/ 6247281 h 6622937"/>
              <a:gd name="connsiteX35" fmla="*/ 3421300 w 8636594"/>
              <a:gd name="connsiteY35" fmla="*/ 6227263 h 6622937"/>
              <a:gd name="connsiteX36" fmla="*/ 3465680 w 8636594"/>
              <a:gd name="connsiteY36" fmla="*/ 6206893 h 6622937"/>
              <a:gd name="connsiteX37" fmla="*/ 3509548 w 8636594"/>
              <a:gd name="connsiteY37" fmla="*/ 6186174 h 6622937"/>
              <a:gd name="connsiteX38" fmla="*/ 3552910 w 8636594"/>
              <a:gd name="connsiteY38" fmla="*/ 6165110 h 6622937"/>
              <a:gd name="connsiteX39" fmla="*/ 3595773 w 8636594"/>
              <a:gd name="connsiteY39" fmla="*/ 6143704 h 6622937"/>
              <a:gd name="connsiteX40" fmla="*/ 3638142 w 8636594"/>
              <a:gd name="connsiteY40" fmla="*/ 6121960 h 6622937"/>
              <a:gd name="connsiteX41" fmla="*/ 3680024 w 8636594"/>
              <a:gd name="connsiteY41" fmla="*/ 6099881 h 6622937"/>
              <a:gd name="connsiteX42" fmla="*/ 3721426 w 8636594"/>
              <a:gd name="connsiteY42" fmla="*/ 6077471 h 6622937"/>
              <a:gd name="connsiteX43" fmla="*/ 3762353 w 8636594"/>
              <a:gd name="connsiteY43" fmla="*/ 6054733 h 6622937"/>
              <a:gd name="connsiteX44" fmla="*/ 3802812 w 8636594"/>
              <a:gd name="connsiteY44" fmla="*/ 6031671 h 6622937"/>
              <a:gd name="connsiteX45" fmla="*/ 3842810 w 8636594"/>
              <a:gd name="connsiteY45" fmla="*/ 6008288 h 6622937"/>
              <a:gd name="connsiteX46" fmla="*/ 3882352 w 8636594"/>
              <a:gd name="connsiteY46" fmla="*/ 5984588 h 6622937"/>
              <a:gd name="connsiteX47" fmla="*/ 3921445 w 8636594"/>
              <a:gd name="connsiteY47" fmla="*/ 5960574 h 6622937"/>
              <a:gd name="connsiteX48" fmla="*/ 3960096 w 8636594"/>
              <a:gd name="connsiteY48" fmla="*/ 5936250 h 6622937"/>
              <a:gd name="connsiteX49" fmla="*/ 3998311 w 8636594"/>
              <a:gd name="connsiteY49" fmla="*/ 5911619 h 6622937"/>
              <a:gd name="connsiteX50" fmla="*/ 4036095 w 8636594"/>
              <a:gd name="connsiteY50" fmla="*/ 5886685 h 6622937"/>
              <a:gd name="connsiteX51" fmla="*/ 4073456 w 8636594"/>
              <a:gd name="connsiteY51" fmla="*/ 5861452 h 6622937"/>
              <a:gd name="connsiteX52" fmla="*/ 4110400 w 8636594"/>
              <a:gd name="connsiteY52" fmla="*/ 5835922 h 6622937"/>
              <a:gd name="connsiteX53" fmla="*/ 4146933 w 8636594"/>
              <a:gd name="connsiteY53" fmla="*/ 5810100 h 6622937"/>
              <a:gd name="connsiteX54" fmla="*/ 4183061 w 8636594"/>
              <a:gd name="connsiteY54" fmla="*/ 5783988 h 6622937"/>
              <a:gd name="connsiteX55" fmla="*/ 4218791 w 8636594"/>
              <a:gd name="connsiteY55" fmla="*/ 5757591 h 6622937"/>
              <a:gd name="connsiteX56" fmla="*/ 4254129 w 8636594"/>
              <a:gd name="connsiteY56" fmla="*/ 5730912 h 6622937"/>
              <a:gd name="connsiteX57" fmla="*/ 4289081 w 8636594"/>
              <a:gd name="connsiteY57" fmla="*/ 5703955 h 6622937"/>
              <a:gd name="connsiteX58" fmla="*/ 4323654 w 8636594"/>
              <a:gd name="connsiteY58" fmla="*/ 5676722 h 6622937"/>
              <a:gd name="connsiteX59" fmla="*/ 4357854 w 8636594"/>
              <a:gd name="connsiteY59" fmla="*/ 5649218 h 6622937"/>
              <a:gd name="connsiteX60" fmla="*/ 4391688 w 8636594"/>
              <a:gd name="connsiteY60" fmla="*/ 5621446 h 6622937"/>
              <a:gd name="connsiteX61" fmla="*/ 4425162 w 8636594"/>
              <a:gd name="connsiteY61" fmla="*/ 5593409 h 6622937"/>
              <a:gd name="connsiteX62" fmla="*/ 4458281 w 8636594"/>
              <a:gd name="connsiteY62" fmla="*/ 5565111 h 6622937"/>
              <a:gd name="connsiteX63" fmla="*/ 4491053 w 8636594"/>
              <a:gd name="connsiteY63" fmla="*/ 5536556 h 6622937"/>
              <a:gd name="connsiteX64" fmla="*/ 4523484 w 8636594"/>
              <a:gd name="connsiteY64" fmla="*/ 5507747 h 6622937"/>
              <a:gd name="connsiteX65" fmla="*/ 4555580 w 8636594"/>
              <a:gd name="connsiteY65" fmla="*/ 5478687 h 6622937"/>
              <a:gd name="connsiteX66" fmla="*/ 4587347 w 8636594"/>
              <a:gd name="connsiteY66" fmla="*/ 5449380 h 6622937"/>
              <a:gd name="connsiteX67" fmla="*/ 4618793 w 8636594"/>
              <a:gd name="connsiteY67" fmla="*/ 5419830 h 6622937"/>
              <a:gd name="connsiteX68" fmla="*/ 4649922 w 8636594"/>
              <a:gd name="connsiteY68" fmla="*/ 5390040 h 6622937"/>
              <a:gd name="connsiteX69" fmla="*/ 4680742 w 8636594"/>
              <a:gd name="connsiteY69" fmla="*/ 5360014 h 6622937"/>
              <a:gd name="connsiteX70" fmla="*/ 4711259 w 8636594"/>
              <a:gd name="connsiteY70" fmla="*/ 5329755 h 6622937"/>
              <a:gd name="connsiteX71" fmla="*/ 4741478 w 8636594"/>
              <a:gd name="connsiteY71" fmla="*/ 5299266 h 6622937"/>
              <a:gd name="connsiteX72" fmla="*/ 4771408 w 8636594"/>
              <a:gd name="connsiteY72" fmla="*/ 5268551 h 6622937"/>
              <a:gd name="connsiteX73" fmla="*/ 4801053 w 8636594"/>
              <a:gd name="connsiteY73" fmla="*/ 5237614 h 6622937"/>
              <a:gd name="connsiteX74" fmla="*/ 4830420 w 8636594"/>
              <a:gd name="connsiteY74" fmla="*/ 5206458 h 6622937"/>
              <a:gd name="connsiteX75" fmla="*/ 4859516 w 8636594"/>
              <a:gd name="connsiteY75" fmla="*/ 5175087 h 6622937"/>
              <a:gd name="connsiteX76" fmla="*/ 4888347 w 8636594"/>
              <a:gd name="connsiteY76" fmla="*/ 5143504 h 6622937"/>
              <a:gd name="connsiteX77" fmla="*/ 4916919 w 8636594"/>
              <a:gd name="connsiteY77" fmla="*/ 5111713 h 6622937"/>
              <a:gd name="connsiteX78" fmla="*/ 4945238 w 8636594"/>
              <a:gd name="connsiteY78" fmla="*/ 5079717 h 6622937"/>
              <a:gd name="connsiteX79" fmla="*/ 4973311 w 8636594"/>
              <a:gd name="connsiteY79" fmla="*/ 5047519 h 6622937"/>
              <a:gd name="connsiteX80" fmla="*/ 5001145 w 8636594"/>
              <a:gd name="connsiteY80" fmla="*/ 5015124 h 6622937"/>
              <a:gd name="connsiteX81" fmla="*/ 5028745 w 8636594"/>
              <a:gd name="connsiteY81" fmla="*/ 4982535 h 6622937"/>
              <a:gd name="connsiteX82" fmla="*/ 5056117 w 8636594"/>
              <a:gd name="connsiteY82" fmla="*/ 4949755 h 6622937"/>
              <a:gd name="connsiteX83" fmla="*/ 5083269 w 8636594"/>
              <a:gd name="connsiteY83" fmla="*/ 4916787 h 6622937"/>
              <a:gd name="connsiteX84" fmla="*/ 5110207 w 8636594"/>
              <a:gd name="connsiteY84" fmla="*/ 4883636 h 6622937"/>
              <a:gd name="connsiteX85" fmla="*/ 5136937 w 8636594"/>
              <a:gd name="connsiteY85" fmla="*/ 4850305 h 6622937"/>
              <a:gd name="connsiteX86" fmla="*/ 5163464 w 8636594"/>
              <a:gd name="connsiteY86" fmla="*/ 4816797 h 6622937"/>
              <a:gd name="connsiteX87" fmla="*/ 5215940 w 8636594"/>
              <a:gd name="connsiteY87" fmla="*/ 4749265 h 6622937"/>
              <a:gd name="connsiteX88" fmla="*/ 5267684 w 8636594"/>
              <a:gd name="connsiteY88" fmla="*/ 4681068 h 6622937"/>
              <a:gd name="connsiteX89" fmla="*/ 5318748 w 8636594"/>
              <a:gd name="connsiteY89" fmla="*/ 4612234 h 6622937"/>
              <a:gd name="connsiteX90" fmla="*/ 5369182 w 8636594"/>
              <a:gd name="connsiteY90" fmla="*/ 4542793 h 6622937"/>
              <a:gd name="connsiteX91" fmla="*/ 5419038 w 8636594"/>
              <a:gd name="connsiteY91" fmla="*/ 4472771 h 6622937"/>
              <a:gd name="connsiteX92" fmla="*/ 5468365 w 8636594"/>
              <a:gd name="connsiteY92" fmla="*/ 4402196 h 6622937"/>
              <a:gd name="connsiteX93" fmla="*/ 5517215 w 8636594"/>
              <a:gd name="connsiteY93" fmla="*/ 4331098 h 6622937"/>
              <a:gd name="connsiteX94" fmla="*/ 5565637 w 8636594"/>
              <a:gd name="connsiteY94" fmla="*/ 4259503 h 6622937"/>
              <a:gd name="connsiteX95" fmla="*/ 5613684 w 8636594"/>
              <a:gd name="connsiteY95" fmla="*/ 4187441 h 6622937"/>
              <a:gd name="connsiteX96" fmla="*/ 5685160 w 8636594"/>
              <a:gd name="connsiteY96" fmla="*/ 4078531 h 6622937"/>
              <a:gd name="connsiteX97" fmla="*/ 5756074 w 8636594"/>
              <a:gd name="connsiteY97" fmla="*/ 3968727 h 6622937"/>
              <a:gd name="connsiteX98" fmla="*/ 5873483 w 8636594"/>
              <a:gd name="connsiteY98" fmla="*/ 3783989 h 6622937"/>
              <a:gd name="connsiteX99" fmla="*/ 6203209 w 8636594"/>
              <a:gd name="connsiteY99" fmla="*/ 3258640 h 6622937"/>
              <a:gd name="connsiteX100" fmla="*/ 6299430 w 8636594"/>
              <a:gd name="connsiteY100" fmla="*/ 3107321 h 6622937"/>
              <a:gd name="connsiteX101" fmla="*/ 6372650 w 8636594"/>
              <a:gd name="connsiteY101" fmla="*/ 2993735 h 6622937"/>
              <a:gd name="connsiteX102" fmla="*/ 6453197 w 8636594"/>
              <a:gd name="connsiteY102" fmla="*/ 2869788 h 6622937"/>
              <a:gd name="connsiteX103" fmla="*/ 6564167 w 8636594"/>
              <a:gd name="connsiteY103" fmla="*/ 2696807 h 6622937"/>
              <a:gd name="connsiteX104" fmla="*/ 6976233 w 8636594"/>
              <a:gd name="connsiteY104" fmla="*/ 2045274 h 6622937"/>
              <a:gd name="connsiteX105" fmla="*/ 7086755 w 8636594"/>
              <a:gd name="connsiteY105" fmla="*/ 1872743 h 6622937"/>
              <a:gd name="connsiteX106" fmla="*/ 7170279 w 8636594"/>
              <a:gd name="connsiteY106" fmla="*/ 1744202 h 6622937"/>
              <a:gd name="connsiteX107" fmla="*/ 7226351 w 8636594"/>
              <a:gd name="connsiteY107" fmla="*/ 1659017 h 6622937"/>
              <a:gd name="connsiteX108" fmla="*/ 7282789 w 8636594"/>
              <a:gd name="connsiteY108" fmla="*/ 1574303 h 6622937"/>
              <a:gd name="connsiteX109" fmla="*/ 7339643 w 8636594"/>
              <a:gd name="connsiteY109" fmla="*/ 1490113 h 6622937"/>
              <a:gd name="connsiteX110" fmla="*/ 7396957 w 8636594"/>
              <a:gd name="connsiteY110" fmla="*/ 1406503 h 6622937"/>
              <a:gd name="connsiteX111" fmla="*/ 7454781 w 8636594"/>
              <a:gd name="connsiteY111" fmla="*/ 1323526 h 6622937"/>
              <a:gd name="connsiteX112" fmla="*/ 7513161 w 8636594"/>
              <a:gd name="connsiteY112" fmla="*/ 1241237 h 6622937"/>
              <a:gd name="connsiteX113" fmla="*/ 7572144 w 8636594"/>
              <a:gd name="connsiteY113" fmla="*/ 1159689 h 6622937"/>
              <a:gd name="connsiteX114" fmla="*/ 7601877 w 8636594"/>
              <a:gd name="connsiteY114" fmla="*/ 1119210 h 6622937"/>
              <a:gd name="connsiteX115" fmla="*/ 7631779 w 8636594"/>
              <a:gd name="connsiteY115" fmla="*/ 1078937 h 6622937"/>
              <a:gd name="connsiteX116" fmla="*/ 7661855 w 8636594"/>
              <a:gd name="connsiteY116" fmla="*/ 1038876 h 6622937"/>
              <a:gd name="connsiteX117" fmla="*/ 7692111 w 8636594"/>
              <a:gd name="connsiteY117" fmla="*/ 999035 h 6622937"/>
              <a:gd name="connsiteX118" fmla="*/ 7722554 w 8636594"/>
              <a:gd name="connsiteY118" fmla="*/ 959419 h 6622937"/>
              <a:gd name="connsiteX119" fmla="*/ 7753190 w 8636594"/>
              <a:gd name="connsiteY119" fmla="*/ 920037 h 6622937"/>
              <a:gd name="connsiteX120" fmla="*/ 7784023 w 8636594"/>
              <a:gd name="connsiteY120" fmla="*/ 880894 h 6622937"/>
              <a:gd name="connsiteX121" fmla="*/ 7815061 w 8636594"/>
              <a:gd name="connsiteY121" fmla="*/ 841997 h 6622937"/>
              <a:gd name="connsiteX122" fmla="*/ 7846308 w 8636594"/>
              <a:gd name="connsiteY122" fmla="*/ 803354 h 6622937"/>
              <a:gd name="connsiteX123" fmla="*/ 7877772 w 8636594"/>
              <a:gd name="connsiteY123" fmla="*/ 764970 h 6622937"/>
              <a:gd name="connsiteX124" fmla="*/ 7909458 w 8636594"/>
              <a:gd name="connsiteY124" fmla="*/ 726853 h 6622937"/>
              <a:gd name="connsiteX125" fmla="*/ 7941371 w 8636594"/>
              <a:gd name="connsiteY125" fmla="*/ 689010 h 6622937"/>
              <a:gd name="connsiteX126" fmla="*/ 7973518 w 8636594"/>
              <a:gd name="connsiteY126" fmla="*/ 651447 h 6622937"/>
              <a:gd name="connsiteX127" fmla="*/ 8005905 w 8636594"/>
              <a:gd name="connsiteY127" fmla="*/ 614171 h 6622937"/>
              <a:gd name="connsiteX128" fmla="*/ 8038538 w 8636594"/>
              <a:gd name="connsiteY128" fmla="*/ 577189 h 6622937"/>
              <a:gd name="connsiteX129" fmla="*/ 8071421 w 8636594"/>
              <a:gd name="connsiteY129" fmla="*/ 540507 h 6622937"/>
              <a:gd name="connsiteX130" fmla="*/ 8104563 w 8636594"/>
              <a:gd name="connsiteY130" fmla="*/ 504132 h 6622937"/>
              <a:gd name="connsiteX131" fmla="*/ 8137967 w 8636594"/>
              <a:gd name="connsiteY131" fmla="*/ 468072 h 6622937"/>
              <a:gd name="connsiteX132" fmla="*/ 8171641 w 8636594"/>
              <a:gd name="connsiteY132" fmla="*/ 432332 h 6622937"/>
              <a:gd name="connsiteX133" fmla="*/ 8205590 w 8636594"/>
              <a:gd name="connsiteY133" fmla="*/ 396920 h 6622937"/>
              <a:gd name="connsiteX134" fmla="*/ 8239820 w 8636594"/>
              <a:gd name="connsiteY134" fmla="*/ 361843 h 6622937"/>
              <a:gd name="connsiteX135" fmla="*/ 8274337 w 8636594"/>
              <a:gd name="connsiteY135" fmla="*/ 327107 h 6622937"/>
              <a:gd name="connsiteX136" fmla="*/ 8309147 w 8636594"/>
              <a:gd name="connsiteY136" fmla="*/ 292718 h 6622937"/>
              <a:gd name="connsiteX137" fmla="*/ 8344256 w 8636594"/>
              <a:gd name="connsiteY137" fmla="*/ 258685 h 6622937"/>
              <a:gd name="connsiteX138" fmla="*/ 8379669 w 8636594"/>
              <a:gd name="connsiteY138" fmla="*/ 225013 h 6622937"/>
              <a:gd name="connsiteX139" fmla="*/ 8415394 w 8636594"/>
              <a:gd name="connsiteY139" fmla="*/ 191709 h 6622937"/>
              <a:gd name="connsiteX140" fmla="*/ 8451434 w 8636594"/>
              <a:gd name="connsiteY140" fmla="*/ 158780 h 6622937"/>
              <a:gd name="connsiteX141" fmla="*/ 8487798 w 8636594"/>
              <a:gd name="connsiteY141" fmla="*/ 126233 h 6622937"/>
              <a:gd name="connsiteX142" fmla="*/ 8524489 w 8636594"/>
              <a:gd name="connsiteY142" fmla="*/ 94075 h 6622937"/>
              <a:gd name="connsiteX143" fmla="*/ 8561515 w 8636594"/>
              <a:gd name="connsiteY143" fmla="*/ 62312 h 6622937"/>
              <a:gd name="connsiteX144" fmla="*/ 8598881 w 8636594"/>
              <a:gd name="connsiteY144" fmla="*/ 30951 h 6622937"/>
              <a:gd name="connsiteX145" fmla="*/ 8636594 w 8636594"/>
              <a:gd name="connsiteY145"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12216 w 8636594"/>
              <a:gd name="connsiteY5" fmla="*/ 5587741 h 6622937"/>
              <a:gd name="connsiteX6" fmla="*/ 2490090 w 8636594"/>
              <a:gd name="connsiteY6" fmla="*/ 5591230 h 6622937"/>
              <a:gd name="connsiteX7" fmla="*/ 2561975 w 8636594"/>
              <a:gd name="connsiteY7" fmla="*/ 5533193 h 6622937"/>
              <a:gd name="connsiteX8" fmla="*/ 2066817 w 8636594"/>
              <a:gd name="connsiteY8" fmla="*/ 6622937 h 6622937"/>
              <a:gd name="connsiteX9" fmla="*/ 2126742 w 8636594"/>
              <a:gd name="connsiteY9" fmla="*/ 6612869 h 6622937"/>
              <a:gd name="connsiteX10" fmla="*/ 2185991 w 8636594"/>
              <a:gd name="connsiteY10" fmla="*/ 6602362 h 6622937"/>
              <a:gd name="connsiteX11" fmla="*/ 2244569 w 8636594"/>
              <a:gd name="connsiteY11" fmla="*/ 6591417 h 6622937"/>
              <a:gd name="connsiteX12" fmla="*/ 2302482 w 8636594"/>
              <a:gd name="connsiteY12" fmla="*/ 6580040 h 6622937"/>
              <a:gd name="connsiteX13" fmla="*/ 2359737 w 8636594"/>
              <a:gd name="connsiteY13" fmla="*/ 6568233 h 6622937"/>
              <a:gd name="connsiteX14" fmla="*/ 2416341 w 8636594"/>
              <a:gd name="connsiteY14" fmla="*/ 6555999 h 6622937"/>
              <a:gd name="connsiteX15" fmla="*/ 2472299 w 8636594"/>
              <a:gd name="connsiteY15" fmla="*/ 6543344 h 6622937"/>
              <a:gd name="connsiteX16" fmla="*/ 2527618 w 8636594"/>
              <a:gd name="connsiteY16" fmla="*/ 6530269 h 6622937"/>
              <a:gd name="connsiteX17" fmla="*/ 2582304 w 8636594"/>
              <a:gd name="connsiteY17" fmla="*/ 6516778 h 6622937"/>
              <a:gd name="connsiteX18" fmla="*/ 2636364 w 8636594"/>
              <a:gd name="connsiteY18" fmla="*/ 6502876 h 6622937"/>
              <a:gd name="connsiteX19" fmla="*/ 2689804 w 8636594"/>
              <a:gd name="connsiteY19" fmla="*/ 6488565 h 6622937"/>
              <a:gd name="connsiteX20" fmla="*/ 2742629 w 8636594"/>
              <a:gd name="connsiteY20" fmla="*/ 6473849 h 6622937"/>
              <a:gd name="connsiteX21" fmla="*/ 2794848 w 8636594"/>
              <a:gd name="connsiteY21" fmla="*/ 6458731 h 6622937"/>
              <a:gd name="connsiteX22" fmla="*/ 2846466 w 8636594"/>
              <a:gd name="connsiteY22" fmla="*/ 6443216 h 6622937"/>
              <a:gd name="connsiteX23" fmla="*/ 2897488 w 8636594"/>
              <a:gd name="connsiteY23" fmla="*/ 6427305 h 6622937"/>
              <a:gd name="connsiteX24" fmla="*/ 2947923 w 8636594"/>
              <a:gd name="connsiteY24" fmla="*/ 6411004 h 6622937"/>
              <a:gd name="connsiteX25" fmla="*/ 2997775 w 8636594"/>
              <a:gd name="connsiteY25" fmla="*/ 6394316 h 6622937"/>
              <a:gd name="connsiteX26" fmla="*/ 3047052 w 8636594"/>
              <a:gd name="connsiteY26" fmla="*/ 6377243 h 6622937"/>
              <a:gd name="connsiteX27" fmla="*/ 3095759 w 8636594"/>
              <a:gd name="connsiteY27" fmla="*/ 6359791 h 6622937"/>
              <a:gd name="connsiteX28" fmla="*/ 3143903 w 8636594"/>
              <a:gd name="connsiteY28" fmla="*/ 6341961 h 6622937"/>
              <a:gd name="connsiteX29" fmla="*/ 3191491 w 8636594"/>
              <a:gd name="connsiteY29" fmla="*/ 6323757 h 6622937"/>
              <a:gd name="connsiteX30" fmla="*/ 3238528 w 8636594"/>
              <a:gd name="connsiteY30" fmla="*/ 6305184 h 6622937"/>
              <a:gd name="connsiteX31" fmla="*/ 3285021 w 8636594"/>
              <a:gd name="connsiteY31" fmla="*/ 6286245 h 6622937"/>
              <a:gd name="connsiteX32" fmla="*/ 3330977 w 8636594"/>
              <a:gd name="connsiteY32" fmla="*/ 6266942 h 6622937"/>
              <a:gd name="connsiteX33" fmla="*/ 3376401 w 8636594"/>
              <a:gd name="connsiteY33" fmla="*/ 6247281 h 6622937"/>
              <a:gd name="connsiteX34" fmla="*/ 3421300 w 8636594"/>
              <a:gd name="connsiteY34" fmla="*/ 6227263 h 6622937"/>
              <a:gd name="connsiteX35" fmla="*/ 3465680 w 8636594"/>
              <a:gd name="connsiteY35" fmla="*/ 6206893 h 6622937"/>
              <a:gd name="connsiteX36" fmla="*/ 3509548 w 8636594"/>
              <a:gd name="connsiteY36" fmla="*/ 6186174 h 6622937"/>
              <a:gd name="connsiteX37" fmla="*/ 3552910 w 8636594"/>
              <a:gd name="connsiteY37" fmla="*/ 6165110 h 6622937"/>
              <a:gd name="connsiteX38" fmla="*/ 3595773 w 8636594"/>
              <a:gd name="connsiteY38" fmla="*/ 6143704 h 6622937"/>
              <a:gd name="connsiteX39" fmla="*/ 3638142 w 8636594"/>
              <a:gd name="connsiteY39" fmla="*/ 6121960 h 6622937"/>
              <a:gd name="connsiteX40" fmla="*/ 3680024 w 8636594"/>
              <a:gd name="connsiteY40" fmla="*/ 6099881 h 6622937"/>
              <a:gd name="connsiteX41" fmla="*/ 3721426 w 8636594"/>
              <a:gd name="connsiteY41" fmla="*/ 6077471 h 6622937"/>
              <a:gd name="connsiteX42" fmla="*/ 3762353 w 8636594"/>
              <a:gd name="connsiteY42" fmla="*/ 6054733 h 6622937"/>
              <a:gd name="connsiteX43" fmla="*/ 3802812 w 8636594"/>
              <a:gd name="connsiteY43" fmla="*/ 6031671 h 6622937"/>
              <a:gd name="connsiteX44" fmla="*/ 3842810 w 8636594"/>
              <a:gd name="connsiteY44" fmla="*/ 6008288 h 6622937"/>
              <a:gd name="connsiteX45" fmla="*/ 3882352 w 8636594"/>
              <a:gd name="connsiteY45" fmla="*/ 5984588 h 6622937"/>
              <a:gd name="connsiteX46" fmla="*/ 3921445 w 8636594"/>
              <a:gd name="connsiteY46" fmla="*/ 5960574 h 6622937"/>
              <a:gd name="connsiteX47" fmla="*/ 3960096 w 8636594"/>
              <a:gd name="connsiteY47" fmla="*/ 5936250 h 6622937"/>
              <a:gd name="connsiteX48" fmla="*/ 3998311 w 8636594"/>
              <a:gd name="connsiteY48" fmla="*/ 5911619 h 6622937"/>
              <a:gd name="connsiteX49" fmla="*/ 4036095 w 8636594"/>
              <a:gd name="connsiteY49" fmla="*/ 5886685 h 6622937"/>
              <a:gd name="connsiteX50" fmla="*/ 4073456 w 8636594"/>
              <a:gd name="connsiteY50" fmla="*/ 5861452 h 6622937"/>
              <a:gd name="connsiteX51" fmla="*/ 4110400 w 8636594"/>
              <a:gd name="connsiteY51" fmla="*/ 5835922 h 6622937"/>
              <a:gd name="connsiteX52" fmla="*/ 4146933 w 8636594"/>
              <a:gd name="connsiteY52" fmla="*/ 5810100 h 6622937"/>
              <a:gd name="connsiteX53" fmla="*/ 4183061 w 8636594"/>
              <a:gd name="connsiteY53" fmla="*/ 5783988 h 6622937"/>
              <a:gd name="connsiteX54" fmla="*/ 4218791 w 8636594"/>
              <a:gd name="connsiteY54" fmla="*/ 5757591 h 6622937"/>
              <a:gd name="connsiteX55" fmla="*/ 4254129 w 8636594"/>
              <a:gd name="connsiteY55" fmla="*/ 5730912 h 6622937"/>
              <a:gd name="connsiteX56" fmla="*/ 4289081 w 8636594"/>
              <a:gd name="connsiteY56" fmla="*/ 5703955 h 6622937"/>
              <a:gd name="connsiteX57" fmla="*/ 4323654 w 8636594"/>
              <a:gd name="connsiteY57" fmla="*/ 5676722 h 6622937"/>
              <a:gd name="connsiteX58" fmla="*/ 4357854 w 8636594"/>
              <a:gd name="connsiteY58" fmla="*/ 5649218 h 6622937"/>
              <a:gd name="connsiteX59" fmla="*/ 4391688 w 8636594"/>
              <a:gd name="connsiteY59" fmla="*/ 5621446 h 6622937"/>
              <a:gd name="connsiteX60" fmla="*/ 4425162 w 8636594"/>
              <a:gd name="connsiteY60" fmla="*/ 5593409 h 6622937"/>
              <a:gd name="connsiteX61" fmla="*/ 4458281 w 8636594"/>
              <a:gd name="connsiteY61" fmla="*/ 5565111 h 6622937"/>
              <a:gd name="connsiteX62" fmla="*/ 4491053 w 8636594"/>
              <a:gd name="connsiteY62" fmla="*/ 5536556 h 6622937"/>
              <a:gd name="connsiteX63" fmla="*/ 4523484 w 8636594"/>
              <a:gd name="connsiteY63" fmla="*/ 5507747 h 6622937"/>
              <a:gd name="connsiteX64" fmla="*/ 4555580 w 8636594"/>
              <a:gd name="connsiteY64" fmla="*/ 5478687 h 6622937"/>
              <a:gd name="connsiteX65" fmla="*/ 4587347 w 8636594"/>
              <a:gd name="connsiteY65" fmla="*/ 5449380 h 6622937"/>
              <a:gd name="connsiteX66" fmla="*/ 4618793 w 8636594"/>
              <a:gd name="connsiteY66" fmla="*/ 5419830 h 6622937"/>
              <a:gd name="connsiteX67" fmla="*/ 4649922 w 8636594"/>
              <a:gd name="connsiteY67" fmla="*/ 5390040 h 6622937"/>
              <a:gd name="connsiteX68" fmla="*/ 4680742 w 8636594"/>
              <a:gd name="connsiteY68" fmla="*/ 5360014 h 6622937"/>
              <a:gd name="connsiteX69" fmla="*/ 4711259 w 8636594"/>
              <a:gd name="connsiteY69" fmla="*/ 5329755 h 6622937"/>
              <a:gd name="connsiteX70" fmla="*/ 4741478 w 8636594"/>
              <a:gd name="connsiteY70" fmla="*/ 5299266 h 6622937"/>
              <a:gd name="connsiteX71" fmla="*/ 4771408 w 8636594"/>
              <a:gd name="connsiteY71" fmla="*/ 5268551 h 6622937"/>
              <a:gd name="connsiteX72" fmla="*/ 4801053 w 8636594"/>
              <a:gd name="connsiteY72" fmla="*/ 5237614 h 6622937"/>
              <a:gd name="connsiteX73" fmla="*/ 4830420 w 8636594"/>
              <a:gd name="connsiteY73" fmla="*/ 5206458 h 6622937"/>
              <a:gd name="connsiteX74" fmla="*/ 4859516 w 8636594"/>
              <a:gd name="connsiteY74" fmla="*/ 5175087 h 6622937"/>
              <a:gd name="connsiteX75" fmla="*/ 4888347 w 8636594"/>
              <a:gd name="connsiteY75" fmla="*/ 5143504 h 6622937"/>
              <a:gd name="connsiteX76" fmla="*/ 4916919 w 8636594"/>
              <a:gd name="connsiteY76" fmla="*/ 5111713 h 6622937"/>
              <a:gd name="connsiteX77" fmla="*/ 4945238 w 8636594"/>
              <a:gd name="connsiteY77" fmla="*/ 5079717 h 6622937"/>
              <a:gd name="connsiteX78" fmla="*/ 4973311 w 8636594"/>
              <a:gd name="connsiteY78" fmla="*/ 5047519 h 6622937"/>
              <a:gd name="connsiteX79" fmla="*/ 5001145 w 8636594"/>
              <a:gd name="connsiteY79" fmla="*/ 5015124 h 6622937"/>
              <a:gd name="connsiteX80" fmla="*/ 5028745 w 8636594"/>
              <a:gd name="connsiteY80" fmla="*/ 4982535 h 6622937"/>
              <a:gd name="connsiteX81" fmla="*/ 5056117 w 8636594"/>
              <a:gd name="connsiteY81" fmla="*/ 4949755 h 6622937"/>
              <a:gd name="connsiteX82" fmla="*/ 5083269 w 8636594"/>
              <a:gd name="connsiteY82" fmla="*/ 4916787 h 6622937"/>
              <a:gd name="connsiteX83" fmla="*/ 5110207 w 8636594"/>
              <a:gd name="connsiteY83" fmla="*/ 4883636 h 6622937"/>
              <a:gd name="connsiteX84" fmla="*/ 5136937 w 8636594"/>
              <a:gd name="connsiteY84" fmla="*/ 4850305 h 6622937"/>
              <a:gd name="connsiteX85" fmla="*/ 5163464 w 8636594"/>
              <a:gd name="connsiteY85" fmla="*/ 4816797 h 6622937"/>
              <a:gd name="connsiteX86" fmla="*/ 5215940 w 8636594"/>
              <a:gd name="connsiteY86" fmla="*/ 4749265 h 6622937"/>
              <a:gd name="connsiteX87" fmla="*/ 5267684 w 8636594"/>
              <a:gd name="connsiteY87" fmla="*/ 4681068 h 6622937"/>
              <a:gd name="connsiteX88" fmla="*/ 5318748 w 8636594"/>
              <a:gd name="connsiteY88" fmla="*/ 4612234 h 6622937"/>
              <a:gd name="connsiteX89" fmla="*/ 5369182 w 8636594"/>
              <a:gd name="connsiteY89" fmla="*/ 4542793 h 6622937"/>
              <a:gd name="connsiteX90" fmla="*/ 5419038 w 8636594"/>
              <a:gd name="connsiteY90" fmla="*/ 4472771 h 6622937"/>
              <a:gd name="connsiteX91" fmla="*/ 5468365 w 8636594"/>
              <a:gd name="connsiteY91" fmla="*/ 4402196 h 6622937"/>
              <a:gd name="connsiteX92" fmla="*/ 5517215 w 8636594"/>
              <a:gd name="connsiteY92" fmla="*/ 4331098 h 6622937"/>
              <a:gd name="connsiteX93" fmla="*/ 5565637 w 8636594"/>
              <a:gd name="connsiteY93" fmla="*/ 4259503 h 6622937"/>
              <a:gd name="connsiteX94" fmla="*/ 5613684 w 8636594"/>
              <a:gd name="connsiteY94" fmla="*/ 4187441 h 6622937"/>
              <a:gd name="connsiteX95" fmla="*/ 5685160 w 8636594"/>
              <a:gd name="connsiteY95" fmla="*/ 4078531 h 6622937"/>
              <a:gd name="connsiteX96" fmla="*/ 5756074 w 8636594"/>
              <a:gd name="connsiteY96" fmla="*/ 3968727 h 6622937"/>
              <a:gd name="connsiteX97" fmla="*/ 5873483 w 8636594"/>
              <a:gd name="connsiteY97" fmla="*/ 3783989 h 6622937"/>
              <a:gd name="connsiteX98" fmla="*/ 6203209 w 8636594"/>
              <a:gd name="connsiteY98" fmla="*/ 3258640 h 6622937"/>
              <a:gd name="connsiteX99" fmla="*/ 6299430 w 8636594"/>
              <a:gd name="connsiteY99" fmla="*/ 3107321 h 6622937"/>
              <a:gd name="connsiteX100" fmla="*/ 6372650 w 8636594"/>
              <a:gd name="connsiteY100" fmla="*/ 2993735 h 6622937"/>
              <a:gd name="connsiteX101" fmla="*/ 6453197 w 8636594"/>
              <a:gd name="connsiteY101" fmla="*/ 2869788 h 6622937"/>
              <a:gd name="connsiteX102" fmla="*/ 6564167 w 8636594"/>
              <a:gd name="connsiteY102" fmla="*/ 2696807 h 6622937"/>
              <a:gd name="connsiteX103" fmla="*/ 6976233 w 8636594"/>
              <a:gd name="connsiteY103" fmla="*/ 2045274 h 6622937"/>
              <a:gd name="connsiteX104" fmla="*/ 7086755 w 8636594"/>
              <a:gd name="connsiteY104" fmla="*/ 1872743 h 6622937"/>
              <a:gd name="connsiteX105" fmla="*/ 7170279 w 8636594"/>
              <a:gd name="connsiteY105" fmla="*/ 1744202 h 6622937"/>
              <a:gd name="connsiteX106" fmla="*/ 7226351 w 8636594"/>
              <a:gd name="connsiteY106" fmla="*/ 1659017 h 6622937"/>
              <a:gd name="connsiteX107" fmla="*/ 7282789 w 8636594"/>
              <a:gd name="connsiteY107" fmla="*/ 1574303 h 6622937"/>
              <a:gd name="connsiteX108" fmla="*/ 7339643 w 8636594"/>
              <a:gd name="connsiteY108" fmla="*/ 1490113 h 6622937"/>
              <a:gd name="connsiteX109" fmla="*/ 7396957 w 8636594"/>
              <a:gd name="connsiteY109" fmla="*/ 1406503 h 6622937"/>
              <a:gd name="connsiteX110" fmla="*/ 7454781 w 8636594"/>
              <a:gd name="connsiteY110" fmla="*/ 1323526 h 6622937"/>
              <a:gd name="connsiteX111" fmla="*/ 7513161 w 8636594"/>
              <a:gd name="connsiteY111" fmla="*/ 1241237 h 6622937"/>
              <a:gd name="connsiteX112" fmla="*/ 7572144 w 8636594"/>
              <a:gd name="connsiteY112" fmla="*/ 1159689 h 6622937"/>
              <a:gd name="connsiteX113" fmla="*/ 7601877 w 8636594"/>
              <a:gd name="connsiteY113" fmla="*/ 1119210 h 6622937"/>
              <a:gd name="connsiteX114" fmla="*/ 7631779 w 8636594"/>
              <a:gd name="connsiteY114" fmla="*/ 1078937 h 6622937"/>
              <a:gd name="connsiteX115" fmla="*/ 7661855 w 8636594"/>
              <a:gd name="connsiteY115" fmla="*/ 1038876 h 6622937"/>
              <a:gd name="connsiteX116" fmla="*/ 7692111 w 8636594"/>
              <a:gd name="connsiteY116" fmla="*/ 999035 h 6622937"/>
              <a:gd name="connsiteX117" fmla="*/ 7722554 w 8636594"/>
              <a:gd name="connsiteY117" fmla="*/ 959419 h 6622937"/>
              <a:gd name="connsiteX118" fmla="*/ 7753190 w 8636594"/>
              <a:gd name="connsiteY118" fmla="*/ 920037 h 6622937"/>
              <a:gd name="connsiteX119" fmla="*/ 7784023 w 8636594"/>
              <a:gd name="connsiteY119" fmla="*/ 880894 h 6622937"/>
              <a:gd name="connsiteX120" fmla="*/ 7815061 w 8636594"/>
              <a:gd name="connsiteY120" fmla="*/ 841997 h 6622937"/>
              <a:gd name="connsiteX121" fmla="*/ 7846308 w 8636594"/>
              <a:gd name="connsiteY121" fmla="*/ 803354 h 6622937"/>
              <a:gd name="connsiteX122" fmla="*/ 7877772 w 8636594"/>
              <a:gd name="connsiteY122" fmla="*/ 764970 h 6622937"/>
              <a:gd name="connsiteX123" fmla="*/ 7909458 w 8636594"/>
              <a:gd name="connsiteY123" fmla="*/ 726853 h 6622937"/>
              <a:gd name="connsiteX124" fmla="*/ 7941371 w 8636594"/>
              <a:gd name="connsiteY124" fmla="*/ 689010 h 6622937"/>
              <a:gd name="connsiteX125" fmla="*/ 7973518 w 8636594"/>
              <a:gd name="connsiteY125" fmla="*/ 651447 h 6622937"/>
              <a:gd name="connsiteX126" fmla="*/ 8005905 w 8636594"/>
              <a:gd name="connsiteY126" fmla="*/ 614171 h 6622937"/>
              <a:gd name="connsiteX127" fmla="*/ 8038538 w 8636594"/>
              <a:gd name="connsiteY127" fmla="*/ 577189 h 6622937"/>
              <a:gd name="connsiteX128" fmla="*/ 8071421 w 8636594"/>
              <a:gd name="connsiteY128" fmla="*/ 540507 h 6622937"/>
              <a:gd name="connsiteX129" fmla="*/ 8104563 w 8636594"/>
              <a:gd name="connsiteY129" fmla="*/ 504132 h 6622937"/>
              <a:gd name="connsiteX130" fmla="*/ 8137967 w 8636594"/>
              <a:gd name="connsiteY130" fmla="*/ 468072 h 6622937"/>
              <a:gd name="connsiteX131" fmla="*/ 8171641 w 8636594"/>
              <a:gd name="connsiteY131" fmla="*/ 432332 h 6622937"/>
              <a:gd name="connsiteX132" fmla="*/ 8205590 w 8636594"/>
              <a:gd name="connsiteY132" fmla="*/ 396920 h 6622937"/>
              <a:gd name="connsiteX133" fmla="*/ 8239820 w 8636594"/>
              <a:gd name="connsiteY133" fmla="*/ 361843 h 6622937"/>
              <a:gd name="connsiteX134" fmla="*/ 8274337 w 8636594"/>
              <a:gd name="connsiteY134" fmla="*/ 327107 h 6622937"/>
              <a:gd name="connsiteX135" fmla="*/ 8309147 w 8636594"/>
              <a:gd name="connsiteY135" fmla="*/ 292718 h 6622937"/>
              <a:gd name="connsiteX136" fmla="*/ 8344256 w 8636594"/>
              <a:gd name="connsiteY136" fmla="*/ 258685 h 6622937"/>
              <a:gd name="connsiteX137" fmla="*/ 8379669 w 8636594"/>
              <a:gd name="connsiteY137" fmla="*/ 225013 h 6622937"/>
              <a:gd name="connsiteX138" fmla="*/ 8415394 w 8636594"/>
              <a:gd name="connsiteY138" fmla="*/ 191709 h 6622937"/>
              <a:gd name="connsiteX139" fmla="*/ 8451434 w 8636594"/>
              <a:gd name="connsiteY139" fmla="*/ 158780 h 6622937"/>
              <a:gd name="connsiteX140" fmla="*/ 8487798 w 8636594"/>
              <a:gd name="connsiteY140" fmla="*/ 126233 h 6622937"/>
              <a:gd name="connsiteX141" fmla="*/ 8524489 w 8636594"/>
              <a:gd name="connsiteY141" fmla="*/ 94075 h 6622937"/>
              <a:gd name="connsiteX142" fmla="*/ 8561515 w 8636594"/>
              <a:gd name="connsiteY142" fmla="*/ 62312 h 6622937"/>
              <a:gd name="connsiteX143" fmla="*/ 8598881 w 8636594"/>
              <a:gd name="connsiteY143" fmla="*/ 30951 h 6622937"/>
              <a:gd name="connsiteX144" fmla="*/ 8636594 w 8636594"/>
              <a:gd name="connsiteY144"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90090 w 8636594"/>
              <a:gd name="connsiteY5" fmla="*/ 5591230 h 6622937"/>
              <a:gd name="connsiteX6" fmla="*/ 2561975 w 8636594"/>
              <a:gd name="connsiteY6" fmla="*/ 5533193 h 6622937"/>
              <a:gd name="connsiteX7" fmla="*/ 2066817 w 8636594"/>
              <a:gd name="connsiteY7" fmla="*/ 6622937 h 6622937"/>
              <a:gd name="connsiteX8" fmla="*/ 2126742 w 8636594"/>
              <a:gd name="connsiteY8" fmla="*/ 6612869 h 6622937"/>
              <a:gd name="connsiteX9" fmla="*/ 2185991 w 8636594"/>
              <a:gd name="connsiteY9" fmla="*/ 6602362 h 6622937"/>
              <a:gd name="connsiteX10" fmla="*/ 2244569 w 8636594"/>
              <a:gd name="connsiteY10" fmla="*/ 6591417 h 6622937"/>
              <a:gd name="connsiteX11" fmla="*/ 2302482 w 8636594"/>
              <a:gd name="connsiteY11" fmla="*/ 6580040 h 6622937"/>
              <a:gd name="connsiteX12" fmla="*/ 2359737 w 8636594"/>
              <a:gd name="connsiteY12" fmla="*/ 6568233 h 6622937"/>
              <a:gd name="connsiteX13" fmla="*/ 2416341 w 8636594"/>
              <a:gd name="connsiteY13" fmla="*/ 6555999 h 6622937"/>
              <a:gd name="connsiteX14" fmla="*/ 2472299 w 8636594"/>
              <a:gd name="connsiteY14" fmla="*/ 6543344 h 6622937"/>
              <a:gd name="connsiteX15" fmla="*/ 2527618 w 8636594"/>
              <a:gd name="connsiteY15" fmla="*/ 6530269 h 6622937"/>
              <a:gd name="connsiteX16" fmla="*/ 2582304 w 8636594"/>
              <a:gd name="connsiteY16" fmla="*/ 6516778 h 6622937"/>
              <a:gd name="connsiteX17" fmla="*/ 2636364 w 8636594"/>
              <a:gd name="connsiteY17" fmla="*/ 6502876 h 6622937"/>
              <a:gd name="connsiteX18" fmla="*/ 2689804 w 8636594"/>
              <a:gd name="connsiteY18" fmla="*/ 6488565 h 6622937"/>
              <a:gd name="connsiteX19" fmla="*/ 2742629 w 8636594"/>
              <a:gd name="connsiteY19" fmla="*/ 6473849 h 6622937"/>
              <a:gd name="connsiteX20" fmla="*/ 2794848 w 8636594"/>
              <a:gd name="connsiteY20" fmla="*/ 6458731 h 6622937"/>
              <a:gd name="connsiteX21" fmla="*/ 2846466 w 8636594"/>
              <a:gd name="connsiteY21" fmla="*/ 6443216 h 6622937"/>
              <a:gd name="connsiteX22" fmla="*/ 2897488 w 8636594"/>
              <a:gd name="connsiteY22" fmla="*/ 6427305 h 6622937"/>
              <a:gd name="connsiteX23" fmla="*/ 2947923 w 8636594"/>
              <a:gd name="connsiteY23" fmla="*/ 6411004 h 6622937"/>
              <a:gd name="connsiteX24" fmla="*/ 2997775 w 8636594"/>
              <a:gd name="connsiteY24" fmla="*/ 6394316 h 6622937"/>
              <a:gd name="connsiteX25" fmla="*/ 3047052 w 8636594"/>
              <a:gd name="connsiteY25" fmla="*/ 6377243 h 6622937"/>
              <a:gd name="connsiteX26" fmla="*/ 3095759 w 8636594"/>
              <a:gd name="connsiteY26" fmla="*/ 6359791 h 6622937"/>
              <a:gd name="connsiteX27" fmla="*/ 3143903 w 8636594"/>
              <a:gd name="connsiteY27" fmla="*/ 6341961 h 6622937"/>
              <a:gd name="connsiteX28" fmla="*/ 3191491 w 8636594"/>
              <a:gd name="connsiteY28" fmla="*/ 6323757 h 6622937"/>
              <a:gd name="connsiteX29" fmla="*/ 3238528 w 8636594"/>
              <a:gd name="connsiteY29" fmla="*/ 6305184 h 6622937"/>
              <a:gd name="connsiteX30" fmla="*/ 3285021 w 8636594"/>
              <a:gd name="connsiteY30" fmla="*/ 6286245 h 6622937"/>
              <a:gd name="connsiteX31" fmla="*/ 3330977 w 8636594"/>
              <a:gd name="connsiteY31" fmla="*/ 6266942 h 6622937"/>
              <a:gd name="connsiteX32" fmla="*/ 3376401 w 8636594"/>
              <a:gd name="connsiteY32" fmla="*/ 6247281 h 6622937"/>
              <a:gd name="connsiteX33" fmla="*/ 3421300 w 8636594"/>
              <a:gd name="connsiteY33" fmla="*/ 6227263 h 6622937"/>
              <a:gd name="connsiteX34" fmla="*/ 3465680 w 8636594"/>
              <a:gd name="connsiteY34" fmla="*/ 6206893 h 6622937"/>
              <a:gd name="connsiteX35" fmla="*/ 3509548 w 8636594"/>
              <a:gd name="connsiteY35" fmla="*/ 6186174 h 6622937"/>
              <a:gd name="connsiteX36" fmla="*/ 3552910 w 8636594"/>
              <a:gd name="connsiteY36" fmla="*/ 6165110 h 6622937"/>
              <a:gd name="connsiteX37" fmla="*/ 3595773 w 8636594"/>
              <a:gd name="connsiteY37" fmla="*/ 6143704 h 6622937"/>
              <a:gd name="connsiteX38" fmla="*/ 3638142 w 8636594"/>
              <a:gd name="connsiteY38" fmla="*/ 6121960 h 6622937"/>
              <a:gd name="connsiteX39" fmla="*/ 3680024 w 8636594"/>
              <a:gd name="connsiteY39" fmla="*/ 6099881 h 6622937"/>
              <a:gd name="connsiteX40" fmla="*/ 3721426 w 8636594"/>
              <a:gd name="connsiteY40" fmla="*/ 6077471 h 6622937"/>
              <a:gd name="connsiteX41" fmla="*/ 3762353 w 8636594"/>
              <a:gd name="connsiteY41" fmla="*/ 6054733 h 6622937"/>
              <a:gd name="connsiteX42" fmla="*/ 3802812 w 8636594"/>
              <a:gd name="connsiteY42" fmla="*/ 6031671 h 6622937"/>
              <a:gd name="connsiteX43" fmla="*/ 3842810 w 8636594"/>
              <a:gd name="connsiteY43" fmla="*/ 6008288 h 6622937"/>
              <a:gd name="connsiteX44" fmla="*/ 3882352 w 8636594"/>
              <a:gd name="connsiteY44" fmla="*/ 5984588 h 6622937"/>
              <a:gd name="connsiteX45" fmla="*/ 3921445 w 8636594"/>
              <a:gd name="connsiteY45" fmla="*/ 5960574 h 6622937"/>
              <a:gd name="connsiteX46" fmla="*/ 3960096 w 8636594"/>
              <a:gd name="connsiteY46" fmla="*/ 5936250 h 6622937"/>
              <a:gd name="connsiteX47" fmla="*/ 3998311 w 8636594"/>
              <a:gd name="connsiteY47" fmla="*/ 5911619 h 6622937"/>
              <a:gd name="connsiteX48" fmla="*/ 4036095 w 8636594"/>
              <a:gd name="connsiteY48" fmla="*/ 5886685 h 6622937"/>
              <a:gd name="connsiteX49" fmla="*/ 4073456 w 8636594"/>
              <a:gd name="connsiteY49" fmla="*/ 5861452 h 6622937"/>
              <a:gd name="connsiteX50" fmla="*/ 4110400 w 8636594"/>
              <a:gd name="connsiteY50" fmla="*/ 5835922 h 6622937"/>
              <a:gd name="connsiteX51" fmla="*/ 4146933 w 8636594"/>
              <a:gd name="connsiteY51" fmla="*/ 5810100 h 6622937"/>
              <a:gd name="connsiteX52" fmla="*/ 4183061 w 8636594"/>
              <a:gd name="connsiteY52" fmla="*/ 5783988 h 6622937"/>
              <a:gd name="connsiteX53" fmla="*/ 4218791 w 8636594"/>
              <a:gd name="connsiteY53" fmla="*/ 5757591 h 6622937"/>
              <a:gd name="connsiteX54" fmla="*/ 4254129 w 8636594"/>
              <a:gd name="connsiteY54" fmla="*/ 5730912 h 6622937"/>
              <a:gd name="connsiteX55" fmla="*/ 4289081 w 8636594"/>
              <a:gd name="connsiteY55" fmla="*/ 5703955 h 6622937"/>
              <a:gd name="connsiteX56" fmla="*/ 4323654 w 8636594"/>
              <a:gd name="connsiteY56" fmla="*/ 5676722 h 6622937"/>
              <a:gd name="connsiteX57" fmla="*/ 4357854 w 8636594"/>
              <a:gd name="connsiteY57" fmla="*/ 5649218 h 6622937"/>
              <a:gd name="connsiteX58" fmla="*/ 4391688 w 8636594"/>
              <a:gd name="connsiteY58" fmla="*/ 5621446 h 6622937"/>
              <a:gd name="connsiteX59" fmla="*/ 4425162 w 8636594"/>
              <a:gd name="connsiteY59" fmla="*/ 5593409 h 6622937"/>
              <a:gd name="connsiteX60" fmla="*/ 4458281 w 8636594"/>
              <a:gd name="connsiteY60" fmla="*/ 5565111 h 6622937"/>
              <a:gd name="connsiteX61" fmla="*/ 4491053 w 8636594"/>
              <a:gd name="connsiteY61" fmla="*/ 5536556 h 6622937"/>
              <a:gd name="connsiteX62" fmla="*/ 4523484 w 8636594"/>
              <a:gd name="connsiteY62" fmla="*/ 5507747 h 6622937"/>
              <a:gd name="connsiteX63" fmla="*/ 4555580 w 8636594"/>
              <a:gd name="connsiteY63" fmla="*/ 5478687 h 6622937"/>
              <a:gd name="connsiteX64" fmla="*/ 4587347 w 8636594"/>
              <a:gd name="connsiteY64" fmla="*/ 5449380 h 6622937"/>
              <a:gd name="connsiteX65" fmla="*/ 4618793 w 8636594"/>
              <a:gd name="connsiteY65" fmla="*/ 5419830 h 6622937"/>
              <a:gd name="connsiteX66" fmla="*/ 4649922 w 8636594"/>
              <a:gd name="connsiteY66" fmla="*/ 5390040 h 6622937"/>
              <a:gd name="connsiteX67" fmla="*/ 4680742 w 8636594"/>
              <a:gd name="connsiteY67" fmla="*/ 5360014 h 6622937"/>
              <a:gd name="connsiteX68" fmla="*/ 4711259 w 8636594"/>
              <a:gd name="connsiteY68" fmla="*/ 5329755 h 6622937"/>
              <a:gd name="connsiteX69" fmla="*/ 4741478 w 8636594"/>
              <a:gd name="connsiteY69" fmla="*/ 5299266 h 6622937"/>
              <a:gd name="connsiteX70" fmla="*/ 4771408 w 8636594"/>
              <a:gd name="connsiteY70" fmla="*/ 5268551 h 6622937"/>
              <a:gd name="connsiteX71" fmla="*/ 4801053 w 8636594"/>
              <a:gd name="connsiteY71" fmla="*/ 5237614 h 6622937"/>
              <a:gd name="connsiteX72" fmla="*/ 4830420 w 8636594"/>
              <a:gd name="connsiteY72" fmla="*/ 5206458 h 6622937"/>
              <a:gd name="connsiteX73" fmla="*/ 4859516 w 8636594"/>
              <a:gd name="connsiteY73" fmla="*/ 5175087 h 6622937"/>
              <a:gd name="connsiteX74" fmla="*/ 4888347 w 8636594"/>
              <a:gd name="connsiteY74" fmla="*/ 5143504 h 6622937"/>
              <a:gd name="connsiteX75" fmla="*/ 4916919 w 8636594"/>
              <a:gd name="connsiteY75" fmla="*/ 5111713 h 6622937"/>
              <a:gd name="connsiteX76" fmla="*/ 4945238 w 8636594"/>
              <a:gd name="connsiteY76" fmla="*/ 5079717 h 6622937"/>
              <a:gd name="connsiteX77" fmla="*/ 4973311 w 8636594"/>
              <a:gd name="connsiteY77" fmla="*/ 5047519 h 6622937"/>
              <a:gd name="connsiteX78" fmla="*/ 5001145 w 8636594"/>
              <a:gd name="connsiteY78" fmla="*/ 5015124 h 6622937"/>
              <a:gd name="connsiteX79" fmla="*/ 5028745 w 8636594"/>
              <a:gd name="connsiteY79" fmla="*/ 4982535 h 6622937"/>
              <a:gd name="connsiteX80" fmla="*/ 5056117 w 8636594"/>
              <a:gd name="connsiteY80" fmla="*/ 4949755 h 6622937"/>
              <a:gd name="connsiteX81" fmla="*/ 5083269 w 8636594"/>
              <a:gd name="connsiteY81" fmla="*/ 4916787 h 6622937"/>
              <a:gd name="connsiteX82" fmla="*/ 5110207 w 8636594"/>
              <a:gd name="connsiteY82" fmla="*/ 4883636 h 6622937"/>
              <a:gd name="connsiteX83" fmla="*/ 5136937 w 8636594"/>
              <a:gd name="connsiteY83" fmla="*/ 4850305 h 6622937"/>
              <a:gd name="connsiteX84" fmla="*/ 5163464 w 8636594"/>
              <a:gd name="connsiteY84" fmla="*/ 4816797 h 6622937"/>
              <a:gd name="connsiteX85" fmla="*/ 5215940 w 8636594"/>
              <a:gd name="connsiteY85" fmla="*/ 4749265 h 6622937"/>
              <a:gd name="connsiteX86" fmla="*/ 5267684 w 8636594"/>
              <a:gd name="connsiteY86" fmla="*/ 4681068 h 6622937"/>
              <a:gd name="connsiteX87" fmla="*/ 5318748 w 8636594"/>
              <a:gd name="connsiteY87" fmla="*/ 4612234 h 6622937"/>
              <a:gd name="connsiteX88" fmla="*/ 5369182 w 8636594"/>
              <a:gd name="connsiteY88" fmla="*/ 4542793 h 6622937"/>
              <a:gd name="connsiteX89" fmla="*/ 5419038 w 8636594"/>
              <a:gd name="connsiteY89" fmla="*/ 4472771 h 6622937"/>
              <a:gd name="connsiteX90" fmla="*/ 5468365 w 8636594"/>
              <a:gd name="connsiteY90" fmla="*/ 4402196 h 6622937"/>
              <a:gd name="connsiteX91" fmla="*/ 5517215 w 8636594"/>
              <a:gd name="connsiteY91" fmla="*/ 4331098 h 6622937"/>
              <a:gd name="connsiteX92" fmla="*/ 5565637 w 8636594"/>
              <a:gd name="connsiteY92" fmla="*/ 4259503 h 6622937"/>
              <a:gd name="connsiteX93" fmla="*/ 5613684 w 8636594"/>
              <a:gd name="connsiteY93" fmla="*/ 4187441 h 6622937"/>
              <a:gd name="connsiteX94" fmla="*/ 5685160 w 8636594"/>
              <a:gd name="connsiteY94" fmla="*/ 4078531 h 6622937"/>
              <a:gd name="connsiteX95" fmla="*/ 5756074 w 8636594"/>
              <a:gd name="connsiteY95" fmla="*/ 3968727 h 6622937"/>
              <a:gd name="connsiteX96" fmla="*/ 5873483 w 8636594"/>
              <a:gd name="connsiteY96" fmla="*/ 3783989 h 6622937"/>
              <a:gd name="connsiteX97" fmla="*/ 6203209 w 8636594"/>
              <a:gd name="connsiteY97" fmla="*/ 3258640 h 6622937"/>
              <a:gd name="connsiteX98" fmla="*/ 6299430 w 8636594"/>
              <a:gd name="connsiteY98" fmla="*/ 3107321 h 6622937"/>
              <a:gd name="connsiteX99" fmla="*/ 6372650 w 8636594"/>
              <a:gd name="connsiteY99" fmla="*/ 2993735 h 6622937"/>
              <a:gd name="connsiteX100" fmla="*/ 6453197 w 8636594"/>
              <a:gd name="connsiteY100" fmla="*/ 2869788 h 6622937"/>
              <a:gd name="connsiteX101" fmla="*/ 6564167 w 8636594"/>
              <a:gd name="connsiteY101" fmla="*/ 2696807 h 6622937"/>
              <a:gd name="connsiteX102" fmla="*/ 6976233 w 8636594"/>
              <a:gd name="connsiteY102" fmla="*/ 2045274 h 6622937"/>
              <a:gd name="connsiteX103" fmla="*/ 7086755 w 8636594"/>
              <a:gd name="connsiteY103" fmla="*/ 1872743 h 6622937"/>
              <a:gd name="connsiteX104" fmla="*/ 7170279 w 8636594"/>
              <a:gd name="connsiteY104" fmla="*/ 1744202 h 6622937"/>
              <a:gd name="connsiteX105" fmla="*/ 7226351 w 8636594"/>
              <a:gd name="connsiteY105" fmla="*/ 1659017 h 6622937"/>
              <a:gd name="connsiteX106" fmla="*/ 7282789 w 8636594"/>
              <a:gd name="connsiteY106" fmla="*/ 1574303 h 6622937"/>
              <a:gd name="connsiteX107" fmla="*/ 7339643 w 8636594"/>
              <a:gd name="connsiteY107" fmla="*/ 1490113 h 6622937"/>
              <a:gd name="connsiteX108" fmla="*/ 7396957 w 8636594"/>
              <a:gd name="connsiteY108" fmla="*/ 1406503 h 6622937"/>
              <a:gd name="connsiteX109" fmla="*/ 7454781 w 8636594"/>
              <a:gd name="connsiteY109" fmla="*/ 1323526 h 6622937"/>
              <a:gd name="connsiteX110" fmla="*/ 7513161 w 8636594"/>
              <a:gd name="connsiteY110" fmla="*/ 1241237 h 6622937"/>
              <a:gd name="connsiteX111" fmla="*/ 7572144 w 8636594"/>
              <a:gd name="connsiteY111" fmla="*/ 1159689 h 6622937"/>
              <a:gd name="connsiteX112" fmla="*/ 7601877 w 8636594"/>
              <a:gd name="connsiteY112" fmla="*/ 1119210 h 6622937"/>
              <a:gd name="connsiteX113" fmla="*/ 7631779 w 8636594"/>
              <a:gd name="connsiteY113" fmla="*/ 1078937 h 6622937"/>
              <a:gd name="connsiteX114" fmla="*/ 7661855 w 8636594"/>
              <a:gd name="connsiteY114" fmla="*/ 1038876 h 6622937"/>
              <a:gd name="connsiteX115" fmla="*/ 7692111 w 8636594"/>
              <a:gd name="connsiteY115" fmla="*/ 999035 h 6622937"/>
              <a:gd name="connsiteX116" fmla="*/ 7722554 w 8636594"/>
              <a:gd name="connsiteY116" fmla="*/ 959419 h 6622937"/>
              <a:gd name="connsiteX117" fmla="*/ 7753190 w 8636594"/>
              <a:gd name="connsiteY117" fmla="*/ 920037 h 6622937"/>
              <a:gd name="connsiteX118" fmla="*/ 7784023 w 8636594"/>
              <a:gd name="connsiteY118" fmla="*/ 880894 h 6622937"/>
              <a:gd name="connsiteX119" fmla="*/ 7815061 w 8636594"/>
              <a:gd name="connsiteY119" fmla="*/ 841997 h 6622937"/>
              <a:gd name="connsiteX120" fmla="*/ 7846308 w 8636594"/>
              <a:gd name="connsiteY120" fmla="*/ 803354 h 6622937"/>
              <a:gd name="connsiteX121" fmla="*/ 7877772 w 8636594"/>
              <a:gd name="connsiteY121" fmla="*/ 764970 h 6622937"/>
              <a:gd name="connsiteX122" fmla="*/ 7909458 w 8636594"/>
              <a:gd name="connsiteY122" fmla="*/ 726853 h 6622937"/>
              <a:gd name="connsiteX123" fmla="*/ 7941371 w 8636594"/>
              <a:gd name="connsiteY123" fmla="*/ 689010 h 6622937"/>
              <a:gd name="connsiteX124" fmla="*/ 7973518 w 8636594"/>
              <a:gd name="connsiteY124" fmla="*/ 651447 h 6622937"/>
              <a:gd name="connsiteX125" fmla="*/ 8005905 w 8636594"/>
              <a:gd name="connsiteY125" fmla="*/ 614171 h 6622937"/>
              <a:gd name="connsiteX126" fmla="*/ 8038538 w 8636594"/>
              <a:gd name="connsiteY126" fmla="*/ 577189 h 6622937"/>
              <a:gd name="connsiteX127" fmla="*/ 8071421 w 8636594"/>
              <a:gd name="connsiteY127" fmla="*/ 540507 h 6622937"/>
              <a:gd name="connsiteX128" fmla="*/ 8104563 w 8636594"/>
              <a:gd name="connsiteY128" fmla="*/ 504132 h 6622937"/>
              <a:gd name="connsiteX129" fmla="*/ 8137967 w 8636594"/>
              <a:gd name="connsiteY129" fmla="*/ 468072 h 6622937"/>
              <a:gd name="connsiteX130" fmla="*/ 8171641 w 8636594"/>
              <a:gd name="connsiteY130" fmla="*/ 432332 h 6622937"/>
              <a:gd name="connsiteX131" fmla="*/ 8205590 w 8636594"/>
              <a:gd name="connsiteY131" fmla="*/ 396920 h 6622937"/>
              <a:gd name="connsiteX132" fmla="*/ 8239820 w 8636594"/>
              <a:gd name="connsiteY132" fmla="*/ 361843 h 6622937"/>
              <a:gd name="connsiteX133" fmla="*/ 8274337 w 8636594"/>
              <a:gd name="connsiteY133" fmla="*/ 327107 h 6622937"/>
              <a:gd name="connsiteX134" fmla="*/ 8309147 w 8636594"/>
              <a:gd name="connsiteY134" fmla="*/ 292718 h 6622937"/>
              <a:gd name="connsiteX135" fmla="*/ 8344256 w 8636594"/>
              <a:gd name="connsiteY135" fmla="*/ 258685 h 6622937"/>
              <a:gd name="connsiteX136" fmla="*/ 8379669 w 8636594"/>
              <a:gd name="connsiteY136" fmla="*/ 225013 h 6622937"/>
              <a:gd name="connsiteX137" fmla="*/ 8415394 w 8636594"/>
              <a:gd name="connsiteY137" fmla="*/ 191709 h 6622937"/>
              <a:gd name="connsiteX138" fmla="*/ 8451434 w 8636594"/>
              <a:gd name="connsiteY138" fmla="*/ 158780 h 6622937"/>
              <a:gd name="connsiteX139" fmla="*/ 8487798 w 8636594"/>
              <a:gd name="connsiteY139" fmla="*/ 126233 h 6622937"/>
              <a:gd name="connsiteX140" fmla="*/ 8524489 w 8636594"/>
              <a:gd name="connsiteY140" fmla="*/ 94075 h 6622937"/>
              <a:gd name="connsiteX141" fmla="*/ 8561515 w 8636594"/>
              <a:gd name="connsiteY141" fmla="*/ 62312 h 6622937"/>
              <a:gd name="connsiteX142" fmla="*/ 8598881 w 8636594"/>
              <a:gd name="connsiteY142" fmla="*/ 30951 h 6622937"/>
              <a:gd name="connsiteX143" fmla="*/ 8636594 w 8636594"/>
              <a:gd name="connsiteY143"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561975 w 8636594"/>
              <a:gd name="connsiteY5" fmla="*/ 5533193 h 6622937"/>
              <a:gd name="connsiteX6" fmla="*/ 2066817 w 8636594"/>
              <a:gd name="connsiteY6" fmla="*/ 6622937 h 6622937"/>
              <a:gd name="connsiteX7" fmla="*/ 2126742 w 8636594"/>
              <a:gd name="connsiteY7" fmla="*/ 6612869 h 6622937"/>
              <a:gd name="connsiteX8" fmla="*/ 2185991 w 8636594"/>
              <a:gd name="connsiteY8" fmla="*/ 6602362 h 6622937"/>
              <a:gd name="connsiteX9" fmla="*/ 2244569 w 8636594"/>
              <a:gd name="connsiteY9" fmla="*/ 6591417 h 6622937"/>
              <a:gd name="connsiteX10" fmla="*/ 2302482 w 8636594"/>
              <a:gd name="connsiteY10" fmla="*/ 6580040 h 6622937"/>
              <a:gd name="connsiteX11" fmla="*/ 2359737 w 8636594"/>
              <a:gd name="connsiteY11" fmla="*/ 6568233 h 6622937"/>
              <a:gd name="connsiteX12" fmla="*/ 2416341 w 8636594"/>
              <a:gd name="connsiteY12" fmla="*/ 6555999 h 6622937"/>
              <a:gd name="connsiteX13" fmla="*/ 2472299 w 8636594"/>
              <a:gd name="connsiteY13" fmla="*/ 6543344 h 6622937"/>
              <a:gd name="connsiteX14" fmla="*/ 2527618 w 8636594"/>
              <a:gd name="connsiteY14" fmla="*/ 6530269 h 6622937"/>
              <a:gd name="connsiteX15" fmla="*/ 2582304 w 8636594"/>
              <a:gd name="connsiteY15" fmla="*/ 6516778 h 6622937"/>
              <a:gd name="connsiteX16" fmla="*/ 2636364 w 8636594"/>
              <a:gd name="connsiteY16" fmla="*/ 6502876 h 6622937"/>
              <a:gd name="connsiteX17" fmla="*/ 2689804 w 8636594"/>
              <a:gd name="connsiteY17" fmla="*/ 6488565 h 6622937"/>
              <a:gd name="connsiteX18" fmla="*/ 2742629 w 8636594"/>
              <a:gd name="connsiteY18" fmla="*/ 6473849 h 6622937"/>
              <a:gd name="connsiteX19" fmla="*/ 2794848 w 8636594"/>
              <a:gd name="connsiteY19" fmla="*/ 6458731 h 6622937"/>
              <a:gd name="connsiteX20" fmla="*/ 2846466 w 8636594"/>
              <a:gd name="connsiteY20" fmla="*/ 6443216 h 6622937"/>
              <a:gd name="connsiteX21" fmla="*/ 2897488 w 8636594"/>
              <a:gd name="connsiteY21" fmla="*/ 6427305 h 6622937"/>
              <a:gd name="connsiteX22" fmla="*/ 2947923 w 8636594"/>
              <a:gd name="connsiteY22" fmla="*/ 6411004 h 6622937"/>
              <a:gd name="connsiteX23" fmla="*/ 2997775 w 8636594"/>
              <a:gd name="connsiteY23" fmla="*/ 6394316 h 6622937"/>
              <a:gd name="connsiteX24" fmla="*/ 3047052 w 8636594"/>
              <a:gd name="connsiteY24" fmla="*/ 6377243 h 6622937"/>
              <a:gd name="connsiteX25" fmla="*/ 3095759 w 8636594"/>
              <a:gd name="connsiteY25" fmla="*/ 6359791 h 6622937"/>
              <a:gd name="connsiteX26" fmla="*/ 3143903 w 8636594"/>
              <a:gd name="connsiteY26" fmla="*/ 6341961 h 6622937"/>
              <a:gd name="connsiteX27" fmla="*/ 3191491 w 8636594"/>
              <a:gd name="connsiteY27" fmla="*/ 6323757 h 6622937"/>
              <a:gd name="connsiteX28" fmla="*/ 3238528 w 8636594"/>
              <a:gd name="connsiteY28" fmla="*/ 6305184 h 6622937"/>
              <a:gd name="connsiteX29" fmla="*/ 3285021 w 8636594"/>
              <a:gd name="connsiteY29" fmla="*/ 6286245 h 6622937"/>
              <a:gd name="connsiteX30" fmla="*/ 3330977 w 8636594"/>
              <a:gd name="connsiteY30" fmla="*/ 6266942 h 6622937"/>
              <a:gd name="connsiteX31" fmla="*/ 3376401 w 8636594"/>
              <a:gd name="connsiteY31" fmla="*/ 6247281 h 6622937"/>
              <a:gd name="connsiteX32" fmla="*/ 3421300 w 8636594"/>
              <a:gd name="connsiteY32" fmla="*/ 6227263 h 6622937"/>
              <a:gd name="connsiteX33" fmla="*/ 3465680 w 8636594"/>
              <a:gd name="connsiteY33" fmla="*/ 6206893 h 6622937"/>
              <a:gd name="connsiteX34" fmla="*/ 3509548 w 8636594"/>
              <a:gd name="connsiteY34" fmla="*/ 6186174 h 6622937"/>
              <a:gd name="connsiteX35" fmla="*/ 3552910 w 8636594"/>
              <a:gd name="connsiteY35" fmla="*/ 6165110 h 6622937"/>
              <a:gd name="connsiteX36" fmla="*/ 3595773 w 8636594"/>
              <a:gd name="connsiteY36" fmla="*/ 6143704 h 6622937"/>
              <a:gd name="connsiteX37" fmla="*/ 3638142 w 8636594"/>
              <a:gd name="connsiteY37" fmla="*/ 6121960 h 6622937"/>
              <a:gd name="connsiteX38" fmla="*/ 3680024 w 8636594"/>
              <a:gd name="connsiteY38" fmla="*/ 6099881 h 6622937"/>
              <a:gd name="connsiteX39" fmla="*/ 3721426 w 8636594"/>
              <a:gd name="connsiteY39" fmla="*/ 6077471 h 6622937"/>
              <a:gd name="connsiteX40" fmla="*/ 3762353 w 8636594"/>
              <a:gd name="connsiteY40" fmla="*/ 6054733 h 6622937"/>
              <a:gd name="connsiteX41" fmla="*/ 3802812 w 8636594"/>
              <a:gd name="connsiteY41" fmla="*/ 6031671 h 6622937"/>
              <a:gd name="connsiteX42" fmla="*/ 3842810 w 8636594"/>
              <a:gd name="connsiteY42" fmla="*/ 6008288 h 6622937"/>
              <a:gd name="connsiteX43" fmla="*/ 3882352 w 8636594"/>
              <a:gd name="connsiteY43" fmla="*/ 5984588 h 6622937"/>
              <a:gd name="connsiteX44" fmla="*/ 3921445 w 8636594"/>
              <a:gd name="connsiteY44" fmla="*/ 5960574 h 6622937"/>
              <a:gd name="connsiteX45" fmla="*/ 3960096 w 8636594"/>
              <a:gd name="connsiteY45" fmla="*/ 5936250 h 6622937"/>
              <a:gd name="connsiteX46" fmla="*/ 3998311 w 8636594"/>
              <a:gd name="connsiteY46" fmla="*/ 5911619 h 6622937"/>
              <a:gd name="connsiteX47" fmla="*/ 4036095 w 8636594"/>
              <a:gd name="connsiteY47" fmla="*/ 5886685 h 6622937"/>
              <a:gd name="connsiteX48" fmla="*/ 4073456 w 8636594"/>
              <a:gd name="connsiteY48" fmla="*/ 5861452 h 6622937"/>
              <a:gd name="connsiteX49" fmla="*/ 4110400 w 8636594"/>
              <a:gd name="connsiteY49" fmla="*/ 5835922 h 6622937"/>
              <a:gd name="connsiteX50" fmla="*/ 4146933 w 8636594"/>
              <a:gd name="connsiteY50" fmla="*/ 5810100 h 6622937"/>
              <a:gd name="connsiteX51" fmla="*/ 4183061 w 8636594"/>
              <a:gd name="connsiteY51" fmla="*/ 5783988 h 6622937"/>
              <a:gd name="connsiteX52" fmla="*/ 4218791 w 8636594"/>
              <a:gd name="connsiteY52" fmla="*/ 5757591 h 6622937"/>
              <a:gd name="connsiteX53" fmla="*/ 4254129 w 8636594"/>
              <a:gd name="connsiteY53" fmla="*/ 5730912 h 6622937"/>
              <a:gd name="connsiteX54" fmla="*/ 4289081 w 8636594"/>
              <a:gd name="connsiteY54" fmla="*/ 5703955 h 6622937"/>
              <a:gd name="connsiteX55" fmla="*/ 4323654 w 8636594"/>
              <a:gd name="connsiteY55" fmla="*/ 5676722 h 6622937"/>
              <a:gd name="connsiteX56" fmla="*/ 4357854 w 8636594"/>
              <a:gd name="connsiteY56" fmla="*/ 5649218 h 6622937"/>
              <a:gd name="connsiteX57" fmla="*/ 4391688 w 8636594"/>
              <a:gd name="connsiteY57" fmla="*/ 5621446 h 6622937"/>
              <a:gd name="connsiteX58" fmla="*/ 4425162 w 8636594"/>
              <a:gd name="connsiteY58" fmla="*/ 5593409 h 6622937"/>
              <a:gd name="connsiteX59" fmla="*/ 4458281 w 8636594"/>
              <a:gd name="connsiteY59" fmla="*/ 5565111 h 6622937"/>
              <a:gd name="connsiteX60" fmla="*/ 4491053 w 8636594"/>
              <a:gd name="connsiteY60" fmla="*/ 5536556 h 6622937"/>
              <a:gd name="connsiteX61" fmla="*/ 4523484 w 8636594"/>
              <a:gd name="connsiteY61" fmla="*/ 5507747 h 6622937"/>
              <a:gd name="connsiteX62" fmla="*/ 4555580 w 8636594"/>
              <a:gd name="connsiteY62" fmla="*/ 5478687 h 6622937"/>
              <a:gd name="connsiteX63" fmla="*/ 4587347 w 8636594"/>
              <a:gd name="connsiteY63" fmla="*/ 5449380 h 6622937"/>
              <a:gd name="connsiteX64" fmla="*/ 4618793 w 8636594"/>
              <a:gd name="connsiteY64" fmla="*/ 5419830 h 6622937"/>
              <a:gd name="connsiteX65" fmla="*/ 4649922 w 8636594"/>
              <a:gd name="connsiteY65" fmla="*/ 5390040 h 6622937"/>
              <a:gd name="connsiteX66" fmla="*/ 4680742 w 8636594"/>
              <a:gd name="connsiteY66" fmla="*/ 5360014 h 6622937"/>
              <a:gd name="connsiteX67" fmla="*/ 4711259 w 8636594"/>
              <a:gd name="connsiteY67" fmla="*/ 5329755 h 6622937"/>
              <a:gd name="connsiteX68" fmla="*/ 4741478 w 8636594"/>
              <a:gd name="connsiteY68" fmla="*/ 5299266 h 6622937"/>
              <a:gd name="connsiteX69" fmla="*/ 4771408 w 8636594"/>
              <a:gd name="connsiteY69" fmla="*/ 5268551 h 6622937"/>
              <a:gd name="connsiteX70" fmla="*/ 4801053 w 8636594"/>
              <a:gd name="connsiteY70" fmla="*/ 5237614 h 6622937"/>
              <a:gd name="connsiteX71" fmla="*/ 4830420 w 8636594"/>
              <a:gd name="connsiteY71" fmla="*/ 5206458 h 6622937"/>
              <a:gd name="connsiteX72" fmla="*/ 4859516 w 8636594"/>
              <a:gd name="connsiteY72" fmla="*/ 5175087 h 6622937"/>
              <a:gd name="connsiteX73" fmla="*/ 4888347 w 8636594"/>
              <a:gd name="connsiteY73" fmla="*/ 5143504 h 6622937"/>
              <a:gd name="connsiteX74" fmla="*/ 4916919 w 8636594"/>
              <a:gd name="connsiteY74" fmla="*/ 5111713 h 6622937"/>
              <a:gd name="connsiteX75" fmla="*/ 4945238 w 8636594"/>
              <a:gd name="connsiteY75" fmla="*/ 5079717 h 6622937"/>
              <a:gd name="connsiteX76" fmla="*/ 4973311 w 8636594"/>
              <a:gd name="connsiteY76" fmla="*/ 5047519 h 6622937"/>
              <a:gd name="connsiteX77" fmla="*/ 5001145 w 8636594"/>
              <a:gd name="connsiteY77" fmla="*/ 5015124 h 6622937"/>
              <a:gd name="connsiteX78" fmla="*/ 5028745 w 8636594"/>
              <a:gd name="connsiteY78" fmla="*/ 4982535 h 6622937"/>
              <a:gd name="connsiteX79" fmla="*/ 5056117 w 8636594"/>
              <a:gd name="connsiteY79" fmla="*/ 4949755 h 6622937"/>
              <a:gd name="connsiteX80" fmla="*/ 5083269 w 8636594"/>
              <a:gd name="connsiteY80" fmla="*/ 4916787 h 6622937"/>
              <a:gd name="connsiteX81" fmla="*/ 5110207 w 8636594"/>
              <a:gd name="connsiteY81" fmla="*/ 4883636 h 6622937"/>
              <a:gd name="connsiteX82" fmla="*/ 5136937 w 8636594"/>
              <a:gd name="connsiteY82" fmla="*/ 4850305 h 6622937"/>
              <a:gd name="connsiteX83" fmla="*/ 5163464 w 8636594"/>
              <a:gd name="connsiteY83" fmla="*/ 4816797 h 6622937"/>
              <a:gd name="connsiteX84" fmla="*/ 5215940 w 8636594"/>
              <a:gd name="connsiteY84" fmla="*/ 4749265 h 6622937"/>
              <a:gd name="connsiteX85" fmla="*/ 5267684 w 8636594"/>
              <a:gd name="connsiteY85" fmla="*/ 4681068 h 6622937"/>
              <a:gd name="connsiteX86" fmla="*/ 5318748 w 8636594"/>
              <a:gd name="connsiteY86" fmla="*/ 4612234 h 6622937"/>
              <a:gd name="connsiteX87" fmla="*/ 5369182 w 8636594"/>
              <a:gd name="connsiteY87" fmla="*/ 4542793 h 6622937"/>
              <a:gd name="connsiteX88" fmla="*/ 5419038 w 8636594"/>
              <a:gd name="connsiteY88" fmla="*/ 4472771 h 6622937"/>
              <a:gd name="connsiteX89" fmla="*/ 5468365 w 8636594"/>
              <a:gd name="connsiteY89" fmla="*/ 4402196 h 6622937"/>
              <a:gd name="connsiteX90" fmla="*/ 5517215 w 8636594"/>
              <a:gd name="connsiteY90" fmla="*/ 4331098 h 6622937"/>
              <a:gd name="connsiteX91" fmla="*/ 5565637 w 8636594"/>
              <a:gd name="connsiteY91" fmla="*/ 4259503 h 6622937"/>
              <a:gd name="connsiteX92" fmla="*/ 5613684 w 8636594"/>
              <a:gd name="connsiteY92" fmla="*/ 4187441 h 6622937"/>
              <a:gd name="connsiteX93" fmla="*/ 5685160 w 8636594"/>
              <a:gd name="connsiteY93" fmla="*/ 4078531 h 6622937"/>
              <a:gd name="connsiteX94" fmla="*/ 5756074 w 8636594"/>
              <a:gd name="connsiteY94" fmla="*/ 3968727 h 6622937"/>
              <a:gd name="connsiteX95" fmla="*/ 5873483 w 8636594"/>
              <a:gd name="connsiteY95" fmla="*/ 3783989 h 6622937"/>
              <a:gd name="connsiteX96" fmla="*/ 6203209 w 8636594"/>
              <a:gd name="connsiteY96" fmla="*/ 3258640 h 6622937"/>
              <a:gd name="connsiteX97" fmla="*/ 6299430 w 8636594"/>
              <a:gd name="connsiteY97" fmla="*/ 3107321 h 6622937"/>
              <a:gd name="connsiteX98" fmla="*/ 6372650 w 8636594"/>
              <a:gd name="connsiteY98" fmla="*/ 2993735 h 6622937"/>
              <a:gd name="connsiteX99" fmla="*/ 6453197 w 8636594"/>
              <a:gd name="connsiteY99" fmla="*/ 2869788 h 6622937"/>
              <a:gd name="connsiteX100" fmla="*/ 6564167 w 8636594"/>
              <a:gd name="connsiteY100" fmla="*/ 2696807 h 6622937"/>
              <a:gd name="connsiteX101" fmla="*/ 6976233 w 8636594"/>
              <a:gd name="connsiteY101" fmla="*/ 2045274 h 6622937"/>
              <a:gd name="connsiteX102" fmla="*/ 7086755 w 8636594"/>
              <a:gd name="connsiteY102" fmla="*/ 1872743 h 6622937"/>
              <a:gd name="connsiteX103" fmla="*/ 7170279 w 8636594"/>
              <a:gd name="connsiteY103" fmla="*/ 1744202 h 6622937"/>
              <a:gd name="connsiteX104" fmla="*/ 7226351 w 8636594"/>
              <a:gd name="connsiteY104" fmla="*/ 1659017 h 6622937"/>
              <a:gd name="connsiteX105" fmla="*/ 7282789 w 8636594"/>
              <a:gd name="connsiteY105" fmla="*/ 1574303 h 6622937"/>
              <a:gd name="connsiteX106" fmla="*/ 7339643 w 8636594"/>
              <a:gd name="connsiteY106" fmla="*/ 1490113 h 6622937"/>
              <a:gd name="connsiteX107" fmla="*/ 7396957 w 8636594"/>
              <a:gd name="connsiteY107" fmla="*/ 1406503 h 6622937"/>
              <a:gd name="connsiteX108" fmla="*/ 7454781 w 8636594"/>
              <a:gd name="connsiteY108" fmla="*/ 1323526 h 6622937"/>
              <a:gd name="connsiteX109" fmla="*/ 7513161 w 8636594"/>
              <a:gd name="connsiteY109" fmla="*/ 1241237 h 6622937"/>
              <a:gd name="connsiteX110" fmla="*/ 7572144 w 8636594"/>
              <a:gd name="connsiteY110" fmla="*/ 1159689 h 6622937"/>
              <a:gd name="connsiteX111" fmla="*/ 7601877 w 8636594"/>
              <a:gd name="connsiteY111" fmla="*/ 1119210 h 6622937"/>
              <a:gd name="connsiteX112" fmla="*/ 7631779 w 8636594"/>
              <a:gd name="connsiteY112" fmla="*/ 1078937 h 6622937"/>
              <a:gd name="connsiteX113" fmla="*/ 7661855 w 8636594"/>
              <a:gd name="connsiteY113" fmla="*/ 1038876 h 6622937"/>
              <a:gd name="connsiteX114" fmla="*/ 7692111 w 8636594"/>
              <a:gd name="connsiteY114" fmla="*/ 999035 h 6622937"/>
              <a:gd name="connsiteX115" fmla="*/ 7722554 w 8636594"/>
              <a:gd name="connsiteY115" fmla="*/ 959419 h 6622937"/>
              <a:gd name="connsiteX116" fmla="*/ 7753190 w 8636594"/>
              <a:gd name="connsiteY116" fmla="*/ 920037 h 6622937"/>
              <a:gd name="connsiteX117" fmla="*/ 7784023 w 8636594"/>
              <a:gd name="connsiteY117" fmla="*/ 880894 h 6622937"/>
              <a:gd name="connsiteX118" fmla="*/ 7815061 w 8636594"/>
              <a:gd name="connsiteY118" fmla="*/ 841997 h 6622937"/>
              <a:gd name="connsiteX119" fmla="*/ 7846308 w 8636594"/>
              <a:gd name="connsiteY119" fmla="*/ 803354 h 6622937"/>
              <a:gd name="connsiteX120" fmla="*/ 7877772 w 8636594"/>
              <a:gd name="connsiteY120" fmla="*/ 764970 h 6622937"/>
              <a:gd name="connsiteX121" fmla="*/ 7909458 w 8636594"/>
              <a:gd name="connsiteY121" fmla="*/ 726853 h 6622937"/>
              <a:gd name="connsiteX122" fmla="*/ 7941371 w 8636594"/>
              <a:gd name="connsiteY122" fmla="*/ 689010 h 6622937"/>
              <a:gd name="connsiteX123" fmla="*/ 7973518 w 8636594"/>
              <a:gd name="connsiteY123" fmla="*/ 651447 h 6622937"/>
              <a:gd name="connsiteX124" fmla="*/ 8005905 w 8636594"/>
              <a:gd name="connsiteY124" fmla="*/ 614171 h 6622937"/>
              <a:gd name="connsiteX125" fmla="*/ 8038538 w 8636594"/>
              <a:gd name="connsiteY125" fmla="*/ 577189 h 6622937"/>
              <a:gd name="connsiteX126" fmla="*/ 8071421 w 8636594"/>
              <a:gd name="connsiteY126" fmla="*/ 540507 h 6622937"/>
              <a:gd name="connsiteX127" fmla="*/ 8104563 w 8636594"/>
              <a:gd name="connsiteY127" fmla="*/ 504132 h 6622937"/>
              <a:gd name="connsiteX128" fmla="*/ 8137967 w 8636594"/>
              <a:gd name="connsiteY128" fmla="*/ 468072 h 6622937"/>
              <a:gd name="connsiteX129" fmla="*/ 8171641 w 8636594"/>
              <a:gd name="connsiteY129" fmla="*/ 432332 h 6622937"/>
              <a:gd name="connsiteX130" fmla="*/ 8205590 w 8636594"/>
              <a:gd name="connsiteY130" fmla="*/ 396920 h 6622937"/>
              <a:gd name="connsiteX131" fmla="*/ 8239820 w 8636594"/>
              <a:gd name="connsiteY131" fmla="*/ 361843 h 6622937"/>
              <a:gd name="connsiteX132" fmla="*/ 8274337 w 8636594"/>
              <a:gd name="connsiteY132" fmla="*/ 327107 h 6622937"/>
              <a:gd name="connsiteX133" fmla="*/ 8309147 w 8636594"/>
              <a:gd name="connsiteY133" fmla="*/ 292718 h 6622937"/>
              <a:gd name="connsiteX134" fmla="*/ 8344256 w 8636594"/>
              <a:gd name="connsiteY134" fmla="*/ 258685 h 6622937"/>
              <a:gd name="connsiteX135" fmla="*/ 8379669 w 8636594"/>
              <a:gd name="connsiteY135" fmla="*/ 225013 h 6622937"/>
              <a:gd name="connsiteX136" fmla="*/ 8415394 w 8636594"/>
              <a:gd name="connsiteY136" fmla="*/ 191709 h 6622937"/>
              <a:gd name="connsiteX137" fmla="*/ 8451434 w 8636594"/>
              <a:gd name="connsiteY137" fmla="*/ 158780 h 6622937"/>
              <a:gd name="connsiteX138" fmla="*/ 8487798 w 8636594"/>
              <a:gd name="connsiteY138" fmla="*/ 126233 h 6622937"/>
              <a:gd name="connsiteX139" fmla="*/ 8524489 w 8636594"/>
              <a:gd name="connsiteY139" fmla="*/ 94075 h 6622937"/>
              <a:gd name="connsiteX140" fmla="*/ 8561515 w 8636594"/>
              <a:gd name="connsiteY140" fmla="*/ 62312 h 6622937"/>
              <a:gd name="connsiteX141" fmla="*/ 8598881 w 8636594"/>
              <a:gd name="connsiteY141" fmla="*/ 30951 h 6622937"/>
              <a:gd name="connsiteX142" fmla="*/ 8636594 w 8636594"/>
              <a:gd name="connsiteY142"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066817 w 8636594"/>
              <a:gd name="connsiteY5" fmla="*/ 6622937 h 6622937"/>
              <a:gd name="connsiteX6" fmla="*/ 2126742 w 8636594"/>
              <a:gd name="connsiteY6" fmla="*/ 6612869 h 6622937"/>
              <a:gd name="connsiteX7" fmla="*/ 2185991 w 8636594"/>
              <a:gd name="connsiteY7" fmla="*/ 6602362 h 6622937"/>
              <a:gd name="connsiteX8" fmla="*/ 2244569 w 8636594"/>
              <a:gd name="connsiteY8" fmla="*/ 6591417 h 6622937"/>
              <a:gd name="connsiteX9" fmla="*/ 2302482 w 8636594"/>
              <a:gd name="connsiteY9" fmla="*/ 6580040 h 6622937"/>
              <a:gd name="connsiteX10" fmla="*/ 2359737 w 8636594"/>
              <a:gd name="connsiteY10" fmla="*/ 6568233 h 6622937"/>
              <a:gd name="connsiteX11" fmla="*/ 2416341 w 8636594"/>
              <a:gd name="connsiteY11" fmla="*/ 6555999 h 6622937"/>
              <a:gd name="connsiteX12" fmla="*/ 2472299 w 8636594"/>
              <a:gd name="connsiteY12" fmla="*/ 6543344 h 6622937"/>
              <a:gd name="connsiteX13" fmla="*/ 2527618 w 8636594"/>
              <a:gd name="connsiteY13" fmla="*/ 6530269 h 6622937"/>
              <a:gd name="connsiteX14" fmla="*/ 2582304 w 8636594"/>
              <a:gd name="connsiteY14" fmla="*/ 6516778 h 6622937"/>
              <a:gd name="connsiteX15" fmla="*/ 2636364 w 8636594"/>
              <a:gd name="connsiteY15" fmla="*/ 6502876 h 6622937"/>
              <a:gd name="connsiteX16" fmla="*/ 2689804 w 8636594"/>
              <a:gd name="connsiteY16" fmla="*/ 6488565 h 6622937"/>
              <a:gd name="connsiteX17" fmla="*/ 2742629 w 8636594"/>
              <a:gd name="connsiteY17" fmla="*/ 6473849 h 6622937"/>
              <a:gd name="connsiteX18" fmla="*/ 2794848 w 8636594"/>
              <a:gd name="connsiteY18" fmla="*/ 6458731 h 6622937"/>
              <a:gd name="connsiteX19" fmla="*/ 2846466 w 8636594"/>
              <a:gd name="connsiteY19" fmla="*/ 6443216 h 6622937"/>
              <a:gd name="connsiteX20" fmla="*/ 2897488 w 8636594"/>
              <a:gd name="connsiteY20" fmla="*/ 6427305 h 6622937"/>
              <a:gd name="connsiteX21" fmla="*/ 2947923 w 8636594"/>
              <a:gd name="connsiteY21" fmla="*/ 6411004 h 6622937"/>
              <a:gd name="connsiteX22" fmla="*/ 2997775 w 8636594"/>
              <a:gd name="connsiteY22" fmla="*/ 6394316 h 6622937"/>
              <a:gd name="connsiteX23" fmla="*/ 3047052 w 8636594"/>
              <a:gd name="connsiteY23" fmla="*/ 6377243 h 6622937"/>
              <a:gd name="connsiteX24" fmla="*/ 3095759 w 8636594"/>
              <a:gd name="connsiteY24" fmla="*/ 6359791 h 6622937"/>
              <a:gd name="connsiteX25" fmla="*/ 3143903 w 8636594"/>
              <a:gd name="connsiteY25" fmla="*/ 6341961 h 6622937"/>
              <a:gd name="connsiteX26" fmla="*/ 3191491 w 8636594"/>
              <a:gd name="connsiteY26" fmla="*/ 6323757 h 6622937"/>
              <a:gd name="connsiteX27" fmla="*/ 3238528 w 8636594"/>
              <a:gd name="connsiteY27" fmla="*/ 6305184 h 6622937"/>
              <a:gd name="connsiteX28" fmla="*/ 3285021 w 8636594"/>
              <a:gd name="connsiteY28" fmla="*/ 6286245 h 6622937"/>
              <a:gd name="connsiteX29" fmla="*/ 3330977 w 8636594"/>
              <a:gd name="connsiteY29" fmla="*/ 6266942 h 6622937"/>
              <a:gd name="connsiteX30" fmla="*/ 3376401 w 8636594"/>
              <a:gd name="connsiteY30" fmla="*/ 6247281 h 6622937"/>
              <a:gd name="connsiteX31" fmla="*/ 3421300 w 8636594"/>
              <a:gd name="connsiteY31" fmla="*/ 6227263 h 6622937"/>
              <a:gd name="connsiteX32" fmla="*/ 3465680 w 8636594"/>
              <a:gd name="connsiteY32" fmla="*/ 6206893 h 6622937"/>
              <a:gd name="connsiteX33" fmla="*/ 3509548 w 8636594"/>
              <a:gd name="connsiteY33" fmla="*/ 6186174 h 6622937"/>
              <a:gd name="connsiteX34" fmla="*/ 3552910 w 8636594"/>
              <a:gd name="connsiteY34" fmla="*/ 6165110 h 6622937"/>
              <a:gd name="connsiteX35" fmla="*/ 3595773 w 8636594"/>
              <a:gd name="connsiteY35" fmla="*/ 6143704 h 6622937"/>
              <a:gd name="connsiteX36" fmla="*/ 3638142 w 8636594"/>
              <a:gd name="connsiteY36" fmla="*/ 6121960 h 6622937"/>
              <a:gd name="connsiteX37" fmla="*/ 3680024 w 8636594"/>
              <a:gd name="connsiteY37" fmla="*/ 6099881 h 6622937"/>
              <a:gd name="connsiteX38" fmla="*/ 3721426 w 8636594"/>
              <a:gd name="connsiteY38" fmla="*/ 6077471 h 6622937"/>
              <a:gd name="connsiteX39" fmla="*/ 3762353 w 8636594"/>
              <a:gd name="connsiteY39" fmla="*/ 6054733 h 6622937"/>
              <a:gd name="connsiteX40" fmla="*/ 3802812 w 8636594"/>
              <a:gd name="connsiteY40" fmla="*/ 6031671 h 6622937"/>
              <a:gd name="connsiteX41" fmla="*/ 3842810 w 8636594"/>
              <a:gd name="connsiteY41" fmla="*/ 6008288 h 6622937"/>
              <a:gd name="connsiteX42" fmla="*/ 3882352 w 8636594"/>
              <a:gd name="connsiteY42" fmla="*/ 5984588 h 6622937"/>
              <a:gd name="connsiteX43" fmla="*/ 3921445 w 8636594"/>
              <a:gd name="connsiteY43" fmla="*/ 5960574 h 6622937"/>
              <a:gd name="connsiteX44" fmla="*/ 3960096 w 8636594"/>
              <a:gd name="connsiteY44" fmla="*/ 5936250 h 6622937"/>
              <a:gd name="connsiteX45" fmla="*/ 3998311 w 8636594"/>
              <a:gd name="connsiteY45" fmla="*/ 5911619 h 6622937"/>
              <a:gd name="connsiteX46" fmla="*/ 4036095 w 8636594"/>
              <a:gd name="connsiteY46" fmla="*/ 5886685 h 6622937"/>
              <a:gd name="connsiteX47" fmla="*/ 4073456 w 8636594"/>
              <a:gd name="connsiteY47" fmla="*/ 5861452 h 6622937"/>
              <a:gd name="connsiteX48" fmla="*/ 4110400 w 8636594"/>
              <a:gd name="connsiteY48" fmla="*/ 5835922 h 6622937"/>
              <a:gd name="connsiteX49" fmla="*/ 4146933 w 8636594"/>
              <a:gd name="connsiteY49" fmla="*/ 5810100 h 6622937"/>
              <a:gd name="connsiteX50" fmla="*/ 4183061 w 8636594"/>
              <a:gd name="connsiteY50" fmla="*/ 5783988 h 6622937"/>
              <a:gd name="connsiteX51" fmla="*/ 4218791 w 8636594"/>
              <a:gd name="connsiteY51" fmla="*/ 5757591 h 6622937"/>
              <a:gd name="connsiteX52" fmla="*/ 4254129 w 8636594"/>
              <a:gd name="connsiteY52" fmla="*/ 5730912 h 6622937"/>
              <a:gd name="connsiteX53" fmla="*/ 4289081 w 8636594"/>
              <a:gd name="connsiteY53" fmla="*/ 5703955 h 6622937"/>
              <a:gd name="connsiteX54" fmla="*/ 4323654 w 8636594"/>
              <a:gd name="connsiteY54" fmla="*/ 5676722 h 6622937"/>
              <a:gd name="connsiteX55" fmla="*/ 4357854 w 8636594"/>
              <a:gd name="connsiteY55" fmla="*/ 5649218 h 6622937"/>
              <a:gd name="connsiteX56" fmla="*/ 4391688 w 8636594"/>
              <a:gd name="connsiteY56" fmla="*/ 5621446 h 6622937"/>
              <a:gd name="connsiteX57" fmla="*/ 4425162 w 8636594"/>
              <a:gd name="connsiteY57" fmla="*/ 5593409 h 6622937"/>
              <a:gd name="connsiteX58" fmla="*/ 4458281 w 8636594"/>
              <a:gd name="connsiteY58" fmla="*/ 5565111 h 6622937"/>
              <a:gd name="connsiteX59" fmla="*/ 4491053 w 8636594"/>
              <a:gd name="connsiteY59" fmla="*/ 5536556 h 6622937"/>
              <a:gd name="connsiteX60" fmla="*/ 4523484 w 8636594"/>
              <a:gd name="connsiteY60" fmla="*/ 5507747 h 6622937"/>
              <a:gd name="connsiteX61" fmla="*/ 4555580 w 8636594"/>
              <a:gd name="connsiteY61" fmla="*/ 5478687 h 6622937"/>
              <a:gd name="connsiteX62" fmla="*/ 4587347 w 8636594"/>
              <a:gd name="connsiteY62" fmla="*/ 5449380 h 6622937"/>
              <a:gd name="connsiteX63" fmla="*/ 4618793 w 8636594"/>
              <a:gd name="connsiteY63" fmla="*/ 5419830 h 6622937"/>
              <a:gd name="connsiteX64" fmla="*/ 4649922 w 8636594"/>
              <a:gd name="connsiteY64" fmla="*/ 5390040 h 6622937"/>
              <a:gd name="connsiteX65" fmla="*/ 4680742 w 8636594"/>
              <a:gd name="connsiteY65" fmla="*/ 5360014 h 6622937"/>
              <a:gd name="connsiteX66" fmla="*/ 4711259 w 8636594"/>
              <a:gd name="connsiteY66" fmla="*/ 5329755 h 6622937"/>
              <a:gd name="connsiteX67" fmla="*/ 4741478 w 8636594"/>
              <a:gd name="connsiteY67" fmla="*/ 5299266 h 6622937"/>
              <a:gd name="connsiteX68" fmla="*/ 4771408 w 8636594"/>
              <a:gd name="connsiteY68" fmla="*/ 5268551 h 6622937"/>
              <a:gd name="connsiteX69" fmla="*/ 4801053 w 8636594"/>
              <a:gd name="connsiteY69" fmla="*/ 5237614 h 6622937"/>
              <a:gd name="connsiteX70" fmla="*/ 4830420 w 8636594"/>
              <a:gd name="connsiteY70" fmla="*/ 5206458 h 6622937"/>
              <a:gd name="connsiteX71" fmla="*/ 4859516 w 8636594"/>
              <a:gd name="connsiteY71" fmla="*/ 5175087 h 6622937"/>
              <a:gd name="connsiteX72" fmla="*/ 4888347 w 8636594"/>
              <a:gd name="connsiteY72" fmla="*/ 5143504 h 6622937"/>
              <a:gd name="connsiteX73" fmla="*/ 4916919 w 8636594"/>
              <a:gd name="connsiteY73" fmla="*/ 5111713 h 6622937"/>
              <a:gd name="connsiteX74" fmla="*/ 4945238 w 8636594"/>
              <a:gd name="connsiteY74" fmla="*/ 5079717 h 6622937"/>
              <a:gd name="connsiteX75" fmla="*/ 4973311 w 8636594"/>
              <a:gd name="connsiteY75" fmla="*/ 5047519 h 6622937"/>
              <a:gd name="connsiteX76" fmla="*/ 5001145 w 8636594"/>
              <a:gd name="connsiteY76" fmla="*/ 5015124 h 6622937"/>
              <a:gd name="connsiteX77" fmla="*/ 5028745 w 8636594"/>
              <a:gd name="connsiteY77" fmla="*/ 4982535 h 6622937"/>
              <a:gd name="connsiteX78" fmla="*/ 5056117 w 8636594"/>
              <a:gd name="connsiteY78" fmla="*/ 4949755 h 6622937"/>
              <a:gd name="connsiteX79" fmla="*/ 5083269 w 8636594"/>
              <a:gd name="connsiteY79" fmla="*/ 4916787 h 6622937"/>
              <a:gd name="connsiteX80" fmla="*/ 5110207 w 8636594"/>
              <a:gd name="connsiteY80" fmla="*/ 4883636 h 6622937"/>
              <a:gd name="connsiteX81" fmla="*/ 5136937 w 8636594"/>
              <a:gd name="connsiteY81" fmla="*/ 4850305 h 6622937"/>
              <a:gd name="connsiteX82" fmla="*/ 5163464 w 8636594"/>
              <a:gd name="connsiteY82" fmla="*/ 4816797 h 6622937"/>
              <a:gd name="connsiteX83" fmla="*/ 5215940 w 8636594"/>
              <a:gd name="connsiteY83" fmla="*/ 4749265 h 6622937"/>
              <a:gd name="connsiteX84" fmla="*/ 5267684 w 8636594"/>
              <a:gd name="connsiteY84" fmla="*/ 4681068 h 6622937"/>
              <a:gd name="connsiteX85" fmla="*/ 5318748 w 8636594"/>
              <a:gd name="connsiteY85" fmla="*/ 4612234 h 6622937"/>
              <a:gd name="connsiteX86" fmla="*/ 5369182 w 8636594"/>
              <a:gd name="connsiteY86" fmla="*/ 4542793 h 6622937"/>
              <a:gd name="connsiteX87" fmla="*/ 5419038 w 8636594"/>
              <a:gd name="connsiteY87" fmla="*/ 4472771 h 6622937"/>
              <a:gd name="connsiteX88" fmla="*/ 5468365 w 8636594"/>
              <a:gd name="connsiteY88" fmla="*/ 4402196 h 6622937"/>
              <a:gd name="connsiteX89" fmla="*/ 5517215 w 8636594"/>
              <a:gd name="connsiteY89" fmla="*/ 4331098 h 6622937"/>
              <a:gd name="connsiteX90" fmla="*/ 5565637 w 8636594"/>
              <a:gd name="connsiteY90" fmla="*/ 4259503 h 6622937"/>
              <a:gd name="connsiteX91" fmla="*/ 5613684 w 8636594"/>
              <a:gd name="connsiteY91" fmla="*/ 4187441 h 6622937"/>
              <a:gd name="connsiteX92" fmla="*/ 5685160 w 8636594"/>
              <a:gd name="connsiteY92" fmla="*/ 4078531 h 6622937"/>
              <a:gd name="connsiteX93" fmla="*/ 5756074 w 8636594"/>
              <a:gd name="connsiteY93" fmla="*/ 3968727 h 6622937"/>
              <a:gd name="connsiteX94" fmla="*/ 5873483 w 8636594"/>
              <a:gd name="connsiteY94" fmla="*/ 3783989 h 6622937"/>
              <a:gd name="connsiteX95" fmla="*/ 6203209 w 8636594"/>
              <a:gd name="connsiteY95" fmla="*/ 3258640 h 6622937"/>
              <a:gd name="connsiteX96" fmla="*/ 6299430 w 8636594"/>
              <a:gd name="connsiteY96" fmla="*/ 3107321 h 6622937"/>
              <a:gd name="connsiteX97" fmla="*/ 6372650 w 8636594"/>
              <a:gd name="connsiteY97" fmla="*/ 2993735 h 6622937"/>
              <a:gd name="connsiteX98" fmla="*/ 6453197 w 8636594"/>
              <a:gd name="connsiteY98" fmla="*/ 2869788 h 6622937"/>
              <a:gd name="connsiteX99" fmla="*/ 6564167 w 8636594"/>
              <a:gd name="connsiteY99" fmla="*/ 2696807 h 6622937"/>
              <a:gd name="connsiteX100" fmla="*/ 6976233 w 8636594"/>
              <a:gd name="connsiteY100" fmla="*/ 2045274 h 6622937"/>
              <a:gd name="connsiteX101" fmla="*/ 7086755 w 8636594"/>
              <a:gd name="connsiteY101" fmla="*/ 1872743 h 6622937"/>
              <a:gd name="connsiteX102" fmla="*/ 7170279 w 8636594"/>
              <a:gd name="connsiteY102" fmla="*/ 1744202 h 6622937"/>
              <a:gd name="connsiteX103" fmla="*/ 7226351 w 8636594"/>
              <a:gd name="connsiteY103" fmla="*/ 1659017 h 6622937"/>
              <a:gd name="connsiteX104" fmla="*/ 7282789 w 8636594"/>
              <a:gd name="connsiteY104" fmla="*/ 1574303 h 6622937"/>
              <a:gd name="connsiteX105" fmla="*/ 7339643 w 8636594"/>
              <a:gd name="connsiteY105" fmla="*/ 1490113 h 6622937"/>
              <a:gd name="connsiteX106" fmla="*/ 7396957 w 8636594"/>
              <a:gd name="connsiteY106" fmla="*/ 1406503 h 6622937"/>
              <a:gd name="connsiteX107" fmla="*/ 7454781 w 8636594"/>
              <a:gd name="connsiteY107" fmla="*/ 1323526 h 6622937"/>
              <a:gd name="connsiteX108" fmla="*/ 7513161 w 8636594"/>
              <a:gd name="connsiteY108" fmla="*/ 1241237 h 6622937"/>
              <a:gd name="connsiteX109" fmla="*/ 7572144 w 8636594"/>
              <a:gd name="connsiteY109" fmla="*/ 1159689 h 6622937"/>
              <a:gd name="connsiteX110" fmla="*/ 7601877 w 8636594"/>
              <a:gd name="connsiteY110" fmla="*/ 1119210 h 6622937"/>
              <a:gd name="connsiteX111" fmla="*/ 7631779 w 8636594"/>
              <a:gd name="connsiteY111" fmla="*/ 1078937 h 6622937"/>
              <a:gd name="connsiteX112" fmla="*/ 7661855 w 8636594"/>
              <a:gd name="connsiteY112" fmla="*/ 1038876 h 6622937"/>
              <a:gd name="connsiteX113" fmla="*/ 7692111 w 8636594"/>
              <a:gd name="connsiteY113" fmla="*/ 999035 h 6622937"/>
              <a:gd name="connsiteX114" fmla="*/ 7722554 w 8636594"/>
              <a:gd name="connsiteY114" fmla="*/ 959419 h 6622937"/>
              <a:gd name="connsiteX115" fmla="*/ 7753190 w 8636594"/>
              <a:gd name="connsiteY115" fmla="*/ 920037 h 6622937"/>
              <a:gd name="connsiteX116" fmla="*/ 7784023 w 8636594"/>
              <a:gd name="connsiteY116" fmla="*/ 880894 h 6622937"/>
              <a:gd name="connsiteX117" fmla="*/ 7815061 w 8636594"/>
              <a:gd name="connsiteY117" fmla="*/ 841997 h 6622937"/>
              <a:gd name="connsiteX118" fmla="*/ 7846308 w 8636594"/>
              <a:gd name="connsiteY118" fmla="*/ 803354 h 6622937"/>
              <a:gd name="connsiteX119" fmla="*/ 7877772 w 8636594"/>
              <a:gd name="connsiteY119" fmla="*/ 764970 h 6622937"/>
              <a:gd name="connsiteX120" fmla="*/ 7909458 w 8636594"/>
              <a:gd name="connsiteY120" fmla="*/ 726853 h 6622937"/>
              <a:gd name="connsiteX121" fmla="*/ 7941371 w 8636594"/>
              <a:gd name="connsiteY121" fmla="*/ 689010 h 6622937"/>
              <a:gd name="connsiteX122" fmla="*/ 7973518 w 8636594"/>
              <a:gd name="connsiteY122" fmla="*/ 651447 h 6622937"/>
              <a:gd name="connsiteX123" fmla="*/ 8005905 w 8636594"/>
              <a:gd name="connsiteY123" fmla="*/ 614171 h 6622937"/>
              <a:gd name="connsiteX124" fmla="*/ 8038538 w 8636594"/>
              <a:gd name="connsiteY124" fmla="*/ 577189 h 6622937"/>
              <a:gd name="connsiteX125" fmla="*/ 8071421 w 8636594"/>
              <a:gd name="connsiteY125" fmla="*/ 540507 h 6622937"/>
              <a:gd name="connsiteX126" fmla="*/ 8104563 w 8636594"/>
              <a:gd name="connsiteY126" fmla="*/ 504132 h 6622937"/>
              <a:gd name="connsiteX127" fmla="*/ 8137967 w 8636594"/>
              <a:gd name="connsiteY127" fmla="*/ 468072 h 6622937"/>
              <a:gd name="connsiteX128" fmla="*/ 8171641 w 8636594"/>
              <a:gd name="connsiteY128" fmla="*/ 432332 h 6622937"/>
              <a:gd name="connsiteX129" fmla="*/ 8205590 w 8636594"/>
              <a:gd name="connsiteY129" fmla="*/ 396920 h 6622937"/>
              <a:gd name="connsiteX130" fmla="*/ 8239820 w 8636594"/>
              <a:gd name="connsiteY130" fmla="*/ 361843 h 6622937"/>
              <a:gd name="connsiteX131" fmla="*/ 8274337 w 8636594"/>
              <a:gd name="connsiteY131" fmla="*/ 327107 h 6622937"/>
              <a:gd name="connsiteX132" fmla="*/ 8309147 w 8636594"/>
              <a:gd name="connsiteY132" fmla="*/ 292718 h 6622937"/>
              <a:gd name="connsiteX133" fmla="*/ 8344256 w 8636594"/>
              <a:gd name="connsiteY133" fmla="*/ 258685 h 6622937"/>
              <a:gd name="connsiteX134" fmla="*/ 8379669 w 8636594"/>
              <a:gd name="connsiteY134" fmla="*/ 225013 h 6622937"/>
              <a:gd name="connsiteX135" fmla="*/ 8415394 w 8636594"/>
              <a:gd name="connsiteY135" fmla="*/ 191709 h 6622937"/>
              <a:gd name="connsiteX136" fmla="*/ 8451434 w 8636594"/>
              <a:gd name="connsiteY136" fmla="*/ 158780 h 6622937"/>
              <a:gd name="connsiteX137" fmla="*/ 8487798 w 8636594"/>
              <a:gd name="connsiteY137" fmla="*/ 126233 h 6622937"/>
              <a:gd name="connsiteX138" fmla="*/ 8524489 w 8636594"/>
              <a:gd name="connsiteY138" fmla="*/ 94075 h 6622937"/>
              <a:gd name="connsiteX139" fmla="*/ 8561515 w 8636594"/>
              <a:gd name="connsiteY139" fmla="*/ 62312 h 6622937"/>
              <a:gd name="connsiteX140" fmla="*/ 8598881 w 8636594"/>
              <a:gd name="connsiteY140" fmla="*/ 30951 h 6622937"/>
              <a:gd name="connsiteX141" fmla="*/ 8636594 w 8636594"/>
              <a:gd name="connsiteY141" fmla="*/ 0 h 6622937"/>
              <a:gd name="connsiteX0" fmla="*/ 8636594 w 8636594"/>
              <a:gd name="connsiteY0" fmla="*/ 0 h 6612869"/>
              <a:gd name="connsiteX1" fmla="*/ 5293 w 8636594"/>
              <a:gd name="connsiteY1" fmla="*/ 0 h 6612869"/>
              <a:gd name="connsiteX2" fmla="*/ 0 w 8636594"/>
              <a:gd name="connsiteY2" fmla="*/ 5587843 h 6612869"/>
              <a:gd name="connsiteX3" fmla="*/ 1594033 w 8636594"/>
              <a:gd name="connsiteY3" fmla="*/ 5600057 h 6612869"/>
              <a:gd name="connsiteX4" fmla="*/ 1686068 w 8636594"/>
              <a:gd name="connsiteY4" fmla="*/ 5599745 h 6612869"/>
              <a:gd name="connsiteX5" fmla="*/ 2126742 w 8636594"/>
              <a:gd name="connsiteY5" fmla="*/ 6612869 h 6612869"/>
              <a:gd name="connsiteX6" fmla="*/ 2185991 w 8636594"/>
              <a:gd name="connsiteY6" fmla="*/ 6602362 h 6612869"/>
              <a:gd name="connsiteX7" fmla="*/ 2244569 w 8636594"/>
              <a:gd name="connsiteY7" fmla="*/ 6591417 h 6612869"/>
              <a:gd name="connsiteX8" fmla="*/ 2302482 w 8636594"/>
              <a:gd name="connsiteY8" fmla="*/ 6580040 h 6612869"/>
              <a:gd name="connsiteX9" fmla="*/ 2359737 w 8636594"/>
              <a:gd name="connsiteY9" fmla="*/ 6568233 h 6612869"/>
              <a:gd name="connsiteX10" fmla="*/ 2416341 w 8636594"/>
              <a:gd name="connsiteY10" fmla="*/ 6555999 h 6612869"/>
              <a:gd name="connsiteX11" fmla="*/ 2472299 w 8636594"/>
              <a:gd name="connsiteY11" fmla="*/ 6543344 h 6612869"/>
              <a:gd name="connsiteX12" fmla="*/ 2527618 w 8636594"/>
              <a:gd name="connsiteY12" fmla="*/ 6530269 h 6612869"/>
              <a:gd name="connsiteX13" fmla="*/ 2582304 w 8636594"/>
              <a:gd name="connsiteY13" fmla="*/ 6516778 h 6612869"/>
              <a:gd name="connsiteX14" fmla="*/ 2636364 w 8636594"/>
              <a:gd name="connsiteY14" fmla="*/ 6502876 h 6612869"/>
              <a:gd name="connsiteX15" fmla="*/ 2689804 w 8636594"/>
              <a:gd name="connsiteY15" fmla="*/ 6488565 h 6612869"/>
              <a:gd name="connsiteX16" fmla="*/ 2742629 w 8636594"/>
              <a:gd name="connsiteY16" fmla="*/ 6473849 h 6612869"/>
              <a:gd name="connsiteX17" fmla="*/ 2794848 w 8636594"/>
              <a:gd name="connsiteY17" fmla="*/ 6458731 h 6612869"/>
              <a:gd name="connsiteX18" fmla="*/ 2846466 w 8636594"/>
              <a:gd name="connsiteY18" fmla="*/ 6443216 h 6612869"/>
              <a:gd name="connsiteX19" fmla="*/ 2897488 w 8636594"/>
              <a:gd name="connsiteY19" fmla="*/ 6427305 h 6612869"/>
              <a:gd name="connsiteX20" fmla="*/ 2947923 w 8636594"/>
              <a:gd name="connsiteY20" fmla="*/ 6411004 h 6612869"/>
              <a:gd name="connsiteX21" fmla="*/ 2997775 w 8636594"/>
              <a:gd name="connsiteY21" fmla="*/ 6394316 h 6612869"/>
              <a:gd name="connsiteX22" fmla="*/ 3047052 w 8636594"/>
              <a:gd name="connsiteY22" fmla="*/ 6377243 h 6612869"/>
              <a:gd name="connsiteX23" fmla="*/ 3095759 w 8636594"/>
              <a:gd name="connsiteY23" fmla="*/ 6359791 h 6612869"/>
              <a:gd name="connsiteX24" fmla="*/ 3143903 w 8636594"/>
              <a:gd name="connsiteY24" fmla="*/ 6341961 h 6612869"/>
              <a:gd name="connsiteX25" fmla="*/ 3191491 w 8636594"/>
              <a:gd name="connsiteY25" fmla="*/ 6323757 h 6612869"/>
              <a:gd name="connsiteX26" fmla="*/ 3238528 w 8636594"/>
              <a:gd name="connsiteY26" fmla="*/ 6305184 h 6612869"/>
              <a:gd name="connsiteX27" fmla="*/ 3285021 w 8636594"/>
              <a:gd name="connsiteY27" fmla="*/ 6286245 h 6612869"/>
              <a:gd name="connsiteX28" fmla="*/ 3330977 w 8636594"/>
              <a:gd name="connsiteY28" fmla="*/ 6266942 h 6612869"/>
              <a:gd name="connsiteX29" fmla="*/ 3376401 w 8636594"/>
              <a:gd name="connsiteY29" fmla="*/ 6247281 h 6612869"/>
              <a:gd name="connsiteX30" fmla="*/ 3421300 w 8636594"/>
              <a:gd name="connsiteY30" fmla="*/ 6227263 h 6612869"/>
              <a:gd name="connsiteX31" fmla="*/ 3465680 w 8636594"/>
              <a:gd name="connsiteY31" fmla="*/ 6206893 h 6612869"/>
              <a:gd name="connsiteX32" fmla="*/ 3509548 w 8636594"/>
              <a:gd name="connsiteY32" fmla="*/ 6186174 h 6612869"/>
              <a:gd name="connsiteX33" fmla="*/ 3552910 w 8636594"/>
              <a:gd name="connsiteY33" fmla="*/ 6165110 h 6612869"/>
              <a:gd name="connsiteX34" fmla="*/ 3595773 w 8636594"/>
              <a:gd name="connsiteY34" fmla="*/ 6143704 h 6612869"/>
              <a:gd name="connsiteX35" fmla="*/ 3638142 w 8636594"/>
              <a:gd name="connsiteY35" fmla="*/ 6121960 h 6612869"/>
              <a:gd name="connsiteX36" fmla="*/ 3680024 w 8636594"/>
              <a:gd name="connsiteY36" fmla="*/ 6099881 h 6612869"/>
              <a:gd name="connsiteX37" fmla="*/ 3721426 w 8636594"/>
              <a:gd name="connsiteY37" fmla="*/ 6077471 h 6612869"/>
              <a:gd name="connsiteX38" fmla="*/ 3762353 w 8636594"/>
              <a:gd name="connsiteY38" fmla="*/ 6054733 h 6612869"/>
              <a:gd name="connsiteX39" fmla="*/ 3802812 w 8636594"/>
              <a:gd name="connsiteY39" fmla="*/ 6031671 h 6612869"/>
              <a:gd name="connsiteX40" fmla="*/ 3842810 w 8636594"/>
              <a:gd name="connsiteY40" fmla="*/ 6008288 h 6612869"/>
              <a:gd name="connsiteX41" fmla="*/ 3882352 w 8636594"/>
              <a:gd name="connsiteY41" fmla="*/ 5984588 h 6612869"/>
              <a:gd name="connsiteX42" fmla="*/ 3921445 w 8636594"/>
              <a:gd name="connsiteY42" fmla="*/ 5960574 h 6612869"/>
              <a:gd name="connsiteX43" fmla="*/ 3960096 w 8636594"/>
              <a:gd name="connsiteY43" fmla="*/ 5936250 h 6612869"/>
              <a:gd name="connsiteX44" fmla="*/ 3998311 w 8636594"/>
              <a:gd name="connsiteY44" fmla="*/ 5911619 h 6612869"/>
              <a:gd name="connsiteX45" fmla="*/ 4036095 w 8636594"/>
              <a:gd name="connsiteY45" fmla="*/ 5886685 h 6612869"/>
              <a:gd name="connsiteX46" fmla="*/ 4073456 w 8636594"/>
              <a:gd name="connsiteY46" fmla="*/ 5861452 h 6612869"/>
              <a:gd name="connsiteX47" fmla="*/ 4110400 w 8636594"/>
              <a:gd name="connsiteY47" fmla="*/ 5835922 h 6612869"/>
              <a:gd name="connsiteX48" fmla="*/ 4146933 w 8636594"/>
              <a:gd name="connsiteY48" fmla="*/ 5810100 h 6612869"/>
              <a:gd name="connsiteX49" fmla="*/ 4183061 w 8636594"/>
              <a:gd name="connsiteY49" fmla="*/ 5783988 h 6612869"/>
              <a:gd name="connsiteX50" fmla="*/ 4218791 w 8636594"/>
              <a:gd name="connsiteY50" fmla="*/ 5757591 h 6612869"/>
              <a:gd name="connsiteX51" fmla="*/ 4254129 w 8636594"/>
              <a:gd name="connsiteY51" fmla="*/ 5730912 h 6612869"/>
              <a:gd name="connsiteX52" fmla="*/ 4289081 w 8636594"/>
              <a:gd name="connsiteY52" fmla="*/ 5703955 h 6612869"/>
              <a:gd name="connsiteX53" fmla="*/ 4323654 w 8636594"/>
              <a:gd name="connsiteY53" fmla="*/ 5676722 h 6612869"/>
              <a:gd name="connsiteX54" fmla="*/ 4357854 w 8636594"/>
              <a:gd name="connsiteY54" fmla="*/ 5649218 h 6612869"/>
              <a:gd name="connsiteX55" fmla="*/ 4391688 w 8636594"/>
              <a:gd name="connsiteY55" fmla="*/ 5621446 h 6612869"/>
              <a:gd name="connsiteX56" fmla="*/ 4425162 w 8636594"/>
              <a:gd name="connsiteY56" fmla="*/ 5593409 h 6612869"/>
              <a:gd name="connsiteX57" fmla="*/ 4458281 w 8636594"/>
              <a:gd name="connsiteY57" fmla="*/ 5565111 h 6612869"/>
              <a:gd name="connsiteX58" fmla="*/ 4491053 w 8636594"/>
              <a:gd name="connsiteY58" fmla="*/ 5536556 h 6612869"/>
              <a:gd name="connsiteX59" fmla="*/ 4523484 w 8636594"/>
              <a:gd name="connsiteY59" fmla="*/ 5507747 h 6612869"/>
              <a:gd name="connsiteX60" fmla="*/ 4555580 w 8636594"/>
              <a:gd name="connsiteY60" fmla="*/ 5478687 h 6612869"/>
              <a:gd name="connsiteX61" fmla="*/ 4587347 w 8636594"/>
              <a:gd name="connsiteY61" fmla="*/ 5449380 h 6612869"/>
              <a:gd name="connsiteX62" fmla="*/ 4618793 w 8636594"/>
              <a:gd name="connsiteY62" fmla="*/ 5419830 h 6612869"/>
              <a:gd name="connsiteX63" fmla="*/ 4649922 w 8636594"/>
              <a:gd name="connsiteY63" fmla="*/ 5390040 h 6612869"/>
              <a:gd name="connsiteX64" fmla="*/ 4680742 w 8636594"/>
              <a:gd name="connsiteY64" fmla="*/ 5360014 h 6612869"/>
              <a:gd name="connsiteX65" fmla="*/ 4711259 w 8636594"/>
              <a:gd name="connsiteY65" fmla="*/ 5329755 h 6612869"/>
              <a:gd name="connsiteX66" fmla="*/ 4741478 w 8636594"/>
              <a:gd name="connsiteY66" fmla="*/ 5299266 h 6612869"/>
              <a:gd name="connsiteX67" fmla="*/ 4771408 w 8636594"/>
              <a:gd name="connsiteY67" fmla="*/ 5268551 h 6612869"/>
              <a:gd name="connsiteX68" fmla="*/ 4801053 w 8636594"/>
              <a:gd name="connsiteY68" fmla="*/ 5237614 h 6612869"/>
              <a:gd name="connsiteX69" fmla="*/ 4830420 w 8636594"/>
              <a:gd name="connsiteY69" fmla="*/ 5206458 h 6612869"/>
              <a:gd name="connsiteX70" fmla="*/ 4859516 w 8636594"/>
              <a:gd name="connsiteY70" fmla="*/ 5175087 h 6612869"/>
              <a:gd name="connsiteX71" fmla="*/ 4888347 w 8636594"/>
              <a:gd name="connsiteY71" fmla="*/ 5143504 h 6612869"/>
              <a:gd name="connsiteX72" fmla="*/ 4916919 w 8636594"/>
              <a:gd name="connsiteY72" fmla="*/ 5111713 h 6612869"/>
              <a:gd name="connsiteX73" fmla="*/ 4945238 w 8636594"/>
              <a:gd name="connsiteY73" fmla="*/ 5079717 h 6612869"/>
              <a:gd name="connsiteX74" fmla="*/ 4973311 w 8636594"/>
              <a:gd name="connsiteY74" fmla="*/ 5047519 h 6612869"/>
              <a:gd name="connsiteX75" fmla="*/ 5001145 w 8636594"/>
              <a:gd name="connsiteY75" fmla="*/ 5015124 h 6612869"/>
              <a:gd name="connsiteX76" fmla="*/ 5028745 w 8636594"/>
              <a:gd name="connsiteY76" fmla="*/ 4982535 h 6612869"/>
              <a:gd name="connsiteX77" fmla="*/ 5056117 w 8636594"/>
              <a:gd name="connsiteY77" fmla="*/ 4949755 h 6612869"/>
              <a:gd name="connsiteX78" fmla="*/ 5083269 w 8636594"/>
              <a:gd name="connsiteY78" fmla="*/ 4916787 h 6612869"/>
              <a:gd name="connsiteX79" fmla="*/ 5110207 w 8636594"/>
              <a:gd name="connsiteY79" fmla="*/ 4883636 h 6612869"/>
              <a:gd name="connsiteX80" fmla="*/ 5136937 w 8636594"/>
              <a:gd name="connsiteY80" fmla="*/ 4850305 h 6612869"/>
              <a:gd name="connsiteX81" fmla="*/ 5163464 w 8636594"/>
              <a:gd name="connsiteY81" fmla="*/ 4816797 h 6612869"/>
              <a:gd name="connsiteX82" fmla="*/ 5215940 w 8636594"/>
              <a:gd name="connsiteY82" fmla="*/ 4749265 h 6612869"/>
              <a:gd name="connsiteX83" fmla="*/ 5267684 w 8636594"/>
              <a:gd name="connsiteY83" fmla="*/ 4681068 h 6612869"/>
              <a:gd name="connsiteX84" fmla="*/ 5318748 w 8636594"/>
              <a:gd name="connsiteY84" fmla="*/ 4612234 h 6612869"/>
              <a:gd name="connsiteX85" fmla="*/ 5369182 w 8636594"/>
              <a:gd name="connsiteY85" fmla="*/ 4542793 h 6612869"/>
              <a:gd name="connsiteX86" fmla="*/ 5419038 w 8636594"/>
              <a:gd name="connsiteY86" fmla="*/ 4472771 h 6612869"/>
              <a:gd name="connsiteX87" fmla="*/ 5468365 w 8636594"/>
              <a:gd name="connsiteY87" fmla="*/ 4402196 h 6612869"/>
              <a:gd name="connsiteX88" fmla="*/ 5517215 w 8636594"/>
              <a:gd name="connsiteY88" fmla="*/ 4331098 h 6612869"/>
              <a:gd name="connsiteX89" fmla="*/ 5565637 w 8636594"/>
              <a:gd name="connsiteY89" fmla="*/ 4259503 h 6612869"/>
              <a:gd name="connsiteX90" fmla="*/ 5613684 w 8636594"/>
              <a:gd name="connsiteY90" fmla="*/ 4187441 h 6612869"/>
              <a:gd name="connsiteX91" fmla="*/ 5685160 w 8636594"/>
              <a:gd name="connsiteY91" fmla="*/ 4078531 h 6612869"/>
              <a:gd name="connsiteX92" fmla="*/ 5756074 w 8636594"/>
              <a:gd name="connsiteY92" fmla="*/ 3968727 h 6612869"/>
              <a:gd name="connsiteX93" fmla="*/ 5873483 w 8636594"/>
              <a:gd name="connsiteY93" fmla="*/ 3783989 h 6612869"/>
              <a:gd name="connsiteX94" fmla="*/ 6203209 w 8636594"/>
              <a:gd name="connsiteY94" fmla="*/ 3258640 h 6612869"/>
              <a:gd name="connsiteX95" fmla="*/ 6299430 w 8636594"/>
              <a:gd name="connsiteY95" fmla="*/ 3107321 h 6612869"/>
              <a:gd name="connsiteX96" fmla="*/ 6372650 w 8636594"/>
              <a:gd name="connsiteY96" fmla="*/ 2993735 h 6612869"/>
              <a:gd name="connsiteX97" fmla="*/ 6453197 w 8636594"/>
              <a:gd name="connsiteY97" fmla="*/ 2869788 h 6612869"/>
              <a:gd name="connsiteX98" fmla="*/ 6564167 w 8636594"/>
              <a:gd name="connsiteY98" fmla="*/ 2696807 h 6612869"/>
              <a:gd name="connsiteX99" fmla="*/ 6976233 w 8636594"/>
              <a:gd name="connsiteY99" fmla="*/ 2045274 h 6612869"/>
              <a:gd name="connsiteX100" fmla="*/ 7086755 w 8636594"/>
              <a:gd name="connsiteY100" fmla="*/ 1872743 h 6612869"/>
              <a:gd name="connsiteX101" fmla="*/ 7170279 w 8636594"/>
              <a:gd name="connsiteY101" fmla="*/ 1744202 h 6612869"/>
              <a:gd name="connsiteX102" fmla="*/ 7226351 w 8636594"/>
              <a:gd name="connsiteY102" fmla="*/ 1659017 h 6612869"/>
              <a:gd name="connsiteX103" fmla="*/ 7282789 w 8636594"/>
              <a:gd name="connsiteY103" fmla="*/ 1574303 h 6612869"/>
              <a:gd name="connsiteX104" fmla="*/ 7339643 w 8636594"/>
              <a:gd name="connsiteY104" fmla="*/ 1490113 h 6612869"/>
              <a:gd name="connsiteX105" fmla="*/ 7396957 w 8636594"/>
              <a:gd name="connsiteY105" fmla="*/ 1406503 h 6612869"/>
              <a:gd name="connsiteX106" fmla="*/ 7454781 w 8636594"/>
              <a:gd name="connsiteY106" fmla="*/ 1323526 h 6612869"/>
              <a:gd name="connsiteX107" fmla="*/ 7513161 w 8636594"/>
              <a:gd name="connsiteY107" fmla="*/ 1241237 h 6612869"/>
              <a:gd name="connsiteX108" fmla="*/ 7572144 w 8636594"/>
              <a:gd name="connsiteY108" fmla="*/ 1159689 h 6612869"/>
              <a:gd name="connsiteX109" fmla="*/ 7601877 w 8636594"/>
              <a:gd name="connsiteY109" fmla="*/ 1119210 h 6612869"/>
              <a:gd name="connsiteX110" fmla="*/ 7631779 w 8636594"/>
              <a:gd name="connsiteY110" fmla="*/ 1078937 h 6612869"/>
              <a:gd name="connsiteX111" fmla="*/ 7661855 w 8636594"/>
              <a:gd name="connsiteY111" fmla="*/ 1038876 h 6612869"/>
              <a:gd name="connsiteX112" fmla="*/ 7692111 w 8636594"/>
              <a:gd name="connsiteY112" fmla="*/ 999035 h 6612869"/>
              <a:gd name="connsiteX113" fmla="*/ 7722554 w 8636594"/>
              <a:gd name="connsiteY113" fmla="*/ 959419 h 6612869"/>
              <a:gd name="connsiteX114" fmla="*/ 7753190 w 8636594"/>
              <a:gd name="connsiteY114" fmla="*/ 920037 h 6612869"/>
              <a:gd name="connsiteX115" fmla="*/ 7784023 w 8636594"/>
              <a:gd name="connsiteY115" fmla="*/ 880894 h 6612869"/>
              <a:gd name="connsiteX116" fmla="*/ 7815061 w 8636594"/>
              <a:gd name="connsiteY116" fmla="*/ 841997 h 6612869"/>
              <a:gd name="connsiteX117" fmla="*/ 7846308 w 8636594"/>
              <a:gd name="connsiteY117" fmla="*/ 803354 h 6612869"/>
              <a:gd name="connsiteX118" fmla="*/ 7877772 w 8636594"/>
              <a:gd name="connsiteY118" fmla="*/ 764970 h 6612869"/>
              <a:gd name="connsiteX119" fmla="*/ 7909458 w 8636594"/>
              <a:gd name="connsiteY119" fmla="*/ 726853 h 6612869"/>
              <a:gd name="connsiteX120" fmla="*/ 7941371 w 8636594"/>
              <a:gd name="connsiteY120" fmla="*/ 689010 h 6612869"/>
              <a:gd name="connsiteX121" fmla="*/ 7973518 w 8636594"/>
              <a:gd name="connsiteY121" fmla="*/ 651447 h 6612869"/>
              <a:gd name="connsiteX122" fmla="*/ 8005905 w 8636594"/>
              <a:gd name="connsiteY122" fmla="*/ 614171 h 6612869"/>
              <a:gd name="connsiteX123" fmla="*/ 8038538 w 8636594"/>
              <a:gd name="connsiteY123" fmla="*/ 577189 h 6612869"/>
              <a:gd name="connsiteX124" fmla="*/ 8071421 w 8636594"/>
              <a:gd name="connsiteY124" fmla="*/ 540507 h 6612869"/>
              <a:gd name="connsiteX125" fmla="*/ 8104563 w 8636594"/>
              <a:gd name="connsiteY125" fmla="*/ 504132 h 6612869"/>
              <a:gd name="connsiteX126" fmla="*/ 8137967 w 8636594"/>
              <a:gd name="connsiteY126" fmla="*/ 468072 h 6612869"/>
              <a:gd name="connsiteX127" fmla="*/ 8171641 w 8636594"/>
              <a:gd name="connsiteY127" fmla="*/ 432332 h 6612869"/>
              <a:gd name="connsiteX128" fmla="*/ 8205590 w 8636594"/>
              <a:gd name="connsiteY128" fmla="*/ 396920 h 6612869"/>
              <a:gd name="connsiteX129" fmla="*/ 8239820 w 8636594"/>
              <a:gd name="connsiteY129" fmla="*/ 361843 h 6612869"/>
              <a:gd name="connsiteX130" fmla="*/ 8274337 w 8636594"/>
              <a:gd name="connsiteY130" fmla="*/ 327107 h 6612869"/>
              <a:gd name="connsiteX131" fmla="*/ 8309147 w 8636594"/>
              <a:gd name="connsiteY131" fmla="*/ 292718 h 6612869"/>
              <a:gd name="connsiteX132" fmla="*/ 8344256 w 8636594"/>
              <a:gd name="connsiteY132" fmla="*/ 258685 h 6612869"/>
              <a:gd name="connsiteX133" fmla="*/ 8379669 w 8636594"/>
              <a:gd name="connsiteY133" fmla="*/ 225013 h 6612869"/>
              <a:gd name="connsiteX134" fmla="*/ 8415394 w 8636594"/>
              <a:gd name="connsiteY134" fmla="*/ 191709 h 6612869"/>
              <a:gd name="connsiteX135" fmla="*/ 8451434 w 8636594"/>
              <a:gd name="connsiteY135" fmla="*/ 158780 h 6612869"/>
              <a:gd name="connsiteX136" fmla="*/ 8487798 w 8636594"/>
              <a:gd name="connsiteY136" fmla="*/ 126233 h 6612869"/>
              <a:gd name="connsiteX137" fmla="*/ 8524489 w 8636594"/>
              <a:gd name="connsiteY137" fmla="*/ 94075 h 6612869"/>
              <a:gd name="connsiteX138" fmla="*/ 8561515 w 8636594"/>
              <a:gd name="connsiteY138" fmla="*/ 62312 h 6612869"/>
              <a:gd name="connsiteX139" fmla="*/ 8598881 w 8636594"/>
              <a:gd name="connsiteY139" fmla="*/ 30951 h 6612869"/>
              <a:gd name="connsiteX140" fmla="*/ 8636594 w 8636594"/>
              <a:gd name="connsiteY140" fmla="*/ 0 h 6612869"/>
              <a:gd name="connsiteX0" fmla="*/ 8636594 w 8636594"/>
              <a:gd name="connsiteY0" fmla="*/ 0 h 6602362"/>
              <a:gd name="connsiteX1" fmla="*/ 5293 w 8636594"/>
              <a:gd name="connsiteY1" fmla="*/ 0 h 6602362"/>
              <a:gd name="connsiteX2" fmla="*/ 0 w 8636594"/>
              <a:gd name="connsiteY2" fmla="*/ 5587843 h 6602362"/>
              <a:gd name="connsiteX3" fmla="*/ 1594033 w 8636594"/>
              <a:gd name="connsiteY3" fmla="*/ 5600057 h 6602362"/>
              <a:gd name="connsiteX4" fmla="*/ 1686068 w 8636594"/>
              <a:gd name="connsiteY4" fmla="*/ 5599745 h 6602362"/>
              <a:gd name="connsiteX5" fmla="*/ 2185991 w 8636594"/>
              <a:gd name="connsiteY5" fmla="*/ 6602362 h 6602362"/>
              <a:gd name="connsiteX6" fmla="*/ 2244569 w 8636594"/>
              <a:gd name="connsiteY6" fmla="*/ 6591417 h 6602362"/>
              <a:gd name="connsiteX7" fmla="*/ 2302482 w 8636594"/>
              <a:gd name="connsiteY7" fmla="*/ 6580040 h 6602362"/>
              <a:gd name="connsiteX8" fmla="*/ 2359737 w 8636594"/>
              <a:gd name="connsiteY8" fmla="*/ 6568233 h 6602362"/>
              <a:gd name="connsiteX9" fmla="*/ 2416341 w 8636594"/>
              <a:gd name="connsiteY9" fmla="*/ 6555999 h 6602362"/>
              <a:gd name="connsiteX10" fmla="*/ 2472299 w 8636594"/>
              <a:gd name="connsiteY10" fmla="*/ 6543344 h 6602362"/>
              <a:gd name="connsiteX11" fmla="*/ 2527618 w 8636594"/>
              <a:gd name="connsiteY11" fmla="*/ 6530269 h 6602362"/>
              <a:gd name="connsiteX12" fmla="*/ 2582304 w 8636594"/>
              <a:gd name="connsiteY12" fmla="*/ 6516778 h 6602362"/>
              <a:gd name="connsiteX13" fmla="*/ 2636364 w 8636594"/>
              <a:gd name="connsiteY13" fmla="*/ 6502876 h 6602362"/>
              <a:gd name="connsiteX14" fmla="*/ 2689804 w 8636594"/>
              <a:gd name="connsiteY14" fmla="*/ 6488565 h 6602362"/>
              <a:gd name="connsiteX15" fmla="*/ 2742629 w 8636594"/>
              <a:gd name="connsiteY15" fmla="*/ 6473849 h 6602362"/>
              <a:gd name="connsiteX16" fmla="*/ 2794848 w 8636594"/>
              <a:gd name="connsiteY16" fmla="*/ 6458731 h 6602362"/>
              <a:gd name="connsiteX17" fmla="*/ 2846466 w 8636594"/>
              <a:gd name="connsiteY17" fmla="*/ 6443216 h 6602362"/>
              <a:gd name="connsiteX18" fmla="*/ 2897488 w 8636594"/>
              <a:gd name="connsiteY18" fmla="*/ 6427305 h 6602362"/>
              <a:gd name="connsiteX19" fmla="*/ 2947923 w 8636594"/>
              <a:gd name="connsiteY19" fmla="*/ 6411004 h 6602362"/>
              <a:gd name="connsiteX20" fmla="*/ 2997775 w 8636594"/>
              <a:gd name="connsiteY20" fmla="*/ 6394316 h 6602362"/>
              <a:gd name="connsiteX21" fmla="*/ 3047052 w 8636594"/>
              <a:gd name="connsiteY21" fmla="*/ 6377243 h 6602362"/>
              <a:gd name="connsiteX22" fmla="*/ 3095759 w 8636594"/>
              <a:gd name="connsiteY22" fmla="*/ 6359791 h 6602362"/>
              <a:gd name="connsiteX23" fmla="*/ 3143903 w 8636594"/>
              <a:gd name="connsiteY23" fmla="*/ 6341961 h 6602362"/>
              <a:gd name="connsiteX24" fmla="*/ 3191491 w 8636594"/>
              <a:gd name="connsiteY24" fmla="*/ 6323757 h 6602362"/>
              <a:gd name="connsiteX25" fmla="*/ 3238528 w 8636594"/>
              <a:gd name="connsiteY25" fmla="*/ 6305184 h 6602362"/>
              <a:gd name="connsiteX26" fmla="*/ 3285021 w 8636594"/>
              <a:gd name="connsiteY26" fmla="*/ 6286245 h 6602362"/>
              <a:gd name="connsiteX27" fmla="*/ 3330977 w 8636594"/>
              <a:gd name="connsiteY27" fmla="*/ 6266942 h 6602362"/>
              <a:gd name="connsiteX28" fmla="*/ 3376401 w 8636594"/>
              <a:gd name="connsiteY28" fmla="*/ 6247281 h 6602362"/>
              <a:gd name="connsiteX29" fmla="*/ 3421300 w 8636594"/>
              <a:gd name="connsiteY29" fmla="*/ 6227263 h 6602362"/>
              <a:gd name="connsiteX30" fmla="*/ 3465680 w 8636594"/>
              <a:gd name="connsiteY30" fmla="*/ 6206893 h 6602362"/>
              <a:gd name="connsiteX31" fmla="*/ 3509548 w 8636594"/>
              <a:gd name="connsiteY31" fmla="*/ 6186174 h 6602362"/>
              <a:gd name="connsiteX32" fmla="*/ 3552910 w 8636594"/>
              <a:gd name="connsiteY32" fmla="*/ 6165110 h 6602362"/>
              <a:gd name="connsiteX33" fmla="*/ 3595773 w 8636594"/>
              <a:gd name="connsiteY33" fmla="*/ 6143704 h 6602362"/>
              <a:gd name="connsiteX34" fmla="*/ 3638142 w 8636594"/>
              <a:gd name="connsiteY34" fmla="*/ 6121960 h 6602362"/>
              <a:gd name="connsiteX35" fmla="*/ 3680024 w 8636594"/>
              <a:gd name="connsiteY35" fmla="*/ 6099881 h 6602362"/>
              <a:gd name="connsiteX36" fmla="*/ 3721426 w 8636594"/>
              <a:gd name="connsiteY36" fmla="*/ 6077471 h 6602362"/>
              <a:gd name="connsiteX37" fmla="*/ 3762353 w 8636594"/>
              <a:gd name="connsiteY37" fmla="*/ 6054733 h 6602362"/>
              <a:gd name="connsiteX38" fmla="*/ 3802812 w 8636594"/>
              <a:gd name="connsiteY38" fmla="*/ 6031671 h 6602362"/>
              <a:gd name="connsiteX39" fmla="*/ 3842810 w 8636594"/>
              <a:gd name="connsiteY39" fmla="*/ 6008288 h 6602362"/>
              <a:gd name="connsiteX40" fmla="*/ 3882352 w 8636594"/>
              <a:gd name="connsiteY40" fmla="*/ 5984588 h 6602362"/>
              <a:gd name="connsiteX41" fmla="*/ 3921445 w 8636594"/>
              <a:gd name="connsiteY41" fmla="*/ 5960574 h 6602362"/>
              <a:gd name="connsiteX42" fmla="*/ 3960096 w 8636594"/>
              <a:gd name="connsiteY42" fmla="*/ 5936250 h 6602362"/>
              <a:gd name="connsiteX43" fmla="*/ 3998311 w 8636594"/>
              <a:gd name="connsiteY43" fmla="*/ 5911619 h 6602362"/>
              <a:gd name="connsiteX44" fmla="*/ 4036095 w 8636594"/>
              <a:gd name="connsiteY44" fmla="*/ 5886685 h 6602362"/>
              <a:gd name="connsiteX45" fmla="*/ 4073456 w 8636594"/>
              <a:gd name="connsiteY45" fmla="*/ 5861452 h 6602362"/>
              <a:gd name="connsiteX46" fmla="*/ 4110400 w 8636594"/>
              <a:gd name="connsiteY46" fmla="*/ 5835922 h 6602362"/>
              <a:gd name="connsiteX47" fmla="*/ 4146933 w 8636594"/>
              <a:gd name="connsiteY47" fmla="*/ 5810100 h 6602362"/>
              <a:gd name="connsiteX48" fmla="*/ 4183061 w 8636594"/>
              <a:gd name="connsiteY48" fmla="*/ 5783988 h 6602362"/>
              <a:gd name="connsiteX49" fmla="*/ 4218791 w 8636594"/>
              <a:gd name="connsiteY49" fmla="*/ 5757591 h 6602362"/>
              <a:gd name="connsiteX50" fmla="*/ 4254129 w 8636594"/>
              <a:gd name="connsiteY50" fmla="*/ 5730912 h 6602362"/>
              <a:gd name="connsiteX51" fmla="*/ 4289081 w 8636594"/>
              <a:gd name="connsiteY51" fmla="*/ 5703955 h 6602362"/>
              <a:gd name="connsiteX52" fmla="*/ 4323654 w 8636594"/>
              <a:gd name="connsiteY52" fmla="*/ 5676722 h 6602362"/>
              <a:gd name="connsiteX53" fmla="*/ 4357854 w 8636594"/>
              <a:gd name="connsiteY53" fmla="*/ 5649218 h 6602362"/>
              <a:gd name="connsiteX54" fmla="*/ 4391688 w 8636594"/>
              <a:gd name="connsiteY54" fmla="*/ 5621446 h 6602362"/>
              <a:gd name="connsiteX55" fmla="*/ 4425162 w 8636594"/>
              <a:gd name="connsiteY55" fmla="*/ 5593409 h 6602362"/>
              <a:gd name="connsiteX56" fmla="*/ 4458281 w 8636594"/>
              <a:gd name="connsiteY56" fmla="*/ 5565111 h 6602362"/>
              <a:gd name="connsiteX57" fmla="*/ 4491053 w 8636594"/>
              <a:gd name="connsiteY57" fmla="*/ 5536556 h 6602362"/>
              <a:gd name="connsiteX58" fmla="*/ 4523484 w 8636594"/>
              <a:gd name="connsiteY58" fmla="*/ 5507747 h 6602362"/>
              <a:gd name="connsiteX59" fmla="*/ 4555580 w 8636594"/>
              <a:gd name="connsiteY59" fmla="*/ 5478687 h 6602362"/>
              <a:gd name="connsiteX60" fmla="*/ 4587347 w 8636594"/>
              <a:gd name="connsiteY60" fmla="*/ 5449380 h 6602362"/>
              <a:gd name="connsiteX61" fmla="*/ 4618793 w 8636594"/>
              <a:gd name="connsiteY61" fmla="*/ 5419830 h 6602362"/>
              <a:gd name="connsiteX62" fmla="*/ 4649922 w 8636594"/>
              <a:gd name="connsiteY62" fmla="*/ 5390040 h 6602362"/>
              <a:gd name="connsiteX63" fmla="*/ 4680742 w 8636594"/>
              <a:gd name="connsiteY63" fmla="*/ 5360014 h 6602362"/>
              <a:gd name="connsiteX64" fmla="*/ 4711259 w 8636594"/>
              <a:gd name="connsiteY64" fmla="*/ 5329755 h 6602362"/>
              <a:gd name="connsiteX65" fmla="*/ 4741478 w 8636594"/>
              <a:gd name="connsiteY65" fmla="*/ 5299266 h 6602362"/>
              <a:gd name="connsiteX66" fmla="*/ 4771408 w 8636594"/>
              <a:gd name="connsiteY66" fmla="*/ 5268551 h 6602362"/>
              <a:gd name="connsiteX67" fmla="*/ 4801053 w 8636594"/>
              <a:gd name="connsiteY67" fmla="*/ 5237614 h 6602362"/>
              <a:gd name="connsiteX68" fmla="*/ 4830420 w 8636594"/>
              <a:gd name="connsiteY68" fmla="*/ 5206458 h 6602362"/>
              <a:gd name="connsiteX69" fmla="*/ 4859516 w 8636594"/>
              <a:gd name="connsiteY69" fmla="*/ 5175087 h 6602362"/>
              <a:gd name="connsiteX70" fmla="*/ 4888347 w 8636594"/>
              <a:gd name="connsiteY70" fmla="*/ 5143504 h 6602362"/>
              <a:gd name="connsiteX71" fmla="*/ 4916919 w 8636594"/>
              <a:gd name="connsiteY71" fmla="*/ 5111713 h 6602362"/>
              <a:gd name="connsiteX72" fmla="*/ 4945238 w 8636594"/>
              <a:gd name="connsiteY72" fmla="*/ 5079717 h 6602362"/>
              <a:gd name="connsiteX73" fmla="*/ 4973311 w 8636594"/>
              <a:gd name="connsiteY73" fmla="*/ 5047519 h 6602362"/>
              <a:gd name="connsiteX74" fmla="*/ 5001145 w 8636594"/>
              <a:gd name="connsiteY74" fmla="*/ 5015124 h 6602362"/>
              <a:gd name="connsiteX75" fmla="*/ 5028745 w 8636594"/>
              <a:gd name="connsiteY75" fmla="*/ 4982535 h 6602362"/>
              <a:gd name="connsiteX76" fmla="*/ 5056117 w 8636594"/>
              <a:gd name="connsiteY76" fmla="*/ 4949755 h 6602362"/>
              <a:gd name="connsiteX77" fmla="*/ 5083269 w 8636594"/>
              <a:gd name="connsiteY77" fmla="*/ 4916787 h 6602362"/>
              <a:gd name="connsiteX78" fmla="*/ 5110207 w 8636594"/>
              <a:gd name="connsiteY78" fmla="*/ 4883636 h 6602362"/>
              <a:gd name="connsiteX79" fmla="*/ 5136937 w 8636594"/>
              <a:gd name="connsiteY79" fmla="*/ 4850305 h 6602362"/>
              <a:gd name="connsiteX80" fmla="*/ 5163464 w 8636594"/>
              <a:gd name="connsiteY80" fmla="*/ 4816797 h 6602362"/>
              <a:gd name="connsiteX81" fmla="*/ 5215940 w 8636594"/>
              <a:gd name="connsiteY81" fmla="*/ 4749265 h 6602362"/>
              <a:gd name="connsiteX82" fmla="*/ 5267684 w 8636594"/>
              <a:gd name="connsiteY82" fmla="*/ 4681068 h 6602362"/>
              <a:gd name="connsiteX83" fmla="*/ 5318748 w 8636594"/>
              <a:gd name="connsiteY83" fmla="*/ 4612234 h 6602362"/>
              <a:gd name="connsiteX84" fmla="*/ 5369182 w 8636594"/>
              <a:gd name="connsiteY84" fmla="*/ 4542793 h 6602362"/>
              <a:gd name="connsiteX85" fmla="*/ 5419038 w 8636594"/>
              <a:gd name="connsiteY85" fmla="*/ 4472771 h 6602362"/>
              <a:gd name="connsiteX86" fmla="*/ 5468365 w 8636594"/>
              <a:gd name="connsiteY86" fmla="*/ 4402196 h 6602362"/>
              <a:gd name="connsiteX87" fmla="*/ 5517215 w 8636594"/>
              <a:gd name="connsiteY87" fmla="*/ 4331098 h 6602362"/>
              <a:gd name="connsiteX88" fmla="*/ 5565637 w 8636594"/>
              <a:gd name="connsiteY88" fmla="*/ 4259503 h 6602362"/>
              <a:gd name="connsiteX89" fmla="*/ 5613684 w 8636594"/>
              <a:gd name="connsiteY89" fmla="*/ 4187441 h 6602362"/>
              <a:gd name="connsiteX90" fmla="*/ 5685160 w 8636594"/>
              <a:gd name="connsiteY90" fmla="*/ 4078531 h 6602362"/>
              <a:gd name="connsiteX91" fmla="*/ 5756074 w 8636594"/>
              <a:gd name="connsiteY91" fmla="*/ 3968727 h 6602362"/>
              <a:gd name="connsiteX92" fmla="*/ 5873483 w 8636594"/>
              <a:gd name="connsiteY92" fmla="*/ 3783989 h 6602362"/>
              <a:gd name="connsiteX93" fmla="*/ 6203209 w 8636594"/>
              <a:gd name="connsiteY93" fmla="*/ 3258640 h 6602362"/>
              <a:gd name="connsiteX94" fmla="*/ 6299430 w 8636594"/>
              <a:gd name="connsiteY94" fmla="*/ 3107321 h 6602362"/>
              <a:gd name="connsiteX95" fmla="*/ 6372650 w 8636594"/>
              <a:gd name="connsiteY95" fmla="*/ 2993735 h 6602362"/>
              <a:gd name="connsiteX96" fmla="*/ 6453197 w 8636594"/>
              <a:gd name="connsiteY96" fmla="*/ 2869788 h 6602362"/>
              <a:gd name="connsiteX97" fmla="*/ 6564167 w 8636594"/>
              <a:gd name="connsiteY97" fmla="*/ 2696807 h 6602362"/>
              <a:gd name="connsiteX98" fmla="*/ 6976233 w 8636594"/>
              <a:gd name="connsiteY98" fmla="*/ 2045274 h 6602362"/>
              <a:gd name="connsiteX99" fmla="*/ 7086755 w 8636594"/>
              <a:gd name="connsiteY99" fmla="*/ 1872743 h 6602362"/>
              <a:gd name="connsiteX100" fmla="*/ 7170279 w 8636594"/>
              <a:gd name="connsiteY100" fmla="*/ 1744202 h 6602362"/>
              <a:gd name="connsiteX101" fmla="*/ 7226351 w 8636594"/>
              <a:gd name="connsiteY101" fmla="*/ 1659017 h 6602362"/>
              <a:gd name="connsiteX102" fmla="*/ 7282789 w 8636594"/>
              <a:gd name="connsiteY102" fmla="*/ 1574303 h 6602362"/>
              <a:gd name="connsiteX103" fmla="*/ 7339643 w 8636594"/>
              <a:gd name="connsiteY103" fmla="*/ 1490113 h 6602362"/>
              <a:gd name="connsiteX104" fmla="*/ 7396957 w 8636594"/>
              <a:gd name="connsiteY104" fmla="*/ 1406503 h 6602362"/>
              <a:gd name="connsiteX105" fmla="*/ 7454781 w 8636594"/>
              <a:gd name="connsiteY105" fmla="*/ 1323526 h 6602362"/>
              <a:gd name="connsiteX106" fmla="*/ 7513161 w 8636594"/>
              <a:gd name="connsiteY106" fmla="*/ 1241237 h 6602362"/>
              <a:gd name="connsiteX107" fmla="*/ 7572144 w 8636594"/>
              <a:gd name="connsiteY107" fmla="*/ 1159689 h 6602362"/>
              <a:gd name="connsiteX108" fmla="*/ 7601877 w 8636594"/>
              <a:gd name="connsiteY108" fmla="*/ 1119210 h 6602362"/>
              <a:gd name="connsiteX109" fmla="*/ 7631779 w 8636594"/>
              <a:gd name="connsiteY109" fmla="*/ 1078937 h 6602362"/>
              <a:gd name="connsiteX110" fmla="*/ 7661855 w 8636594"/>
              <a:gd name="connsiteY110" fmla="*/ 1038876 h 6602362"/>
              <a:gd name="connsiteX111" fmla="*/ 7692111 w 8636594"/>
              <a:gd name="connsiteY111" fmla="*/ 999035 h 6602362"/>
              <a:gd name="connsiteX112" fmla="*/ 7722554 w 8636594"/>
              <a:gd name="connsiteY112" fmla="*/ 959419 h 6602362"/>
              <a:gd name="connsiteX113" fmla="*/ 7753190 w 8636594"/>
              <a:gd name="connsiteY113" fmla="*/ 920037 h 6602362"/>
              <a:gd name="connsiteX114" fmla="*/ 7784023 w 8636594"/>
              <a:gd name="connsiteY114" fmla="*/ 880894 h 6602362"/>
              <a:gd name="connsiteX115" fmla="*/ 7815061 w 8636594"/>
              <a:gd name="connsiteY115" fmla="*/ 841997 h 6602362"/>
              <a:gd name="connsiteX116" fmla="*/ 7846308 w 8636594"/>
              <a:gd name="connsiteY116" fmla="*/ 803354 h 6602362"/>
              <a:gd name="connsiteX117" fmla="*/ 7877772 w 8636594"/>
              <a:gd name="connsiteY117" fmla="*/ 764970 h 6602362"/>
              <a:gd name="connsiteX118" fmla="*/ 7909458 w 8636594"/>
              <a:gd name="connsiteY118" fmla="*/ 726853 h 6602362"/>
              <a:gd name="connsiteX119" fmla="*/ 7941371 w 8636594"/>
              <a:gd name="connsiteY119" fmla="*/ 689010 h 6602362"/>
              <a:gd name="connsiteX120" fmla="*/ 7973518 w 8636594"/>
              <a:gd name="connsiteY120" fmla="*/ 651447 h 6602362"/>
              <a:gd name="connsiteX121" fmla="*/ 8005905 w 8636594"/>
              <a:gd name="connsiteY121" fmla="*/ 614171 h 6602362"/>
              <a:gd name="connsiteX122" fmla="*/ 8038538 w 8636594"/>
              <a:gd name="connsiteY122" fmla="*/ 577189 h 6602362"/>
              <a:gd name="connsiteX123" fmla="*/ 8071421 w 8636594"/>
              <a:gd name="connsiteY123" fmla="*/ 540507 h 6602362"/>
              <a:gd name="connsiteX124" fmla="*/ 8104563 w 8636594"/>
              <a:gd name="connsiteY124" fmla="*/ 504132 h 6602362"/>
              <a:gd name="connsiteX125" fmla="*/ 8137967 w 8636594"/>
              <a:gd name="connsiteY125" fmla="*/ 468072 h 6602362"/>
              <a:gd name="connsiteX126" fmla="*/ 8171641 w 8636594"/>
              <a:gd name="connsiteY126" fmla="*/ 432332 h 6602362"/>
              <a:gd name="connsiteX127" fmla="*/ 8205590 w 8636594"/>
              <a:gd name="connsiteY127" fmla="*/ 396920 h 6602362"/>
              <a:gd name="connsiteX128" fmla="*/ 8239820 w 8636594"/>
              <a:gd name="connsiteY128" fmla="*/ 361843 h 6602362"/>
              <a:gd name="connsiteX129" fmla="*/ 8274337 w 8636594"/>
              <a:gd name="connsiteY129" fmla="*/ 327107 h 6602362"/>
              <a:gd name="connsiteX130" fmla="*/ 8309147 w 8636594"/>
              <a:gd name="connsiteY130" fmla="*/ 292718 h 6602362"/>
              <a:gd name="connsiteX131" fmla="*/ 8344256 w 8636594"/>
              <a:gd name="connsiteY131" fmla="*/ 258685 h 6602362"/>
              <a:gd name="connsiteX132" fmla="*/ 8379669 w 8636594"/>
              <a:gd name="connsiteY132" fmla="*/ 225013 h 6602362"/>
              <a:gd name="connsiteX133" fmla="*/ 8415394 w 8636594"/>
              <a:gd name="connsiteY133" fmla="*/ 191709 h 6602362"/>
              <a:gd name="connsiteX134" fmla="*/ 8451434 w 8636594"/>
              <a:gd name="connsiteY134" fmla="*/ 158780 h 6602362"/>
              <a:gd name="connsiteX135" fmla="*/ 8487798 w 8636594"/>
              <a:gd name="connsiteY135" fmla="*/ 126233 h 6602362"/>
              <a:gd name="connsiteX136" fmla="*/ 8524489 w 8636594"/>
              <a:gd name="connsiteY136" fmla="*/ 94075 h 6602362"/>
              <a:gd name="connsiteX137" fmla="*/ 8561515 w 8636594"/>
              <a:gd name="connsiteY137" fmla="*/ 62312 h 6602362"/>
              <a:gd name="connsiteX138" fmla="*/ 8598881 w 8636594"/>
              <a:gd name="connsiteY138" fmla="*/ 30951 h 6602362"/>
              <a:gd name="connsiteX139" fmla="*/ 8636594 w 8636594"/>
              <a:gd name="connsiteY139" fmla="*/ 0 h 6602362"/>
              <a:gd name="connsiteX0" fmla="*/ 8636594 w 8636594"/>
              <a:gd name="connsiteY0" fmla="*/ 0 h 6591417"/>
              <a:gd name="connsiteX1" fmla="*/ 5293 w 8636594"/>
              <a:gd name="connsiteY1" fmla="*/ 0 h 6591417"/>
              <a:gd name="connsiteX2" fmla="*/ 0 w 8636594"/>
              <a:gd name="connsiteY2" fmla="*/ 5587843 h 6591417"/>
              <a:gd name="connsiteX3" fmla="*/ 1594033 w 8636594"/>
              <a:gd name="connsiteY3" fmla="*/ 5600057 h 6591417"/>
              <a:gd name="connsiteX4" fmla="*/ 1686068 w 8636594"/>
              <a:gd name="connsiteY4" fmla="*/ 5599745 h 6591417"/>
              <a:gd name="connsiteX5" fmla="*/ 2244569 w 8636594"/>
              <a:gd name="connsiteY5" fmla="*/ 6591417 h 6591417"/>
              <a:gd name="connsiteX6" fmla="*/ 2302482 w 8636594"/>
              <a:gd name="connsiteY6" fmla="*/ 6580040 h 6591417"/>
              <a:gd name="connsiteX7" fmla="*/ 2359737 w 8636594"/>
              <a:gd name="connsiteY7" fmla="*/ 6568233 h 6591417"/>
              <a:gd name="connsiteX8" fmla="*/ 2416341 w 8636594"/>
              <a:gd name="connsiteY8" fmla="*/ 6555999 h 6591417"/>
              <a:gd name="connsiteX9" fmla="*/ 2472299 w 8636594"/>
              <a:gd name="connsiteY9" fmla="*/ 6543344 h 6591417"/>
              <a:gd name="connsiteX10" fmla="*/ 2527618 w 8636594"/>
              <a:gd name="connsiteY10" fmla="*/ 6530269 h 6591417"/>
              <a:gd name="connsiteX11" fmla="*/ 2582304 w 8636594"/>
              <a:gd name="connsiteY11" fmla="*/ 6516778 h 6591417"/>
              <a:gd name="connsiteX12" fmla="*/ 2636364 w 8636594"/>
              <a:gd name="connsiteY12" fmla="*/ 6502876 h 6591417"/>
              <a:gd name="connsiteX13" fmla="*/ 2689804 w 8636594"/>
              <a:gd name="connsiteY13" fmla="*/ 6488565 h 6591417"/>
              <a:gd name="connsiteX14" fmla="*/ 2742629 w 8636594"/>
              <a:gd name="connsiteY14" fmla="*/ 6473849 h 6591417"/>
              <a:gd name="connsiteX15" fmla="*/ 2794848 w 8636594"/>
              <a:gd name="connsiteY15" fmla="*/ 6458731 h 6591417"/>
              <a:gd name="connsiteX16" fmla="*/ 2846466 w 8636594"/>
              <a:gd name="connsiteY16" fmla="*/ 6443216 h 6591417"/>
              <a:gd name="connsiteX17" fmla="*/ 2897488 w 8636594"/>
              <a:gd name="connsiteY17" fmla="*/ 6427305 h 6591417"/>
              <a:gd name="connsiteX18" fmla="*/ 2947923 w 8636594"/>
              <a:gd name="connsiteY18" fmla="*/ 6411004 h 6591417"/>
              <a:gd name="connsiteX19" fmla="*/ 2997775 w 8636594"/>
              <a:gd name="connsiteY19" fmla="*/ 6394316 h 6591417"/>
              <a:gd name="connsiteX20" fmla="*/ 3047052 w 8636594"/>
              <a:gd name="connsiteY20" fmla="*/ 6377243 h 6591417"/>
              <a:gd name="connsiteX21" fmla="*/ 3095759 w 8636594"/>
              <a:gd name="connsiteY21" fmla="*/ 6359791 h 6591417"/>
              <a:gd name="connsiteX22" fmla="*/ 3143903 w 8636594"/>
              <a:gd name="connsiteY22" fmla="*/ 6341961 h 6591417"/>
              <a:gd name="connsiteX23" fmla="*/ 3191491 w 8636594"/>
              <a:gd name="connsiteY23" fmla="*/ 6323757 h 6591417"/>
              <a:gd name="connsiteX24" fmla="*/ 3238528 w 8636594"/>
              <a:gd name="connsiteY24" fmla="*/ 6305184 h 6591417"/>
              <a:gd name="connsiteX25" fmla="*/ 3285021 w 8636594"/>
              <a:gd name="connsiteY25" fmla="*/ 6286245 h 6591417"/>
              <a:gd name="connsiteX26" fmla="*/ 3330977 w 8636594"/>
              <a:gd name="connsiteY26" fmla="*/ 6266942 h 6591417"/>
              <a:gd name="connsiteX27" fmla="*/ 3376401 w 8636594"/>
              <a:gd name="connsiteY27" fmla="*/ 6247281 h 6591417"/>
              <a:gd name="connsiteX28" fmla="*/ 3421300 w 8636594"/>
              <a:gd name="connsiteY28" fmla="*/ 6227263 h 6591417"/>
              <a:gd name="connsiteX29" fmla="*/ 3465680 w 8636594"/>
              <a:gd name="connsiteY29" fmla="*/ 6206893 h 6591417"/>
              <a:gd name="connsiteX30" fmla="*/ 3509548 w 8636594"/>
              <a:gd name="connsiteY30" fmla="*/ 6186174 h 6591417"/>
              <a:gd name="connsiteX31" fmla="*/ 3552910 w 8636594"/>
              <a:gd name="connsiteY31" fmla="*/ 6165110 h 6591417"/>
              <a:gd name="connsiteX32" fmla="*/ 3595773 w 8636594"/>
              <a:gd name="connsiteY32" fmla="*/ 6143704 h 6591417"/>
              <a:gd name="connsiteX33" fmla="*/ 3638142 w 8636594"/>
              <a:gd name="connsiteY33" fmla="*/ 6121960 h 6591417"/>
              <a:gd name="connsiteX34" fmla="*/ 3680024 w 8636594"/>
              <a:gd name="connsiteY34" fmla="*/ 6099881 h 6591417"/>
              <a:gd name="connsiteX35" fmla="*/ 3721426 w 8636594"/>
              <a:gd name="connsiteY35" fmla="*/ 6077471 h 6591417"/>
              <a:gd name="connsiteX36" fmla="*/ 3762353 w 8636594"/>
              <a:gd name="connsiteY36" fmla="*/ 6054733 h 6591417"/>
              <a:gd name="connsiteX37" fmla="*/ 3802812 w 8636594"/>
              <a:gd name="connsiteY37" fmla="*/ 6031671 h 6591417"/>
              <a:gd name="connsiteX38" fmla="*/ 3842810 w 8636594"/>
              <a:gd name="connsiteY38" fmla="*/ 6008288 h 6591417"/>
              <a:gd name="connsiteX39" fmla="*/ 3882352 w 8636594"/>
              <a:gd name="connsiteY39" fmla="*/ 5984588 h 6591417"/>
              <a:gd name="connsiteX40" fmla="*/ 3921445 w 8636594"/>
              <a:gd name="connsiteY40" fmla="*/ 5960574 h 6591417"/>
              <a:gd name="connsiteX41" fmla="*/ 3960096 w 8636594"/>
              <a:gd name="connsiteY41" fmla="*/ 5936250 h 6591417"/>
              <a:gd name="connsiteX42" fmla="*/ 3998311 w 8636594"/>
              <a:gd name="connsiteY42" fmla="*/ 5911619 h 6591417"/>
              <a:gd name="connsiteX43" fmla="*/ 4036095 w 8636594"/>
              <a:gd name="connsiteY43" fmla="*/ 5886685 h 6591417"/>
              <a:gd name="connsiteX44" fmla="*/ 4073456 w 8636594"/>
              <a:gd name="connsiteY44" fmla="*/ 5861452 h 6591417"/>
              <a:gd name="connsiteX45" fmla="*/ 4110400 w 8636594"/>
              <a:gd name="connsiteY45" fmla="*/ 5835922 h 6591417"/>
              <a:gd name="connsiteX46" fmla="*/ 4146933 w 8636594"/>
              <a:gd name="connsiteY46" fmla="*/ 5810100 h 6591417"/>
              <a:gd name="connsiteX47" fmla="*/ 4183061 w 8636594"/>
              <a:gd name="connsiteY47" fmla="*/ 5783988 h 6591417"/>
              <a:gd name="connsiteX48" fmla="*/ 4218791 w 8636594"/>
              <a:gd name="connsiteY48" fmla="*/ 5757591 h 6591417"/>
              <a:gd name="connsiteX49" fmla="*/ 4254129 w 8636594"/>
              <a:gd name="connsiteY49" fmla="*/ 5730912 h 6591417"/>
              <a:gd name="connsiteX50" fmla="*/ 4289081 w 8636594"/>
              <a:gd name="connsiteY50" fmla="*/ 5703955 h 6591417"/>
              <a:gd name="connsiteX51" fmla="*/ 4323654 w 8636594"/>
              <a:gd name="connsiteY51" fmla="*/ 5676722 h 6591417"/>
              <a:gd name="connsiteX52" fmla="*/ 4357854 w 8636594"/>
              <a:gd name="connsiteY52" fmla="*/ 5649218 h 6591417"/>
              <a:gd name="connsiteX53" fmla="*/ 4391688 w 8636594"/>
              <a:gd name="connsiteY53" fmla="*/ 5621446 h 6591417"/>
              <a:gd name="connsiteX54" fmla="*/ 4425162 w 8636594"/>
              <a:gd name="connsiteY54" fmla="*/ 5593409 h 6591417"/>
              <a:gd name="connsiteX55" fmla="*/ 4458281 w 8636594"/>
              <a:gd name="connsiteY55" fmla="*/ 5565111 h 6591417"/>
              <a:gd name="connsiteX56" fmla="*/ 4491053 w 8636594"/>
              <a:gd name="connsiteY56" fmla="*/ 5536556 h 6591417"/>
              <a:gd name="connsiteX57" fmla="*/ 4523484 w 8636594"/>
              <a:gd name="connsiteY57" fmla="*/ 5507747 h 6591417"/>
              <a:gd name="connsiteX58" fmla="*/ 4555580 w 8636594"/>
              <a:gd name="connsiteY58" fmla="*/ 5478687 h 6591417"/>
              <a:gd name="connsiteX59" fmla="*/ 4587347 w 8636594"/>
              <a:gd name="connsiteY59" fmla="*/ 5449380 h 6591417"/>
              <a:gd name="connsiteX60" fmla="*/ 4618793 w 8636594"/>
              <a:gd name="connsiteY60" fmla="*/ 5419830 h 6591417"/>
              <a:gd name="connsiteX61" fmla="*/ 4649922 w 8636594"/>
              <a:gd name="connsiteY61" fmla="*/ 5390040 h 6591417"/>
              <a:gd name="connsiteX62" fmla="*/ 4680742 w 8636594"/>
              <a:gd name="connsiteY62" fmla="*/ 5360014 h 6591417"/>
              <a:gd name="connsiteX63" fmla="*/ 4711259 w 8636594"/>
              <a:gd name="connsiteY63" fmla="*/ 5329755 h 6591417"/>
              <a:gd name="connsiteX64" fmla="*/ 4741478 w 8636594"/>
              <a:gd name="connsiteY64" fmla="*/ 5299266 h 6591417"/>
              <a:gd name="connsiteX65" fmla="*/ 4771408 w 8636594"/>
              <a:gd name="connsiteY65" fmla="*/ 5268551 h 6591417"/>
              <a:gd name="connsiteX66" fmla="*/ 4801053 w 8636594"/>
              <a:gd name="connsiteY66" fmla="*/ 5237614 h 6591417"/>
              <a:gd name="connsiteX67" fmla="*/ 4830420 w 8636594"/>
              <a:gd name="connsiteY67" fmla="*/ 5206458 h 6591417"/>
              <a:gd name="connsiteX68" fmla="*/ 4859516 w 8636594"/>
              <a:gd name="connsiteY68" fmla="*/ 5175087 h 6591417"/>
              <a:gd name="connsiteX69" fmla="*/ 4888347 w 8636594"/>
              <a:gd name="connsiteY69" fmla="*/ 5143504 h 6591417"/>
              <a:gd name="connsiteX70" fmla="*/ 4916919 w 8636594"/>
              <a:gd name="connsiteY70" fmla="*/ 5111713 h 6591417"/>
              <a:gd name="connsiteX71" fmla="*/ 4945238 w 8636594"/>
              <a:gd name="connsiteY71" fmla="*/ 5079717 h 6591417"/>
              <a:gd name="connsiteX72" fmla="*/ 4973311 w 8636594"/>
              <a:gd name="connsiteY72" fmla="*/ 5047519 h 6591417"/>
              <a:gd name="connsiteX73" fmla="*/ 5001145 w 8636594"/>
              <a:gd name="connsiteY73" fmla="*/ 5015124 h 6591417"/>
              <a:gd name="connsiteX74" fmla="*/ 5028745 w 8636594"/>
              <a:gd name="connsiteY74" fmla="*/ 4982535 h 6591417"/>
              <a:gd name="connsiteX75" fmla="*/ 5056117 w 8636594"/>
              <a:gd name="connsiteY75" fmla="*/ 4949755 h 6591417"/>
              <a:gd name="connsiteX76" fmla="*/ 5083269 w 8636594"/>
              <a:gd name="connsiteY76" fmla="*/ 4916787 h 6591417"/>
              <a:gd name="connsiteX77" fmla="*/ 5110207 w 8636594"/>
              <a:gd name="connsiteY77" fmla="*/ 4883636 h 6591417"/>
              <a:gd name="connsiteX78" fmla="*/ 5136937 w 8636594"/>
              <a:gd name="connsiteY78" fmla="*/ 4850305 h 6591417"/>
              <a:gd name="connsiteX79" fmla="*/ 5163464 w 8636594"/>
              <a:gd name="connsiteY79" fmla="*/ 4816797 h 6591417"/>
              <a:gd name="connsiteX80" fmla="*/ 5215940 w 8636594"/>
              <a:gd name="connsiteY80" fmla="*/ 4749265 h 6591417"/>
              <a:gd name="connsiteX81" fmla="*/ 5267684 w 8636594"/>
              <a:gd name="connsiteY81" fmla="*/ 4681068 h 6591417"/>
              <a:gd name="connsiteX82" fmla="*/ 5318748 w 8636594"/>
              <a:gd name="connsiteY82" fmla="*/ 4612234 h 6591417"/>
              <a:gd name="connsiteX83" fmla="*/ 5369182 w 8636594"/>
              <a:gd name="connsiteY83" fmla="*/ 4542793 h 6591417"/>
              <a:gd name="connsiteX84" fmla="*/ 5419038 w 8636594"/>
              <a:gd name="connsiteY84" fmla="*/ 4472771 h 6591417"/>
              <a:gd name="connsiteX85" fmla="*/ 5468365 w 8636594"/>
              <a:gd name="connsiteY85" fmla="*/ 4402196 h 6591417"/>
              <a:gd name="connsiteX86" fmla="*/ 5517215 w 8636594"/>
              <a:gd name="connsiteY86" fmla="*/ 4331098 h 6591417"/>
              <a:gd name="connsiteX87" fmla="*/ 5565637 w 8636594"/>
              <a:gd name="connsiteY87" fmla="*/ 4259503 h 6591417"/>
              <a:gd name="connsiteX88" fmla="*/ 5613684 w 8636594"/>
              <a:gd name="connsiteY88" fmla="*/ 4187441 h 6591417"/>
              <a:gd name="connsiteX89" fmla="*/ 5685160 w 8636594"/>
              <a:gd name="connsiteY89" fmla="*/ 4078531 h 6591417"/>
              <a:gd name="connsiteX90" fmla="*/ 5756074 w 8636594"/>
              <a:gd name="connsiteY90" fmla="*/ 3968727 h 6591417"/>
              <a:gd name="connsiteX91" fmla="*/ 5873483 w 8636594"/>
              <a:gd name="connsiteY91" fmla="*/ 3783989 h 6591417"/>
              <a:gd name="connsiteX92" fmla="*/ 6203209 w 8636594"/>
              <a:gd name="connsiteY92" fmla="*/ 3258640 h 6591417"/>
              <a:gd name="connsiteX93" fmla="*/ 6299430 w 8636594"/>
              <a:gd name="connsiteY93" fmla="*/ 3107321 h 6591417"/>
              <a:gd name="connsiteX94" fmla="*/ 6372650 w 8636594"/>
              <a:gd name="connsiteY94" fmla="*/ 2993735 h 6591417"/>
              <a:gd name="connsiteX95" fmla="*/ 6453197 w 8636594"/>
              <a:gd name="connsiteY95" fmla="*/ 2869788 h 6591417"/>
              <a:gd name="connsiteX96" fmla="*/ 6564167 w 8636594"/>
              <a:gd name="connsiteY96" fmla="*/ 2696807 h 6591417"/>
              <a:gd name="connsiteX97" fmla="*/ 6976233 w 8636594"/>
              <a:gd name="connsiteY97" fmla="*/ 2045274 h 6591417"/>
              <a:gd name="connsiteX98" fmla="*/ 7086755 w 8636594"/>
              <a:gd name="connsiteY98" fmla="*/ 1872743 h 6591417"/>
              <a:gd name="connsiteX99" fmla="*/ 7170279 w 8636594"/>
              <a:gd name="connsiteY99" fmla="*/ 1744202 h 6591417"/>
              <a:gd name="connsiteX100" fmla="*/ 7226351 w 8636594"/>
              <a:gd name="connsiteY100" fmla="*/ 1659017 h 6591417"/>
              <a:gd name="connsiteX101" fmla="*/ 7282789 w 8636594"/>
              <a:gd name="connsiteY101" fmla="*/ 1574303 h 6591417"/>
              <a:gd name="connsiteX102" fmla="*/ 7339643 w 8636594"/>
              <a:gd name="connsiteY102" fmla="*/ 1490113 h 6591417"/>
              <a:gd name="connsiteX103" fmla="*/ 7396957 w 8636594"/>
              <a:gd name="connsiteY103" fmla="*/ 1406503 h 6591417"/>
              <a:gd name="connsiteX104" fmla="*/ 7454781 w 8636594"/>
              <a:gd name="connsiteY104" fmla="*/ 1323526 h 6591417"/>
              <a:gd name="connsiteX105" fmla="*/ 7513161 w 8636594"/>
              <a:gd name="connsiteY105" fmla="*/ 1241237 h 6591417"/>
              <a:gd name="connsiteX106" fmla="*/ 7572144 w 8636594"/>
              <a:gd name="connsiteY106" fmla="*/ 1159689 h 6591417"/>
              <a:gd name="connsiteX107" fmla="*/ 7601877 w 8636594"/>
              <a:gd name="connsiteY107" fmla="*/ 1119210 h 6591417"/>
              <a:gd name="connsiteX108" fmla="*/ 7631779 w 8636594"/>
              <a:gd name="connsiteY108" fmla="*/ 1078937 h 6591417"/>
              <a:gd name="connsiteX109" fmla="*/ 7661855 w 8636594"/>
              <a:gd name="connsiteY109" fmla="*/ 1038876 h 6591417"/>
              <a:gd name="connsiteX110" fmla="*/ 7692111 w 8636594"/>
              <a:gd name="connsiteY110" fmla="*/ 999035 h 6591417"/>
              <a:gd name="connsiteX111" fmla="*/ 7722554 w 8636594"/>
              <a:gd name="connsiteY111" fmla="*/ 959419 h 6591417"/>
              <a:gd name="connsiteX112" fmla="*/ 7753190 w 8636594"/>
              <a:gd name="connsiteY112" fmla="*/ 920037 h 6591417"/>
              <a:gd name="connsiteX113" fmla="*/ 7784023 w 8636594"/>
              <a:gd name="connsiteY113" fmla="*/ 880894 h 6591417"/>
              <a:gd name="connsiteX114" fmla="*/ 7815061 w 8636594"/>
              <a:gd name="connsiteY114" fmla="*/ 841997 h 6591417"/>
              <a:gd name="connsiteX115" fmla="*/ 7846308 w 8636594"/>
              <a:gd name="connsiteY115" fmla="*/ 803354 h 6591417"/>
              <a:gd name="connsiteX116" fmla="*/ 7877772 w 8636594"/>
              <a:gd name="connsiteY116" fmla="*/ 764970 h 6591417"/>
              <a:gd name="connsiteX117" fmla="*/ 7909458 w 8636594"/>
              <a:gd name="connsiteY117" fmla="*/ 726853 h 6591417"/>
              <a:gd name="connsiteX118" fmla="*/ 7941371 w 8636594"/>
              <a:gd name="connsiteY118" fmla="*/ 689010 h 6591417"/>
              <a:gd name="connsiteX119" fmla="*/ 7973518 w 8636594"/>
              <a:gd name="connsiteY119" fmla="*/ 651447 h 6591417"/>
              <a:gd name="connsiteX120" fmla="*/ 8005905 w 8636594"/>
              <a:gd name="connsiteY120" fmla="*/ 614171 h 6591417"/>
              <a:gd name="connsiteX121" fmla="*/ 8038538 w 8636594"/>
              <a:gd name="connsiteY121" fmla="*/ 577189 h 6591417"/>
              <a:gd name="connsiteX122" fmla="*/ 8071421 w 8636594"/>
              <a:gd name="connsiteY122" fmla="*/ 540507 h 6591417"/>
              <a:gd name="connsiteX123" fmla="*/ 8104563 w 8636594"/>
              <a:gd name="connsiteY123" fmla="*/ 504132 h 6591417"/>
              <a:gd name="connsiteX124" fmla="*/ 8137967 w 8636594"/>
              <a:gd name="connsiteY124" fmla="*/ 468072 h 6591417"/>
              <a:gd name="connsiteX125" fmla="*/ 8171641 w 8636594"/>
              <a:gd name="connsiteY125" fmla="*/ 432332 h 6591417"/>
              <a:gd name="connsiteX126" fmla="*/ 8205590 w 8636594"/>
              <a:gd name="connsiteY126" fmla="*/ 396920 h 6591417"/>
              <a:gd name="connsiteX127" fmla="*/ 8239820 w 8636594"/>
              <a:gd name="connsiteY127" fmla="*/ 361843 h 6591417"/>
              <a:gd name="connsiteX128" fmla="*/ 8274337 w 8636594"/>
              <a:gd name="connsiteY128" fmla="*/ 327107 h 6591417"/>
              <a:gd name="connsiteX129" fmla="*/ 8309147 w 8636594"/>
              <a:gd name="connsiteY129" fmla="*/ 292718 h 6591417"/>
              <a:gd name="connsiteX130" fmla="*/ 8344256 w 8636594"/>
              <a:gd name="connsiteY130" fmla="*/ 258685 h 6591417"/>
              <a:gd name="connsiteX131" fmla="*/ 8379669 w 8636594"/>
              <a:gd name="connsiteY131" fmla="*/ 225013 h 6591417"/>
              <a:gd name="connsiteX132" fmla="*/ 8415394 w 8636594"/>
              <a:gd name="connsiteY132" fmla="*/ 191709 h 6591417"/>
              <a:gd name="connsiteX133" fmla="*/ 8451434 w 8636594"/>
              <a:gd name="connsiteY133" fmla="*/ 158780 h 6591417"/>
              <a:gd name="connsiteX134" fmla="*/ 8487798 w 8636594"/>
              <a:gd name="connsiteY134" fmla="*/ 126233 h 6591417"/>
              <a:gd name="connsiteX135" fmla="*/ 8524489 w 8636594"/>
              <a:gd name="connsiteY135" fmla="*/ 94075 h 6591417"/>
              <a:gd name="connsiteX136" fmla="*/ 8561515 w 8636594"/>
              <a:gd name="connsiteY136" fmla="*/ 62312 h 6591417"/>
              <a:gd name="connsiteX137" fmla="*/ 8598881 w 8636594"/>
              <a:gd name="connsiteY137" fmla="*/ 30951 h 6591417"/>
              <a:gd name="connsiteX138" fmla="*/ 8636594 w 8636594"/>
              <a:gd name="connsiteY138" fmla="*/ 0 h 6591417"/>
              <a:gd name="connsiteX0" fmla="*/ 8636594 w 8636594"/>
              <a:gd name="connsiteY0" fmla="*/ 0 h 6580040"/>
              <a:gd name="connsiteX1" fmla="*/ 5293 w 8636594"/>
              <a:gd name="connsiteY1" fmla="*/ 0 h 6580040"/>
              <a:gd name="connsiteX2" fmla="*/ 0 w 8636594"/>
              <a:gd name="connsiteY2" fmla="*/ 5587843 h 6580040"/>
              <a:gd name="connsiteX3" fmla="*/ 1594033 w 8636594"/>
              <a:gd name="connsiteY3" fmla="*/ 5600057 h 6580040"/>
              <a:gd name="connsiteX4" fmla="*/ 1686068 w 8636594"/>
              <a:gd name="connsiteY4" fmla="*/ 5599745 h 6580040"/>
              <a:gd name="connsiteX5" fmla="*/ 2302482 w 8636594"/>
              <a:gd name="connsiteY5" fmla="*/ 6580040 h 6580040"/>
              <a:gd name="connsiteX6" fmla="*/ 2359737 w 8636594"/>
              <a:gd name="connsiteY6" fmla="*/ 6568233 h 6580040"/>
              <a:gd name="connsiteX7" fmla="*/ 2416341 w 8636594"/>
              <a:gd name="connsiteY7" fmla="*/ 6555999 h 6580040"/>
              <a:gd name="connsiteX8" fmla="*/ 2472299 w 8636594"/>
              <a:gd name="connsiteY8" fmla="*/ 6543344 h 6580040"/>
              <a:gd name="connsiteX9" fmla="*/ 2527618 w 8636594"/>
              <a:gd name="connsiteY9" fmla="*/ 6530269 h 6580040"/>
              <a:gd name="connsiteX10" fmla="*/ 2582304 w 8636594"/>
              <a:gd name="connsiteY10" fmla="*/ 6516778 h 6580040"/>
              <a:gd name="connsiteX11" fmla="*/ 2636364 w 8636594"/>
              <a:gd name="connsiteY11" fmla="*/ 6502876 h 6580040"/>
              <a:gd name="connsiteX12" fmla="*/ 2689804 w 8636594"/>
              <a:gd name="connsiteY12" fmla="*/ 6488565 h 6580040"/>
              <a:gd name="connsiteX13" fmla="*/ 2742629 w 8636594"/>
              <a:gd name="connsiteY13" fmla="*/ 6473849 h 6580040"/>
              <a:gd name="connsiteX14" fmla="*/ 2794848 w 8636594"/>
              <a:gd name="connsiteY14" fmla="*/ 6458731 h 6580040"/>
              <a:gd name="connsiteX15" fmla="*/ 2846466 w 8636594"/>
              <a:gd name="connsiteY15" fmla="*/ 6443216 h 6580040"/>
              <a:gd name="connsiteX16" fmla="*/ 2897488 w 8636594"/>
              <a:gd name="connsiteY16" fmla="*/ 6427305 h 6580040"/>
              <a:gd name="connsiteX17" fmla="*/ 2947923 w 8636594"/>
              <a:gd name="connsiteY17" fmla="*/ 6411004 h 6580040"/>
              <a:gd name="connsiteX18" fmla="*/ 2997775 w 8636594"/>
              <a:gd name="connsiteY18" fmla="*/ 6394316 h 6580040"/>
              <a:gd name="connsiteX19" fmla="*/ 3047052 w 8636594"/>
              <a:gd name="connsiteY19" fmla="*/ 6377243 h 6580040"/>
              <a:gd name="connsiteX20" fmla="*/ 3095759 w 8636594"/>
              <a:gd name="connsiteY20" fmla="*/ 6359791 h 6580040"/>
              <a:gd name="connsiteX21" fmla="*/ 3143903 w 8636594"/>
              <a:gd name="connsiteY21" fmla="*/ 6341961 h 6580040"/>
              <a:gd name="connsiteX22" fmla="*/ 3191491 w 8636594"/>
              <a:gd name="connsiteY22" fmla="*/ 6323757 h 6580040"/>
              <a:gd name="connsiteX23" fmla="*/ 3238528 w 8636594"/>
              <a:gd name="connsiteY23" fmla="*/ 6305184 h 6580040"/>
              <a:gd name="connsiteX24" fmla="*/ 3285021 w 8636594"/>
              <a:gd name="connsiteY24" fmla="*/ 6286245 h 6580040"/>
              <a:gd name="connsiteX25" fmla="*/ 3330977 w 8636594"/>
              <a:gd name="connsiteY25" fmla="*/ 6266942 h 6580040"/>
              <a:gd name="connsiteX26" fmla="*/ 3376401 w 8636594"/>
              <a:gd name="connsiteY26" fmla="*/ 6247281 h 6580040"/>
              <a:gd name="connsiteX27" fmla="*/ 3421300 w 8636594"/>
              <a:gd name="connsiteY27" fmla="*/ 6227263 h 6580040"/>
              <a:gd name="connsiteX28" fmla="*/ 3465680 w 8636594"/>
              <a:gd name="connsiteY28" fmla="*/ 6206893 h 6580040"/>
              <a:gd name="connsiteX29" fmla="*/ 3509548 w 8636594"/>
              <a:gd name="connsiteY29" fmla="*/ 6186174 h 6580040"/>
              <a:gd name="connsiteX30" fmla="*/ 3552910 w 8636594"/>
              <a:gd name="connsiteY30" fmla="*/ 6165110 h 6580040"/>
              <a:gd name="connsiteX31" fmla="*/ 3595773 w 8636594"/>
              <a:gd name="connsiteY31" fmla="*/ 6143704 h 6580040"/>
              <a:gd name="connsiteX32" fmla="*/ 3638142 w 8636594"/>
              <a:gd name="connsiteY32" fmla="*/ 6121960 h 6580040"/>
              <a:gd name="connsiteX33" fmla="*/ 3680024 w 8636594"/>
              <a:gd name="connsiteY33" fmla="*/ 6099881 h 6580040"/>
              <a:gd name="connsiteX34" fmla="*/ 3721426 w 8636594"/>
              <a:gd name="connsiteY34" fmla="*/ 6077471 h 6580040"/>
              <a:gd name="connsiteX35" fmla="*/ 3762353 w 8636594"/>
              <a:gd name="connsiteY35" fmla="*/ 6054733 h 6580040"/>
              <a:gd name="connsiteX36" fmla="*/ 3802812 w 8636594"/>
              <a:gd name="connsiteY36" fmla="*/ 6031671 h 6580040"/>
              <a:gd name="connsiteX37" fmla="*/ 3842810 w 8636594"/>
              <a:gd name="connsiteY37" fmla="*/ 6008288 h 6580040"/>
              <a:gd name="connsiteX38" fmla="*/ 3882352 w 8636594"/>
              <a:gd name="connsiteY38" fmla="*/ 5984588 h 6580040"/>
              <a:gd name="connsiteX39" fmla="*/ 3921445 w 8636594"/>
              <a:gd name="connsiteY39" fmla="*/ 5960574 h 6580040"/>
              <a:gd name="connsiteX40" fmla="*/ 3960096 w 8636594"/>
              <a:gd name="connsiteY40" fmla="*/ 5936250 h 6580040"/>
              <a:gd name="connsiteX41" fmla="*/ 3998311 w 8636594"/>
              <a:gd name="connsiteY41" fmla="*/ 5911619 h 6580040"/>
              <a:gd name="connsiteX42" fmla="*/ 4036095 w 8636594"/>
              <a:gd name="connsiteY42" fmla="*/ 5886685 h 6580040"/>
              <a:gd name="connsiteX43" fmla="*/ 4073456 w 8636594"/>
              <a:gd name="connsiteY43" fmla="*/ 5861452 h 6580040"/>
              <a:gd name="connsiteX44" fmla="*/ 4110400 w 8636594"/>
              <a:gd name="connsiteY44" fmla="*/ 5835922 h 6580040"/>
              <a:gd name="connsiteX45" fmla="*/ 4146933 w 8636594"/>
              <a:gd name="connsiteY45" fmla="*/ 5810100 h 6580040"/>
              <a:gd name="connsiteX46" fmla="*/ 4183061 w 8636594"/>
              <a:gd name="connsiteY46" fmla="*/ 5783988 h 6580040"/>
              <a:gd name="connsiteX47" fmla="*/ 4218791 w 8636594"/>
              <a:gd name="connsiteY47" fmla="*/ 5757591 h 6580040"/>
              <a:gd name="connsiteX48" fmla="*/ 4254129 w 8636594"/>
              <a:gd name="connsiteY48" fmla="*/ 5730912 h 6580040"/>
              <a:gd name="connsiteX49" fmla="*/ 4289081 w 8636594"/>
              <a:gd name="connsiteY49" fmla="*/ 5703955 h 6580040"/>
              <a:gd name="connsiteX50" fmla="*/ 4323654 w 8636594"/>
              <a:gd name="connsiteY50" fmla="*/ 5676722 h 6580040"/>
              <a:gd name="connsiteX51" fmla="*/ 4357854 w 8636594"/>
              <a:gd name="connsiteY51" fmla="*/ 5649218 h 6580040"/>
              <a:gd name="connsiteX52" fmla="*/ 4391688 w 8636594"/>
              <a:gd name="connsiteY52" fmla="*/ 5621446 h 6580040"/>
              <a:gd name="connsiteX53" fmla="*/ 4425162 w 8636594"/>
              <a:gd name="connsiteY53" fmla="*/ 5593409 h 6580040"/>
              <a:gd name="connsiteX54" fmla="*/ 4458281 w 8636594"/>
              <a:gd name="connsiteY54" fmla="*/ 5565111 h 6580040"/>
              <a:gd name="connsiteX55" fmla="*/ 4491053 w 8636594"/>
              <a:gd name="connsiteY55" fmla="*/ 5536556 h 6580040"/>
              <a:gd name="connsiteX56" fmla="*/ 4523484 w 8636594"/>
              <a:gd name="connsiteY56" fmla="*/ 5507747 h 6580040"/>
              <a:gd name="connsiteX57" fmla="*/ 4555580 w 8636594"/>
              <a:gd name="connsiteY57" fmla="*/ 5478687 h 6580040"/>
              <a:gd name="connsiteX58" fmla="*/ 4587347 w 8636594"/>
              <a:gd name="connsiteY58" fmla="*/ 5449380 h 6580040"/>
              <a:gd name="connsiteX59" fmla="*/ 4618793 w 8636594"/>
              <a:gd name="connsiteY59" fmla="*/ 5419830 h 6580040"/>
              <a:gd name="connsiteX60" fmla="*/ 4649922 w 8636594"/>
              <a:gd name="connsiteY60" fmla="*/ 5390040 h 6580040"/>
              <a:gd name="connsiteX61" fmla="*/ 4680742 w 8636594"/>
              <a:gd name="connsiteY61" fmla="*/ 5360014 h 6580040"/>
              <a:gd name="connsiteX62" fmla="*/ 4711259 w 8636594"/>
              <a:gd name="connsiteY62" fmla="*/ 5329755 h 6580040"/>
              <a:gd name="connsiteX63" fmla="*/ 4741478 w 8636594"/>
              <a:gd name="connsiteY63" fmla="*/ 5299266 h 6580040"/>
              <a:gd name="connsiteX64" fmla="*/ 4771408 w 8636594"/>
              <a:gd name="connsiteY64" fmla="*/ 5268551 h 6580040"/>
              <a:gd name="connsiteX65" fmla="*/ 4801053 w 8636594"/>
              <a:gd name="connsiteY65" fmla="*/ 5237614 h 6580040"/>
              <a:gd name="connsiteX66" fmla="*/ 4830420 w 8636594"/>
              <a:gd name="connsiteY66" fmla="*/ 5206458 h 6580040"/>
              <a:gd name="connsiteX67" fmla="*/ 4859516 w 8636594"/>
              <a:gd name="connsiteY67" fmla="*/ 5175087 h 6580040"/>
              <a:gd name="connsiteX68" fmla="*/ 4888347 w 8636594"/>
              <a:gd name="connsiteY68" fmla="*/ 5143504 h 6580040"/>
              <a:gd name="connsiteX69" fmla="*/ 4916919 w 8636594"/>
              <a:gd name="connsiteY69" fmla="*/ 5111713 h 6580040"/>
              <a:gd name="connsiteX70" fmla="*/ 4945238 w 8636594"/>
              <a:gd name="connsiteY70" fmla="*/ 5079717 h 6580040"/>
              <a:gd name="connsiteX71" fmla="*/ 4973311 w 8636594"/>
              <a:gd name="connsiteY71" fmla="*/ 5047519 h 6580040"/>
              <a:gd name="connsiteX72" fmla="*/ 5001145 w 8636594"/>
              <a:gd name="connsiteY72" fmla="*/ 5015124 h 6580040"/>
              <a:gd name="connsiteX73" fmla="*/ 5028745 w 8636594"/>
              <a:gd name="connsiteY73" fmla="*/ 4982535 h 6580040"/>
              <a:gd name="connsiteX74" fmla="*/ 5056117 w 8636594"/>
              <a:gd name="connsiteY74" fmla="*/ 4949755 h 6580040"/>
              <a:gd name="connsiteX75" fmla="*/ 5083269 w 8636594"/>
              <a:gd name="connsiteY75" fmla="*/ 4916787 h 6580040"/>
              <a:gd name="connsiteX76" fmla="*/ 5110207 w 8636594"/>
              <a:gd name="connsiteY76" fmla="*/ 4883636 h 6580040"/>
              <a:gd name="connsiteX77" fmla="*/ 5136937 w 8636594"/>
              <a:gd name="connsiteY77" fmla="*/ 4850305 h 6580040"/>
              <a:gd name="connsiteX78" fmla="*/ 5163464 w 8636594"/>
              <a:gd name="connsiteY78" fmla="*/ 4816797 h 6580040"/>
              <a:gd name="connsiteX79" fmla="*/ 5215940 w 8636594"/>
              <a:gd name="connsiteY79" fmla="*/ 4749265 h 6580040"/>
              <a:gd name="connsiteX80" fmla="*/ 5267684 w 8636594"/>
              <a:gd name="connsiteY80" fmla="*/ 4681068 h 6580040"/>
              <a:gd name="connsiteX81" fmla="*/ 5318748 w 8636594"/>
              <a:gd name="connsiteY81" fmla="*/ 4612234 h 6580040"/>
              <a:gd name="connsiteX82" fmla="*/ 5369182 w 8636594"/>
              <a:gd name="connsiteY82" fmla="*/ 4542793 h 6580040"/>
              <a:gd name="connsiteX83" fmla="*/ 5419038 w 8636594"/>
              <a:gd name="connsiteY83" fmla="*/ 4472771 h 6580040"/>
              <a:gd name="connsiteX84" fmla="*/ 5468365 w 8636594"/>
              <a:gd name="connsiteY84" fmla="*/ 4402196 h 6580040"/>
              <a:gd name="connsiteX85" fmla="*/ 5517215 w 8636594"/>
              <a:gd name="connsiteY85" fmla="*/ 4331098 h 6580040"/>
              <a:gd name="connsiteX86" fmla="*/ 5565637 w 8636594"/>
              <a:gd name="connsiteY86" fmla="*/ 4259503 h 6580040"/>
              <a:gd name="connsiteX87" fmla="*/ 5613684 w 8636594"/>
              <a:gd name="connsiteY87" fmla="*/ 4187441 h 6580040"/>
              <a:gd name="connsiteX88" fmla="*/ 5685160 w 8636594"/>
              <a:gd name="connsiteY88" fmla="*/ 4078531 h 6580040"/>
              <a:gd name="connsiteX89" fmla="*/ 5756074 w 8636594"/>
              <a:gd name="connsiteY89" fmla="*/ 3968727 h 6580040"/>
              <a:gd name="connsiteX90" fmla="*/ 5873483 w 8636594"/>
              <a:gd name="connsiteY90" fmla="*/ 3783989 h 6580040"/>
              <a:gd name="connsiteX91" fmla="*/ 6203209 w 8636594"/>
              <a:gd name="connsiteY91" fmla="*/ 3258640 h 6580040"/>
              <a:gd name="connsiteX92" fmla="*/ 6299430 w 8636594"/>
              <a:gd name="connsiteY92" fmla="*/ 3107321 h 6580040"/>
              <a:gd name="connsiteX93" fmla="*/ 6372650 w 8636594"/>
              <a:gd name="connsiteY93" fmla="*/ 2993735 h 6580040"/>
              <a:gd name="connsiteX94" fmla="*/ 6453197 w 8636594"/>
              <a:gd name="connsiteY94" fmla="*/ 2869788 h 6580040"/>
              <a:gd name="connsiteX95" fmla="*/ 6564167 w 8636594"/>
              <a:gd name="connsiteY95" fmla="*/ 2696807 h 6580040"/>
              <a:gd name="connsiteX96" fmla="*/ 6976233 w 8636594"/>
              <a:gd name="connsiteY96" fmla="*/ 2045274 h 6580040"/>
              <a:gd name="connsiteX97" fmla="*/ 7086755 w 8636594"/>
              <a:gd name="connsiteY97" fmla="*/ 1872743 h 6580040"/>
              <a:gd name="connsiteX98" fmla="*/ 7170279 w 8636594"/>
              <a:gd name="connsiteY98" fmla="*/ 1744202 h 6580040"/>
              <a:gd name="connsiteX99" fmla="*/ 7226351 w 8636594"/>
              <a:gd name="connsiteY99" fmla="*/ 1659017 h 6580040"/>
              <a:gd name="connsiteX100" fmla="*/ 7282789 w 8636594"/>
              <a:gd name="connsiteY100" fmla="*/ 1574303 h 6580040"/>
              <a:gd name="connsiteX101" fmla="*/ 7339643 w 8636594"/>
              <a:gd name="connsiteY101" fmla="*/ 1490113 h 6580040"/>
              <a:gd name="connsiteX102" fmla="*/ 7396957 w 8636594"/>
              <a:gd name="connsiteY102" fmla="*/ 1406503 h 6580040"/>
              <a:gd name="connsiteX103" fmla="*/ 7454781 w 8636594"/>
              <a:gd name="connsiteY103" fmla="*/ 1323526 h 6580040"/>
              <a:gd name="connsiteX104" fmla="*/ 7513161 w 8636594"/>
              <a:gd name="connsiteY104" fmla="*/ 1241237 h 6580040"/>
              <a:gd name="connsiteX105" fmla="*/ 7572144 w 8636594"/>
              <a:gd name="connsiteY105" fmla="*/ 1159689 h 6580040"/>
              <a:gd name="connsiteX106" fmla="*/ 7601877 w 8636594"/>
              <a:gd name="connsiteY106" fmla="*/ 1119210 h 6580040"/>
              <a:gd name="connsiteX107" fmla="*/ 7631779 w 8636594"/>
              <a:gd name="connsiteY107" fmla="*/ 1078937 h 6580040"/>
              <a:gd name="connsiteX108" fmla="*/ 7661855 w 8636594"/>
              <a:gd name="connsiteY108" fmla="*/ 1038876 h 6580040"/>
              <a:gd name="connsiteX109" fmla="*/ 7692111 w 8636594"/>
              <a:gd name="connsiteY109" fmla="*/ 999035 h 6580040"/>
              <a:gd name="connsiteX110" fmla="*/ 7722554 w 8636594"/>
              <a:gd name="connsiteY110" fmla="*/ 959419 h 6580040"/>
              <a:gd name="connsiteX111" fmla="*/ 7753190 w 8636594"/>
              <a:gd name="connsiteY111" fmla="*/ 920037 h 6580040"/>
              <a:gd name="connsiteX112" fmla="*/ 7784023 w 8636594"/>
              <a:gd name="connsiteY112" fmla="*/ 880894 h 6580040"/>
              <a:gd name="connsiteX113" fmla="*/ 7815061 w 8636594"/>
              <a:gd name="connsiteY113" fmla="*/ 841997 h 6580040"/>
              <a:gd name="connsiteX114" fmla="*/ 7846308 w 8636594"/>
              <a:gd name="connsiteY114" fmla="*/ 803354 h 6580040"/>
              <a:gd name="connsiteX115" fmla="*/ 7877772 w 8636594"/>
              <a:gd name="connsiteY115" fmla="*/ 764970 h 6580040"/>
              <a:gd name="connsiteX116" fmla="*/ 7909458 w 8636594"/>
              <a:gd name="connsiteY116" fmla="*/ 726853 h 6580040"/>
              <a:gd name="connsiteX117" fmla="*/ 7941371 w 8636594"/>
              <a:gd name="connsiteY117" fmla="*/ 689010 h 6580040"/>
              <a:gd name="connsiteX118" fmla="*/ 7973518 w 8636594"/>
              <a:gd name="connsiteY118" fmla="*/ 651447 h 6580040"/>
              <a:gd name="connsiteX119" fmla="*/ 8005905 w 8636594"/>
              <a:gd name="connsiteY119" fmla="*/ 614171 h 6580040"/>
              <a:gd name="connsiteX120" fmla="*/ 8038538 w 8636594"/>
              <a:gd name="connsiteY120" fmla="*/ 577189 h 6580040"/>
              <a:gd name="connsiteX121" fmla="*/ 8071421 w 8636594"/>
              <a:gd name="connsiteY121" fmla="*/ 540507 h 6580040"/>
              <a:gd name="connsiteX122" fmla="*/ 8104563 w 8636594"/>
              <a:gd name="connsiteY122" fmla="*/ 504132 h 6580040"/>
              <a:gd name="connsiteX123" fmla="*/ 8137967 w 8636594"/>
              <a:gd name="connsiteY123" fmla="*/ 468072 h 6580040"/>
              <a:gd name="connsiteX124" fmla="*/ 8171641 w 8636594"/>
              <a:gd name="connsiteY124" fmla="*/ 432332 h 6580040"/>
              <a:gd name="connsiteX125" fmla="*/ 8205590 w 8636594"/>
              <a:gd name="connsiteY125" fmla="*/ 396920 h 6580040"/>
              <a:gd name="connsiteX126" fmla="*/ 8239820 w 8636594"/>
              <a:gd name="connsiteY126" fmla="*/ 361843 h 6580040"/>
              <a:gd name="connsiteX127" fmla="*/ 8274337 w 8636594"/>
              <a:gd name="connsiteY127" fmla="*/ 327107 h 6580040"/>
              <a:gd name="connsiteX128" fmla="*/ 8309147 w 8636594"/>
              <a:gd name="connsiteY128" fmla="*/ 292718 h 6580040"/>
              <a:gd name="connsiteX129" fmla="*/ 8344256 w 8636594"/>
              <a:gd name="connsiteY129" fmla="*/ 258685 h 6580040"/>
              <a:gd name="connsiteX130" fmla="*/ 8379669 w 8636594"/>
              <a:gd name="connsiteY130" fmla="*/ 225013 h 6580040"/>
              <a:gd name="connsiteX131" fmla="*/ 8415394 w 8636594"/>
              <a:gd name="connsiteY131" fmla="*/ 191709 h 6580040"/>
              <a:gd name="connsiteX132" fmla="*/ 8451434 w 8636594"/>
              <a:gd name="connsiteY132" fmla="*/ 158780 h 6580040"/>
              <a:gd name="connsiteX133" fmla="*/ 8487798 w 8636594"/>
              <a:gd name="connsiteY133" fmla="*/ 126233 h 6580040"/>
              <a:gd name="connsiteX134" fmla="*/ 8524489 w 8636594"/>
              <a:gd name="connsiteY134" fmla="*/ 94075 h 6580040"/>
              <a:gd name="connsiteX135" fmla="*/ 8561515 w 8636594"/>
              <a:gd name="connsiteY135" fmla="*/ 62312 h 6580040"/>
              <a:gd name="connsiteX136" fmla="*/ 8598881 w 8636594"/>
              <a:gd name="connsiteY136" fmla="*/ 30951 h 6580040"/>
              <a:gd name="connsiteX137" fmla="*/ 8636594 w 8636594"/>
              <a:gd name="connsiteY137" fmla="*/ 0 h 6580040"/>
              <a:gd name="connsiteX0" fmla="*/ 8636594 w 8636594"/>
              <a:gd name="connsiteY0" fmla="*/ 0 h 6568233"/>
              <a:gd name="connsiteX1" fmla="*/ 5293 w 8636594"/>
              <a:gd name="connsiteY1" fmla="*/ 0 h 6568233"/>
              <a:gd name="connsiteX2" fmla="*/ 0 w 8636594"/>
              <a:gd name="connsiteY2" fmla="*/ 5587843 h 6568233"/>
              <a:gd name="connsiteX3" fmla="*/ 1594033 w 8636594"/>
              <a:gd name="connsiteY3" fmla="*/ 5600057 h 6568233"/>
              <a:gd name="connsiteX4" fmla="*/ 1686068 w 8636594"/>
              <a:gd name="connsiteY4" fmla="*/ 5599745 h 6568233"/>
              <a:gd name="connsiteX5" fmla="*/ 2359737 w 8636594"/>
              <a:gd name="connsiteY5" fmla="*/ 6568233 h 6568233"/>
              <a:gd name="connsiteX6" fmla="*/ 2416341 w 8636594"/>
              <a:gd name="connsiteY6" fmla="*/ 6555999 h 6568233"/>
              <a:gd name="connsiteX7" fmla="*/ 2472299 w 8636594"/>
              <a:gd name="connsiteY7" fmla="*/ 6543344 h 6568233"/>
              <a:gd name="connsiteX8" fmla="*/ 2527618 w 8636594"/>
              <a:gd name="connsiteY8" fmla="*/ 6530269 h 6568233"/>
              <a:gd name="connsiteX9" fmla="*/ 2582304 w 8636594"/>
              <a:gd name="connsiteY9" fmla="*/ 6516778 h 6568233"/>
              <a:gd name="connsiteX10" fmla="*/ 2636364 w 8636594"/>
              <a:gd name="connsiteY10" fmla="*/ 6502876 h 6568233"/>
              <a:gd name="connsiteX11" fmla="*/ 2689804 w 8636594"/>
              <a:gd name="connsiteY11" fmla="*/ 6488565 h 6568233"/>
              <a:gd name="connsiteX12" fmla="*/ 2742629 w 8636594"/>
              <a:gd name="connsiteY12" fmla="*/ 6473849 h 6568233"/>
              <a:gd name="connsiteX13" fmla="*/ 2794848 w 8636594"/>
              <a:gd name="connsiteY13" fmla="*/ 6458731 h 6568233"/>
              <a:gd name="connsiteX14" fmla="*/ 2846466 w 8636594"/>
              <a:gd name="connsiteY14" fmla="*/ 6443216 h 6568233"/>
              <a:gd name="connsiteX15" fmla="*/ 2897488 w 8636594"/>
              <a:gd name="connsiteY15" fmla="*/ 6427305 h 6568233"/>
              <a:gd name="connsiteX16" fmla="*/ 2947923 w 8636594"/>
              <a:gd name="connsiteY16" fmla="*/ 6411004 h 6568233"/>
              <a:gd name="connsiteX17" fmla="*/ 2997775 w 8636594"/>
              <a:gd name="connsiteY17" fmla="*/ 6394316 h 6568233"/>
              <a:gd name="connsiteX18" fmla="*/ 3047052 w 8636594"/>
              <a:gd name="connsiteY18" fmla="*/ 6377243 h 6568233"/>
              <a:gd name="connsiteX19" fmla="*/ 3095759 w 8636594"/>
              <a:gd name="connsiteY19" fmla="*/ 6359791 h 6568233"/>
              <a:gd name="connsiteX20" fmla="*/ 3143903 w 8636594"/>
              <a:gd name="connsiteY20" fmla="*/ 6341961 h 6568233"/>
              <a:gd name="connsiteX21" fmla="*/ 3191491 w 8636594"/>
              <a:gd name="connsiteY21" fmla="*/ 6323757 h 6568233"/>
              <a:gd name="connsiteX22" fmla="*/ 3238528 w 8636594"/>
              <a:gd name="connsiteY22" fmla="*/ 6305184 h 6568233"/>
              <a:gd name="connsiteX23" fmla="*/ 3285021 w 8636594"/>
              <a:gd name="connsiteY23" fmla="*/ 6286245 h 6568233"/>
              <a:gd name="connsiteX24" fmla="*/ 3330977 w 8636594"/>
              <a:gd name="connsiteY24" fmla="*/ 6266942 h 6568233"/>
              <a:gd name="connsiteX25" fmla="*/ 3376401 w 8636594"/>
              <a:gd name="connsiteY25" fmla="*/ 6247281 h 6568233"/>
              <a:gd name="connsiteX26" fmla="*/ 3421300 w 8636594"/>
              <a:gd name="connsiteY26" fmla="*/ 6227263 h 6568233"/>
              <a:gd name="connsiteX27" fmla="*/ 3465680 w 8636594"/>
              <a:gd name="connsiteY27" fmla="*/ 6206893 h 6568233"/>
              <a:gd name="connsiteX28" fmla="*/ 3509548 w 8636594"/>
              <a:gd name="connsiteY28" fmla="*/ 6186174 h 6568233"/>
              <a:gd name="connsiteX29" fmla="*/ 3552910 w 8636594"/>
              <a:gd name="connsiteY29" fmla="*/ 6165110 h 6568233"/>
              <a:gd name="connsiteX30" fmla="*/ 3595773 w 8636594"/>
              <a:gd name="connsiteY30" fmla="*/ 6143704 h 6568233"/>
              <a:gd name="connsiteX31" fmla="*/ 3638142 w 8636594"/>
              <a:gd name="connsiteY31" fmla="*/ 6121960 h 6568233"/>
              <a:gd name="connsiteX32" fmla="*/ 3680024 w 8636594"/>
              <a:gd name="connsiteY32" fmla="*/ 6099881 h 6568233"/>
              <a:gd name="connsiteX33" fmla="*/ 3721426 w 8636594"/>
              <a:gd name="connsiteY33" fmla="*/ 6077471 h 6568233"/>
              <a:gd name="connsiteX34" fmla="*/ 3762353 w 8636594"/>
              <a:gd name="connsiteY34" fmla="*/ 6054733 h 6568233"/>
              <a:gd name="connsiteX35" fmla="*/ 3802812 w 8636594"/>
              <a:gd name="connsiteY35" fmla="*/ 6031671 h 6568233"/>
              <a:gd name="connsiteX36" fmla="*/ 3842810 w 8636594"/>
              <a:gd name="connsiteY36" fmla="*/ 6008288 h 6568233"/>
              <a:gd name="connsiteX37" fmla="*/ 3882352 w 8636594"/>
              <a:gd name="connsiteY37" fmla="*/ 5984588 h 6568233"/>
              <a:gd name="connsiteX38" fmla="*/ 3921445 w 8636594"/>
              <a:gd name="connsiteY38" fmla="*/ 5960574 h 6568233"/>
              <a:gd name="connsiteX39" fmla="*/ 3960096 w 8636594"/>
              <a:gd name="connsiteY39" fmla="*/ 5936250 h 6568233"/>
              <a:gd name="connsiteX40" fmla="*/ 3998311 w 8636594"/>
              <a:gd name="connsiteY40" fmla="*/ 5911619 h 6568233"/>
              <a:gd name="connsiteX41" fmla="*/ 4036095 w 8636594"/>
              <a:gd name="connsiteY41" fmla="*/ 5886685 h 6568233"/>
              <a:gd name="connsiteX42" fmla="*/ 4073456 w 8636594"/>
              <a:gd name="connsiteY42" fmla="*/ 5861452 h 6568233"/>
              <a:gd name="connsiteX43" fmla="*/ 4110400 w 8636594"/>
              <a:gd name="connsiteY43" fmla="*/ 5835922 h 6568233"/>
              <a:gd name="connsiteX44" fmla="*/ 4146933 w 8636594"/>
              <a:gd name="connsiteY44" fmla="*/ 5810100 h 6568233"/>
              <a:gd name="connsiteX45" fmla="*/ 4183061 w 8636594"/>
              <a:gd name="connsiteY45" fmla="*/ 5783988 h 6568233"/>
              <a:gd name="connsiteX46" fmla="*/ 4218791 w 8636594"/>
              <a:gd name="connsiteY46" fmla="*/ 5757591 h 6568233"/>
              <a:gd name="connsiteX47" fmla="*/ 4254129 w 8636594"/>
              <a:gd name="connsiteY47" fmla="*/ 5730912 h 6568233"/>
              <a:gd name="connsiteX48" fmla="*/ 4289081 w 8636594"/>
              <a:gd name="connsiteY48" fmla="*/ 5703955 h 6568233"/>
              <a:gd name="connsiteX49" fmla="*/ 4323654 w 8636594"/>
              <a:gd name="connsiteY49" fmla="*/ 5676722 h 6568233"/>
              <a:gd name="connsiteX50" fmla="*/ 4357854 w 8636594"/>
              <a:gd name="connsiteY50" fmla="*/ 5649218 h 6568233"/>
              <a:gd name="connsiteX51" fmla="*/ 4391688 w 8636594"/>
              <a:gd name="connsiteY51" fmla="*/ 5621446 h 6568233"/>
              <a:gd name="connsiteX52" fmla="*/ 4425162 w 8636594"/>
              <a:gd name="connsiteY52" fmla="*/ 5593409 h 6568233"/>
              <a:gd name="connsiteX53" fmla="*/ 4458281 w 8636594"/>
              <a:gd name="connsiteY53" fmla="*/ 5565111 h 6568233"/>
              <a:gd name="connsiteX54" fmla="*/ 4491053 w 8636594"/>
              <a:gd name="connsiteY54" fmla="*/ 5536556 h 6568233"/>
              <a:gd name="connsiteX55" fmla="*/ 4523484 w 8636594"/>
              <a:gd name="connsiteY55" fmla="*/ 5507747 h 6568233"/>
              <a:gd name="connsiteX56" fmla="*/ 4555580 w 8636594"/>
              <a:gd name="connsiteY56" fmla="*/ 5478687 h 6568233"/>
              <a:gd name="connsiteX57" fmla="*/ 4587347 w 8636594"/>
              <a:gd name="connsiteY57" fmla="*/ 5449380 h 6568233"/>
              <a:gd name="connsiteX58" fmla="*/ 4618793 w 8636594"/>
              <a:gd name="connsiteY58" fmla="*/ 5419830 h 6568233"/>
              <a:gd name="connsiteX59" fmla="*/ 4649922 w 8636594"/>
              <a:gd name="connsiteY59" fmla="*/ 5390040 h 6568233"/>
              <a:gd name="connsiteX60" fmla="*/ 4680742 w 8636594"/>
              <a:gd name="connsiteY60" fmla="*/ 5360014 h 6568233"/>
              <a:gd name="connsiteX61" fmla="*/ 4711259 w 8636594"/>
              <a:gd name="connsiteY61" fmla="*/ 5329755 h 6568233"/>
              <a:gd name="connsiteX62" fmla="*/ 4741478 w 8636594"/>
              <a:gd name="connsiteY62" fmla="*/ 5299266 h 6568233"/>
              <a:gd name="connsiteX63" fmla="*/ 4771408 w 8636594"/>
              <a:gd name="connsiteY63" fmla="*/ 5268551 h 6568233"/>
              <a:gd name="connsiteX64" fmla="*/ 4801053 w 8636594"/>
              <a:gd name="connsiteY64" fmla="*/ 5237614 h 6568233"/>
              <a:gd name="connsiteX65" fmla="*/ 4830420 w 8636594"/>
              <a:gd name="connsiteY65" fmla="*/ 5206458 h 6568233"/>
              <a:gd name="connsiteX66" fmla="*/ 4859516 w 8636594"/>
              <a:gd name="connsiteY66" fmla="*/ 5175087 h 6568233"/>
              <a:gd name="connsiteX67" fmla="*/ 4888347 w 8636594"/>
              <a:gd name="connsiteY67" fmla="*/ 5143504 h 6568233"/>
              <a:gd name="connsiteX68" fmla="*/ 4916919 w 8636594"/>
              <a:gd name="connsiteY68" fmla="*/ 5111713 h 6568233"/>
              <a:gd name="connsiteX69" fmla="*/ 4945238 w 8636594"/>
              <a:gd name="connsiteY69" fmla="*/ 5079717 h 6568233"/>
              <a:gd name="connsiteX70" fmla="*/ 4973311 w 8636594"/>
              <a:gd name="connsiteY70" fmla="*/ 5047519 h 6568233"/>
              <a:gd name="connsiteX71" fmla="*/ 5001145 w 8636594"/>
              <a:gd name="connsiteY71" fmla="*/ 5015124 h 6568233"/>
              <a:gd name="connsiteX72" fmla="*/ 5028745 w 8636594"/>
              <a:gd name="connsiteY72" fmla="*/ 4982535 h 6568233"/>
              <a:gd name="connsiteX73" fmla="*/ 5056117 w 8636594"/>
              <a:gd name="connsiteY73" fmla="*/ 4949755 h 6568233"/>
              <a:gd name="connsiteX74" fmla="*/ 5083269 w 8636594"/>
              <a:gd name="connsiteY74" fmla="*/ 4916787 h 6568233"/>
              <a:gd name="connsiteX75" fmla="*/ 5110207 w 8636594"/>
              <a:gd name="connsiteY75" fmla="*/ 4883636 h 6568233"/>
              <a:gd name="connsiteX76" fmla="*/ 5136937 w 8636594"/>
              <a:gd name="connsiteY76" fmla="*/ 4850305 h 6568233"/>
              <a:gd name="connsiteX77" fmla="*/ 5163464 w 8636594"/>
              <a:gd name="connsiteY77" fmla="*/ 4816797 h 6568233"/>
              <a:gd name="connsiteX78" fmla="*/ 5215940 w 8636594"/>
              <a:gd name="connsiteY78" fmla="*/ 4749265 h 6568233"/>
              <a:gd name="connsiteX79" fmla="*/ 5267684 w 8636594"/>
              <a:gd name="connsiteY79" fmla="*/ 4681068 h 6568233"/>
              <a:gd name="connsiteX80" fmla="*/ 5318748 w 8636594"/>
              <a:gd name="connsiteY80" fmla="*/ 4612234 h 6568233"/>
              <a:gd name="connsiteX81" fmla="*/ 5369182 w 8636594"/>
              <a:gd name="connsiteY81" fmla="*/ 4542793 h 6568233"/>
              <a:gd name="connsiteX82" fmla="*/ 5419038 w 8636594"/>
              <a:gd name="connsiteY82" fmla="*/ 4472771 h 6568233"/>
              <a:gd name="connsiteX83" fmla="*/ 5468365 w 8636594"/>
              <a:gd name="connsiteY83" fmla="*/ 4402196 h 6568233"/>
              <a:gd name="connsiteX84" fmla="*/ 5517215 w 8636594"/>
              <a:gd name="connsiteY84" fmla="*/ 4331098 h 6568233"/>
              <a:gd name="connsiteX85" fmla="*/ 5565637 w 8636594"/>
              <a:gd name="connsiteY85" fmla="*/ 4259503 h 6568233"/>
              <a:gd name="connsiteX86" fmla="*/ 5613684 w 8636594"/>
              <a:gd name="connsiteY86" fmla="*/ 4187441 h 6568233"/>
              <a:gd name="connsiteX87" fmla="*/ 5685160 w 8636594"/>
              <a:gd name="connsiteY87" fmla="*/ 4078531 h 6568233"/>
              <a:gd name="connsiteX88" fmla="*/ 5756074 w 8636594"/>
              <a:gd name="connsiteY88" fmla="*/ 3968727 h 6568233"/>
              <a:gd name="connsiteX89" fmla="*/ 5873483 w 8636594"/>
              <a:gd name="connsiteY89" fmla="*/ 3783989 h 6568233"/>
              <a:gd name="connsiteX90" fmla="*/ 6203209 w 8636594"/>
              <a:gd name="connsiteY90" fmla="*/ 3258640 h 6568233"/>
              <a:gd name="connsiteX91" fmla="*/ 6299430 w 8636594"/>
              <a:gd name="connsiteY91" fmla="*/ 3107321 h 6568233"/>
              <a:gd name="connsiteX92" fmla="*/ 6372650 w 8636594"/>
              <a:gd name="connsiteY92" fmla="*/ 2993735 h 6568233"/>
              <a:gd name="connsiteX93" fmla="*/ 6453197 w 8636594"/>
              <a:gd name="connsiteY93" fmla="*/ 2869788 h 6568233"/>
              <a:gd name="connsiteX94" fmla="*/ 6564167 w 8636594"/>
              <a:gd name="connsiteY94" fmla="*/ 2696807 h 6568233"/>
              <a:gd name="connsiteX95" fmla="*/ 6976233 w 8636594"/>
              <a:gd name="connsiteY95" fmla="*/ 2045274 h 6568233"/>
              <a:gd name="connsiteX96" fmla="*/ 7086755 w 8636594"/>
              <a:gd name="connsiteY96" fmla="*/ 1872743 h 6568233"/>
              <a:gd name="connsiteX97" fmla="*/ 7170279 w 8636594"/>
              <a:gd name="connsiteY97" fmla="*/ 1744202 h 6568233"/>
              <a:gd name="connsiteX98" fmla="*/ 7226351 w 8636594"/>
              <a:gd name="connsiteY98" fmla="*/ 1659017 h 6568233"/>
              <a:gd name="connsiteX99" fmla="*/ 7282789 w 8636594"/>
              <a:gd name="connsiteY99" fmla="*/ 1574303 h 6568233"/>
              <a:gd name="connsiteX100" fmla="*/ 7339643 w 8636594"/>
              <a:gd name="connsiteY100" fmla="*/ 1490113 h 6568233"/>
              <a:gd name="connsiteX101" fmla="*/ 7396957 w 8636594"/>
              <a:gd name="connsiteY101" fmla="*/ 1406503 h 6568233"/>
              <a:gd name="connsiteX102" fmla="*/ 7454781 w 8636594"/>
              <a:gd name="connsiteY102" fmla="*/ 1323526 h 6568233"/>
              <a:gd name="connsiteX103" fmla="*/ 7513161 w 8636594"/>
              <a:gd name="connsiteY103" fmla="*/ 1241237 h 6568233"/>
              <a:gd name="connsiteX104" fmla="*/ 7572144 w 8636594"/>
              <a:gd name="connsiteY104" fmla="*/ 1159689 h 6568233"/>
              <a:gd name="connsiteX105" fmla="*/ 7601877 w 8636594"/>
              <a:gd name="connsiteY105" fmla="*/ 1119210 h 6568233"/>
              <a:gd name="connsiteX106" fmla="*/ 7631779 w 8636594"/>
              <a:gd name="connsiteY106" fmla="*/ 1078937 h 6568233"/>
              <a:gd name="connsiteX107" fmla="*/ 7661855 w 8636594"/>
              <a:gd name="connsiteY107" fmla="*/ 1038876 h 6568233"/>
              <a:gd name="connsiteX108" fmla="*/ 7692111 w 8636594"/>
              <a:gd name="connsiteY108" fmla="*/ 999035 h 6568233"/>
              <a:gd name="connsiteX109" fmla="*/ 7722554 w 8636594"/>
              <a:gd name="connsiteY109" fmla="*/ 959419 h 6568233"/>
              <a:gd name="connsiteX110" fmla="*/ 7753190 w 8636594"/>
              <a:gd name="connsiteY110" fmla="*/ 920037 h 6568233"/>
              <a:gd name="connsiteX111" fmla="*/ 7784023 w 8636594"/>
              <a:gd name="connsiteY111" fmla="*/ 880894 h 6568233"/>
              <a:gd name="connsiteX112" fmla="*/ 7815061 w 8636594"/>
              <a:gd name="connsiteY112" fmla="*/ 841997 h 6568233"/>
              <a:gd name="connsiteX113" fmla="*/ 7846308 w 8636594"/>
              <a:gd name="connsiteY113" fmla="*/ 803354 h 6568233"/>
              <a:gd name="connsiteX114" fmla="*/ 7877772 w 8636594"/>
              <a:gd name="connsiteY114" fmla="*/ 764970 h 6568233"/>
              <a:gd name="connsiteX115" fmla="*/ 7909458 w 8636594"/>
              <a:gd name="connsiteY115" fmla="*/ 726853 h 6568233"/>
              <a:gd name="connsiteX116" fmla="*/ 7941371 w 8636594"/>
              <a:gd name="connsiteY116" fmla="*/ 689010 h 6568233"/>
              <a:gd name="connsiteX117" fmla="*/ 7973518 w 8636594"/>
              <a:gd name="connsiteY117" fmla="*/ 651447 h 6568233"/>
              <a:gd name="connsiteX118" fmla="*/ 8005905 w 8636594"/>
              <a:gd name="connsiteY118" fmla="*/ 614171 h 6568233"/>
              <a:gd name="connsiteX119" fmla="*/ 8038538 w 8636594"/>
              <a:gd name="connsiteY119" fmla="*/ 577189 h 6568233"/>
              <a:gd name="connsiteX120" fmla="*/ 8071421 w 8636594"/>
              <a:gd name="connsiteY120" fmla="*/ 540507 h 6568233"/>
              <a:gd name="connsiteX121" fmla="*/ 8104563 w 8636594"/>
              <a:gd name="connsiteY121" fmla="*/ 504132 h 6568233"/>
              <a:gd name="connsiteX122" fmla="*/ 8137967 w 8636594"/>
              <a:gd name="connsiteY122" fmla="*/ 468072 h 6568233"/>
              <a:gd name="connsiteX123" fmla="*/ 8171641 w 8636594"/>
              <a:gd name="connsiteY123" fmla="*/ 432332 h 6568233"/>
              <a:gd name="connsiteX124" fmla="*/ 8205590 w 8636594"/>
              <a:gd name="connsiteY124" fmla="*/ 396920 h 6568233"/>
              <a:gd name="connsiteX125" fmla="*/ 8239820 w 8636594"/>
              <a:gd name="connsiteY125" fmla="*/ 361843 h 6568233"/>
              <a:gd name="connsiteX126" fmla="*/ 8274337 w 8636594"/>
              <a:gd name="connsiteY126" fmla="*/ 327107 h 6568233"/>
              <a:gd name="connsiteX127" fmla="*/ 8309147 w 8636594"/>
              <a:gd name="connsiteY127" fmla="*/ 292718 h 6568233"/>
              <a:gd name="connsiteX128" fmla="*/ 8344256 w 8636594"/>
              <a:gd name="connsiteY128" fmla="*/ 258685 h 6568233"/>
              <a:gd name="connsiteX129" fmla="*/ 8379669 w 8636594"/>
              <a:gd name="connsiteY129" fmla="*/ 225013 h 6568233"/>
              <a:gd name="connsiteX130" fmla="*/ 8415394 w 8636594"/>
              <a:gd name="connsiteY130" fmla="*/ 191709 h 6568233"/>
              <a:gd name="connsiteX131" fmla="*/ 8451434 w 8636594"/>
              <a:gd name="connsiteY131" fmla="*/ 158780 h 6568233"/>
              <a:gd name="connsiteX132" fmla="*/ 8487798 w 8636594"/>
              <a:gd name="connsiteY132" fmla="*/ 126233 h 6568233"/>
              <a:gd name="connsiteX133" fmla="*/ 8524489 w 8636594"/>
              <a:gd name="connsiteY133" fmla="*/ 94075 h 6568233"/>
              <a:gd name="connsiteX134" fmla="*/ 8561515 w 8636594"/>
              <a:gd name="connsiteY134" fmla="*/ 62312 h 6568233"/>
              <a:gd name="connsiteX135" fmla="*/ 8598881 w 8636594"/>
              <a:gd name="connsiteY135" fmla="*/ 30951 h 6568233"/>
              <a:gd name="connsiteX136" fmla="*/ 8636594 w 8636594"/>
              <a:gd name="connsiteY136" fmla="*/ 0 h 6568233"/>
              <a:gd name="connsiteX0" fmla="*/ 8636594 w 8636594"/>
              <a:gd name="connsiteY0" fmla="*/ 0 h 6555999"/>
              <a:gd name="connsiteX1" fmla="*/ 5293 w 8636594"/>
              <a:gd name="connsiteY1" fmla="*/ 0 h 6555999"/>
              <a:gd name="connsiteX2" fmla="*/ 0 w 8636594"/>
              <a:gd name="connsiteY2" fmla="*/ 5587843 h 6555999"/>
              <a:gd name="connsiteX3" fmla="*/ 1594033 w 8636594"/>
              <a:gd name="connsiteY3" fmla="*/ 5600057 h 6555999"/>
              <a:gd name="connsiteX4" fmla="*/ 1686068 w 8636594"/>
              <a:gd name="connsiteY4" fmla="*/ 5599745 h 6555999"/>
              <a:gd name="connsiteX5" fmla="*/ 2416341 w 8636594"/>
              <a:gd name="connsiteY5" fmla="*/ 6555999 h 6555999"/>
              <a:gd name="connsiteX6" fmla="*/ 2472299 w 8636594"/>
              <a:gd name="connsiteY6" fmla="*/ 6543344 h 6555999"/>
              <a:gd name="connsiteX7" fmla="*/ 2527618 w 8636594"/>
              <a:gd name="connsiteY7" fmla="*/ 6530269 h 6555999"/>
              <a:gd name="connsiteX8" fmla="*/ 2582304 w 8636594"/>
              <a:gd name="connsiteY8" fmla="*/ 6516778 h 6555999"/>
              <a:gd name="connsiteX9" fmla="*/ 2636364 w 8636594"/>
              <a:gd name="connsiteY9" fmla="*/ 6502876 h 6555999"/>
              <a:gd name="connsiteX10" fmla="*/ 2689804 w 8636594"/>
              <a:gd name="connsiteY10" fmla="*/ 6488565 h 6555999"/>
              <a:gd name="connsiteX11" fmla="*/ 2742629 w 8636594"/>
              <a:gd name="connsiteY11" fmla="*/ 6473849 h 6555999"/>
              <a:gd name="connsiteX12" fmla="*/ 2794848 w 8636594"/>
              <a:gd name="connsiteY12" fmla="*/ 6458731 h 6555999"/>
              <a:gd name="connsiteX13" fmla="*/ 2846466 w 8636594"/>
              <a:gd name="connsiteY13" fmla="*/ 6443216 h 6555999"/>
              <a:gd name="connsiteX14" fmla="*/ 2897488 w 8636594"/>
              <a:gd name="connsiteY14" fmla="*/ 6427305 h 6555999"/>
              <a:gd name="connsiteX15" fmla="*/ 2947923 w 8636594"/>
              <a:gd name="connsiteY15" fmla="*/ 6411004 h 6555999"/>
              <a:gd name="connsiteX16" fmla="*/ 2997775 w 8636594"/>
              <a:gd name="connsiteY16" fmla="*/ 6394316 h 6555999"/>
              <a:gd name="connsiteX17" fmla="*/ 3047052 w 8636594"/>
              <a:gd name="connsiteY17" fmla="*/ 6377243 h 6555999"/>
              <a:gd name="connsiteX18" fmla="*/ 3095759 w 8636594"/>
              <a:gd name="connsiteY18" fmla="*/ 6359791 h 6555999"/>
              <a:gd name="connsiteX19" fmla="*/ 3143903 w 8636594"/>
              <a:gd name="connsiteY19" fmla="*/ 6341961 h 6555999"/>
              <a:gd name="connsiteX20" fmla="*/ 3191491 w 8636594"/>
              <a:gd name="connsiteY20" fmla="*/ 6323757 h 6555999"/>
              <a:gd name="connsiteX21" fmla="*/ 3238528 w 8636594"/>
              <a:gd name="connsiteY21" fmla="*/ 6305184 h 6555999"/>
              <a:gd name="connsiteX22" fmla="*/ 3285021 w 8636594"/>
              <a:gd name="connsiteY22" fmla="*/ 6286245 h 6555999"/>
              <a:gd name="connsiteX23" fmla="*/ 3330977 w 8636594"/>
              <a:gd name="connsiteY23" fmla="*/ 6266942 h 6555999"/>
              <a:gd name="connsiteX24" fmla="*/ 3376401 w 8636594"/>
              <a:gd name="connsiteY24" fmla="*/ 6247281 h 6555999"/>
              <a:gd name="connsiteX25" fmla="*/ 3421300 w 8636594"/>
              <a:gd name="connsiteY25" fmla="*/ 6227263 h 6555999"/>
              <a:gd name="connsiteX26" fmla="*/ 3465680 w 8636594"/>
              <a:gd name="connsiteY26" fmla="*/ 6206893 h 6555999"/>
              <a:gd name="connsiteX27" fmla="*/ 3509548 w 8636594"/>
              <a:gd name="connsiteY27" fmla="*/ 6186174 h 6555999"/>
              <a:gd name="connsiteX28" fmla="*/ 3552910 w 8636594"/>
              <a:gd name="connsiteY28" fmla="*/ 6165110 h 6555999"/>
              <a:gd name="connsiteX29" fmla="*/ 3595773 w 8636594"/>
              <a:gd name="connsiteY29" fmla="*/ 6143704 h 6555999"/>
              <a:gd name="connsiteX30" fmla="*/ 3638142 w 8636594"/>
              <a:gd name="connsiteY30" fmla="*/ 6121960 h 6555999"/>
              <a:gd name="connsiteX31" fmla="*/ 3680024 w 8636594"/>
              <a:gd name="connsiteY31" fmla="*/ 6099881 h 6555999"/>
              <a:gd name="connsiteX32" fmla="*/ 3721426 w 8636594"/>
              <a:gd name="connsiteY32" fmla="*/ 6077471 h 6555999"/>
              <a:gd name="connsiteX33" fmla="*/ 3762353 w 8636594"/>
              <a:gd name="connsiteY33" fmla="*/ 6054733 h 6555999"/>
              <a:gd name="connsiteX34" fmla="*/ 3802812 w 8636594"/>
              <a:gd name="connsiteY34" fmla="*/ 6031671 h 6555999"/>
              <a:gd name="connsiteX35" fmla="*/ 3842810 w 8636594"/>
              <a:gd name="connsiteY35" fmla="*/ 6008288 h 6555999"/>
              <a:gd name="connsiteX36" fmla="*/ 3882352 w 8636594"/>
              <a:gd name="connsiteY36" fmla="*/ 5984588 h 6555999"/>
              <a:gd name="connsiteX37" fmla="*/ 3921445 w 8636594"/>
              <a:gd name="connsiteY37" fmla="*/ 5960574 h 6555999"/>
              <a:gd name="connsiteX38" fmla="*/ 3960096 w 8636594"/>
              <a:gd name="connsiteY38" fmla="*/ 5936250 h 6555999"/>
              <a:gd name="connsiteX39" fmla="*/ 3998311 w 8636594"/>
              <a:gd name="connsiteY39" fmla="*/ 5911619 h 6555999"/>
              <a:gd name="connsiteX40" fmla="*/ 4036095 w 8636594"/>
              <a:gd name="connsiteY40" fmla="*/ 5886685 h 6555999"/>
              <a:gd name="connsiteX41" fmla="*/ 4073456 w 8636594"/>
              <a:gd name="connsiteY41" fmla="*/ 5861452 h 6555999"/>
              <a:gd name="connsiteX42" fmla="*/ 4110400 w 8636594"/>
              <a:gd name="connsiteY42" fmla="*/ 5835922 h 6555999"/>
              <a:gd name="connsiteX43" fmla="*/ 4146933 w 8636594"/>
              <a:gd name="connsiteY43" fmla="*/ 5810100 h 6555999"/>
              <a:gd name="connsiteX44" fmla="*/ 4183061 w 8636594"/>
              <a:gd name="connsiteY44" fmla="*/ 5783988 h 6555999"/>
              <a:gd name="connsiteX45" fmla="*/ 4218791 w 8636594"/>
              <a:gd name="connsiteY45" fmla="*/ 5757591 h 6555999"/>
              <a:gd name="connsiteX46" fmla="*/ 4254129 w 8636594"/>
              <a:gd name="connsiteY46" fmla="*/ 5730912 h 6555999"/>
              <a:gd name="connsiteX47" fmla="*/ 4289081 w 8636594"/>
              <a:gd name="connsiteY47" fmla="*/ 5703955 h 6555999"/>
              <a:gd name="connsiteX48" fmla="*/ 4323654 w 8636594"/>
              <a:gd name="connsiteY48" fmla="*/ 5676722 h 6555999"/>
              <a:gd name="connsiteX49" fmla="*/ 4357854 w 8636594"/>
              <a:gd name="connsiteY49" fmla="*/ 5649218 h 6555999"/>
              <a:gd name="connsiteX50" fmla="*/ 4391688 w 8636594"/>
              <a:gd name="connsiteY50" fmla="*/ 5621446 h 6555999"/>
              <a:gd name="connsiteX51" fmla="*/ 4425162 w 8636594"/>
              <a:gd name="connsiteY51" fmla="*/ 5593409 h 6555999"/>
              <a:gd name="connsiteX52" fmla="*/ 4458281 w 8636594"/>
              <a:gd name="connsiteY52" fmla="*/ 5565111 h 6555999"/>
              <a:gd name="connsiteX53" fmla="*/ 4491053 w 8636594"/>
              <a:gd name="connsiteY53" fmla="*/ 5536556 h 6555999"/>
              <a:gd name="connsiteX54" fmla="*/ 4523484 w 8636594"/>
              <a:gd name="connsiteY54" fmla="*/ 5507747 h 6555999"/>
              <a:gd name="connsiteX55" fmla="*/ 4555580 w 8636594"/>
              <a:gd name="connsiteY55" fmla="*/ 5478687 h 6555999"/>
              <a:gd name="connsiteX56" fmla="*/ 4587347 w 8636594"/>
              <a:gd name="connsiteY56" fmla="*/ 5449380 h 6555999"/>
              <a:gd name="connsiteX57" fmla="*/ 4618793 w 8636594"/>
              <a:gd name="connsiteY57" fmla="*/ 5419830 h 6555999"/>
              <a:gd name="connsiteX58" fmla="*/ 4649922 w 8636594"/>
              <a:gd name="connsiteY58" fmla="*/ 5390040 h 6555999"/>
              <a:gd name="connsiteX59" fmla="*/ 4680742 w 8636594"/>
              <a:gd name="connsiteY59" fmla="*/ 5360014 h 6555999"/>
              <a:gd name="connsiteX60" fmla="*/ 4711259 w 8636594"/>
              <a:gd name="connsiteY60" fmla="*/ 5329755 h 6555999"/>
              <a:gd name="connsiteX61" fmla="*/ 4741478 w 8636594"/>
              <a:gd name="connsiteY61" fmla="*/ 5299266 h 6555999"/>
              <a:gd name="connsiteX62" fmla="*/ 4771408 w 8636594"/>
              <a:gd name="connsiteY62" fmla="*/ 5268551 h 6555999"/>
              <a:gd name="connsiteX63" fmla="*/ 4801053 w 8636594"/>
              <a:gd name="connsiteY63" fmla="*/ 5237614 h 6555999"/>
              <a:gd name="connsiteX64" fmla="*/ 4830420 w 8636594"/>
              <a:gd name="connsiteY64" fmla="*/ 5206458 h 6555999"/>
              <a:gd name="connsiteX65" fmla="*/ 4859516 w 8636594"/>
              <a:gd name="connsiteY65" fmla="*/ 5175087 h 6555999"/>
              <a:gd name="connsiteX66" fmla="*/ 4888347 w 8636594"/>
              <a:gd name="connsiteY66" fmla="*/ 5143504 h 6555999"/>
              <a:gd name="connsiteX67" fmla="*/ 4916919 w 8636594"/>
              <a:gd name="connsiteY67" fmla="*/ 5111713 h 6555999"/>
              <a:gd name="connsiteX68" fmla="*/ 4945238 w 8636594"/>
              <a:gd name="connsiteY68" fmla="*/ 5079717 h 6555999"/>
              <a:gd name="connsiteX69" fmla="*/ 4973311 w 8636594"/>
              <a:gd name="connsiteY69" fmla="*/ 5047519 h 6555999"/>
              <a:gd name="connsiteX70" fmla="*/ 5001145 w 8636594"/>
              <a:gd name="connsiteY70" fmla="*/ 5015124 h 6555999"/>
              <a:gd name="connsiteX71" fmla="*/ 5028745 w 8636594"/>
              <a:gd name="connsiteY71" fmla="*/ 4982535 h 6555999"/>
              <a:gd name="connsiteX72" fmla="*/ 5056117 w 8636594"/>
              <a:gd name="connsiteY72" fmla="*/ 4949755 h 6555999"/>
              <a:gd name="connsiteX73" fmla="*/ 5083269 w 8636594"/>
              <a:gd name="connsiteY73" fmla="*/ 4916787 h 6555999"/>
              <a:gd name="connsiteX74" fmla="*/ 5110207 w 8636594"/>
              <a:gd name="connsiteY74" fmla="*/ 4883636 h 6555999"/>
              <a:gd name="connsiteX75" fmla="*/ 5136937 w 8636594"/>
              <a:gd name="connsiteY75" fmla="*/ 4850305 h 6555999"/>
              <a:gd name="connsiteX76" fmla="*/ 5163464 w 8636594"/>
              <a:gd name="connsiteY76" fmla="*/ 4816797 h 6555999"/>
              <a:gd name="connsiteX77" fmla="*/ 5215940 w 8636594"/>
              <a:gd name="connsiteY77" fmla="*/ 4749265 h 6555999"/>
              <a:gd name="connsiteX78" fmla="*/ 5267684 w 8636594"/>
              <a:gd name="connsiteY78" fmla="*/ 4681068 h 6555999"/>
              <a:gd name="connsiteX79" fmla="*/ 5318748 w 8636594"/>
              <a:gd name="connsiteY79" fmla="*/ 4612234 h 6555999"/>
              <a:gd name="connsiteX80" fmla="*/ 5369182 w 8636594"/>
              <a:gd name="connsiteY80" fmla="*/ 4542793 h 6555999"/>
              <a:gd name="connsiteX81" fmla="*/ 5419038 w 8636594"/>
              <a:gd name="connsiteY81" fmla="*/ 4472771 h 6555999"/>
              <a:gd name="connsiteX82" fmla="*/ 5468365 w 8636594"/>
              <a:gd name="connsiteY82" fmla="*/ 4402196 h 6555999"/>
              <a:gd name="connsiteX83" fmla="*/ 5517215 w 8636594"/>
              <a:gd name="connsiteY83" fmla="*/ 4331098 h 6555999"/>
              <a:gd name="connsiteX84" fmla="*/ 5565637 w 8636594"/>
              <a:gd name="connsiteY84" fmla="*/ 4259503 h 6555999"/>
              <a:gd name="connsiteX85" fmla="*/ 5613684 w 8636594"/>
              <a:gd name="connsiteY85" fmla="*/ 4187441 h 6555999"/>
              <a:gd name="connsiteX86" fmla="*/ 5685160 w 8636594"/>
              <a:gd name="connsiteY86" fmla="*/ 4078531 h 6555999"/>
              <a:gd name="connsiteX87" fmla="*/ 5756074 w 8636594"/>
              <a:gd name="connsiteY87" fmla="*/ 3968727 h 6555999"/>
              <a:gd name="connsiteX88" fmla="*/ 5873483 w 8636594"/>
              <a:gd name="connsiteY88" fmla="*/ 3783989 h 6555999"/>
              <a:gd name="connsiteX89" fmla="*/ 6203209 w 8636594"/>
              <a:gd name="connsiteY89" fmla="*/ 3258640 h 6555999"/>
              <a:gd name="connsiteX90" fmla="*/ 6299430 w 8636594"/>
              <a:gd name="connsiteY90" fmla="*/ 3107321 h 6555999"/>
              <a:gd name="connsiteX91" fmla="*/ 6372650 w 8636594"/>
              <a:gd name="connsiteY91" fmla="*/ 2993735 h 6555999"/>
              <a:gd name="connsiteX92" fmla="*/ 6453197 w 8636594"/>
              <a:gd name="connsiteY92" fmla="*/ 2869788 h 6555999"/>
              <a:gd name="connsiteX93" fmla="*/ 6564167 w 8636594"/>
              <a:gd name="connsiteY93" fmla="*/ 2696807 h 6555999"/>
              <a:gd name="connsiteX94" fmla="*/ 6976233 w 8636594"/>
              <a:gd name="connsiteY94" fmla="*/ 2045274 h 6555999"/>
              <a:gd name="connsiteX95" fmla="*/ 7086755 w 8636594"/>
              <a:gd name="connsiteY95" fmla="*/ 1872743 h 6555999"/>
              <a:gd name="connsiteX96" fmla="*/ 7170279 w 8636594"/>
              <a:gd name="connsiteY96" fmla="*/ 1744202 h 6555999"/>
              <a:gd name="connsiteX97" fmla="*/ 7226351 w 8636594"/>
              <a:gd name="connsiteY97" fmla="*/ 1659017 h 6555999"/>
              <a:gd name="connsiteX98" fmla="*/ 7282789 w 8636594"/>
              <a:gd name="connsiteY98" fmla="*/ 1574303 h 6555999"/>
              <a:gd name="connsiteX99" fmla="*/ 7339643 w 8636594"/>
              <a:gd name="connsiteY99" fmla="*/ 1490113 h 6555999"/>
              <a:gd name="connsiteX100" fmla="*/ 7396957 w 8636594"/>
              <a:gd name="connsiteY100" fmla="*/ 1406503 h 6555999"/>
              <a:gd name="connsiteX101" fmla="*/ 7454781 w 8636594"/>
              <a:gd name="connsiteY101" fmla="*/ 1323526 h 6555999"/>
              <a:gd name="connsiteX102" fmla="*/ 7513161 w 8636594"/>
              <a:gd name="connsiteY102" fmla="*/ 1241237 h 6555999"/>
              <a:gd name="connsiteX103" fmla="*/ 7572144 w 8636594"/>
              <a:gd name="connsiteY103" fmla="*/ 1159689 h 6555999"/>
              <a:gd name="connsiteX104" fmla="*/ 7601877 w 8636594"/>
              <a:gd name="connsiteY104" fmla="*/ 1119210 h 6555999"/>
              <a:gd name="connsiteX105" fmla="*/ 7631779 w 8636594"/>
              <a:gd name="connsiteY105" fmla="*/ 1078937 h 6555999"/>
              <a:gd name="connsiteX106" fmla="*/ 7661855 w 8636594"/>
              <a:gd name="connsiteY106" fmla="*/ 1038876 h 6555999"/>
              <a:gd name="connsiteX107" fmla="*/ 7692111 w 8636594"/>
              <a:gd name="connsiteY107" fmla="*/ 999035 h 6555999"/>
              <a:gd name="connsiteX108" fmla="*/ 7722554 w 8636594"/>
              <a:gd name="connsiteY108" fmla="*/ 959419 h 6555999"/>
              <a:gd name="connsiteX109" fmla="*/ 7753190 w 8636594"/>
              <a:gd name="connsiteY109" fmla="*/ 920037 h 6555999"/>
              <a:gd name="connsiteX110" fmla="*/ 7784023 w 8636594"/>
              <a:gd name="connsiteY110" fmla="*/ 880894 h 6555999"/>
              <a:gd name="connsiteX111" fmla="*/ 7815061 w 8636594"/>
              <a:gd name="connsiteY111" fmla="*/ 841997 h 6555999"/>
              <a:gd name="connsiteX112" fmla="*/ 7846308 w 8636594"/>
              <a:gd name="connsiteY112" fmla="*/ 803354 h 6555999"/>
              <a:gd name="connsiteX113" fmla="*/ 7877772 w 8636594"/>
              <a:gd name="connsiteY113" fmla="*/ 764970 h 6555999"/>
              <a:gd name="connsiteX114" fmla="*/ 7909458 w 8636594"/>
              <a:gd name="connsiteY114" fmla="*/ 726853 h 6555999"/>
              <a:gd name="connsiteX115" fmla="*/ 7941371 w 8636594"/>
              <a:gd name="connsiteY115" fmla="*/ 689010 h 6555999"/>
              <a:gd name="connsiteX116" fmla="*/ 7973518 w 8636594"/>
              <a:gd name="connsiteY116" fmla="*/ 651447 h 6555999"/>
              <a:gd name="connsiteX117" fmla="*/ 8005905 w 8636594"/>
              <a:gd name="connsiteY117" fmla="*/ 614171 h 6555999"/>
              <a:gd name="connsiteX118" fmla="*/ 8038538 w 8636594"/>
              <a:gd name="connsiteY118" fmla="*/ 577189 h 6555999"/>
              <a:gd name="connsiteX119" fmla="*/ 8071421 w 8636594"/>
              <a:gd name="connsiteY119" fmla="*/ 540507 h 6555999"/>
              <a:gd name="connsiteX120" fmla="*/ 8104563 w 8636594"/>
              <a:gd name="connsiteY120" fmla="*/ 504132 h 6555999"/>
              <a:gd name="connsiteX121" fmla="*/ 8137967 w 8636594"/>
              <a:gd name="connsiteY121" fmla="*/ 468072 h 6555999"/>
              <a:gd name="connsiteX122" fmla="*/ 8171641 w 8636594"/>
              <a:gd name="connsiteY122" fmla="*/ 432332 h 6555999"/>
              <a:gd name="connsiteX123" fmla="*/ 8205590 w 8636594"/>
              <a:gd name="connsiteY123" fmla="*/ 396920 h 6555999"/>
              <a:gd name="connsiteX124" fmla="*/ 8239820 w 8636594"/>
              <a:gd name="connsiteY124" fmla="*/ 361843 h 6555999"/>
              <a:gd name="connsiteX125" fmla="*/ 8274337 w 8636594"/>
              <a:gd name="connsiteY125" fmla="*/ 327107 h 6555999"/>
              <a:gd name="connsiteX126" fmla="*/ 8309147 w 8636594"/>
              <a:gd name="connsiteY126" fmla="*/ 292718 h 6555999"/>
              <a:gd name="connsiteX127" fmla="*/ 8344256 w 8636594"/>
              <a:gd name="connsiteY127" fmla="*/ 258685 h 6555999"/>
              <a:gd name="connsiteX128" fmla="*/ 8379669 w 8636594"/>
              <a:gd name="connsiteY128" fmla="*/ 225013 h 6555999"/>
              <a:gd name="connsiteX129" fmla="*/ 8415394 w 8636594"/>
              <a:gd name="connsiteY129" fmla="*/ 191709 h 6555999"/>
              <a:gd name="connsiteX130" fmla="*/ 8451434 w 8636594"/>
              <a:gd name="connsiteY130" fmla="*/ 158780 h 6555999"/>
              <a:gd name="connsiteX131" fmla="*/ 8487798 w 8636594"/>
              <a:gd name="connsiteY131" fmla="*/ 126233 h 6555999"/>
              <a:gd name="connsiteX132" fmla="*/ 8524489 w 8636594"/>
              <a:gd name="connsiteY132" fmla="*/ 94075 h 6555999"/>
              <a:gd name="connsiteX133" fmla="*/ 8561515 w 8636594"/>
              <a:gd name="connsiteY133" fmla="*/ 62312 h 6555999"/>
              <a:gd name="connsiteX134" fmla="*/ 8598881 w 8636594"/>
              <a:gd name="connsiteY134" fmla="*/ 30951 h 6555999"/>
              <a:gd name="connsiteX135" fmla="*/ 8636594 w 8636594"/>
              <a:gd name="connsiteY135" fmla="*/ 0 h 6555999"/>
              <a:gd name="connsiteX0" fmla="*/ 8636594 w 8636594"/>
              <a:gd name="connsiteY0" fmla="*/ 0 h 6543344"/>
              <a:gd name="connsiteX1" fmla="*/ 5293 w 8636594"/>
              <a:gd name="connsiteY1" fmla="*/ 0 h 6543344"/>
              <a:gd name="connsiteX2" fmla="*/ 0 w 8636594"/>
              <a:gd name="connsiteY2" fmla="*/ 5587843 h 6543344"/>
              <a:gd name="connsiteX3" fmla="*/ 1594033 w 8636594"/>
              <a:gd name="connsiteY3" fmla="*/ 5600057 h 6543344"/>
              <a:gd name="connsiteX4" fmla="*/ 1686068 w 8636594"/>
              <a:gd name="connsiteY4" fmla="*/ 5599745 h 6543344"/>
              <a:gd name="connsiteX5" fmla="*/ 2472299 w 8636594"/>
              <a:gd name="connsiteY5" fmla="*/ 6543344 h 6543344"/>
              <a:gd name="connsiteX6" fmla="*/ 2527618 w 8636594"/>
              <a:gd name="connsiteY6" fmla="*/ 6530269 h 6543344"/>
              <a:gd name="connsiteX7" fmla="*/ 2582304 w 8636594"/>
              <a:gd name="connsiteY7" fmla="*/ 6516778 h 6543344"/>
              <a:gd name="connsiteX8" fmla="*/ 2636364 w 8636594"/>
              <a:gd name="connsiteY8" fmla="*/ 6502876 h 6543344"/>
              <a:gd name="connsiteX9" fmla="*/ 2689804 w 8636594"/>
              <a:gd name="connsiteY9" fmla="*/ 6488565 h 6543344"/>
              <a:gd name="connsiteX10" fmla="*/ 2742629 w 8636594"/>
              <a:gd name="connsiteY10" fmla="*/ 6473849 h 6543344"/>
              <a:gd name="connsiteX11" fmla="*/ 2794848 w 8636594"/>
              <a:gd name="connsiteY11" fmla="*/ 6458731 h 6543344"/>
              <a:gd name="connsiteX12" fmla="*/ 2846466 w 8636594"/>
              <a:gd name="connsiteY12" fmla="*/ 6443216 h 6543344"/>
              <a:gd name="connsiteX13" fmla="*/ 2897488 w 8636594"/>
              <a:gd name="connsiteY13" fmla="*/ 6427305 h 6543344"/>
              <a:gd name="connsiteX14" fmla="*/ 2947923 w 8636594"/>
              <a:gd name="connsiteY14" fmla="*/ 6411004 h 6543344"/>
              <a:gd name="connsiteX15" fmla="*/ 2997775 w 8636594"/>
              <a:gd name="connsiteY15" fmla="*/ 6394316 h 6543344"/>
              <a:gd name="connsiteX16" fmla="*/ 3047052 w 8636594"/>
              <a:gd name="connsiteY16" fmla="*/ 6377243 h 6543344"/>
              <a:gd name="connsiteX17" fmla="*/ 3095759 w 8636594"/>
              <a:gd name="connsiteY17" fmla="*/ 6359791 h 6543344"/>
              <a:gd name="connsiteX18" fmla="*/ 3143903 w 8636594"/>
              <a:gd name="connsiteY18" fmla="*/ 6341961 h 6543344"/>
              <a:gd name="connsiteX19" fmla="*/ 3191491 w 8636594"/>
              <a:gd name="connsiteY19" fmla="*/ 6323757 h 6543344"/>
              <a:gd name="connsiteX20" fmla="*/ 3238528 w 8636594"/>
              <a:gd name="connsiteY20" fmla="*/ 6305184 h 6543344"/>
              <a:gd name="connsiteX21" fmla="*/ 3285021 w 8636594"/>
              <a:gd name="connsiteY21" fmla="*/ 6286245 h 6543344"/>
              <a:gd name="connsiteX22" fmla="*/ 3330977 w 8636594"/>
              <a:gd name="connsiteY22" fmla="*/ 6266942 h 6543344"/>
              <a:gd name="connsiteX23" fmla="*/ 3376401 w 8636594"/>
              <a:gd name="connsiteY23" fmla="*/ 6247281 h 6543344"/>
              <a:gd name="connsiteX24" fmla="*/ 3421300 w 8636594"/>
              <a:gd name="connsiteY24" fmla="*/ 6227263 h 6543344"/>
              <a:gd name="connsiteX25" fmla="*/ 3465680 w 8636594"/>
              <a:gd name="connsiteY25" fmla="*/ 6206893 h 6543344"/>
              <a:gd name="connsiteX26" fmla="*/ 3509548 w 8636594"/>
              <a:gd name="connsiteY26" fmla="*/ 6186174 h 6543344"/>
              <a:gd name="connsiteX27" fmla="*/ 3552910 w 8636594"/>
              <a:gd name="connsiteY27" fmla="*/ 6165110 h 6543344"/>
              <a:gd name="connsiteX28" fmla="*/ 3595773 w 8636594"/>
              <a:gd name="connsiteY28" fmla="*/ 6143704 h 6543344"/>
              <a:gd name="connsiteX29" fmla="*/ 3638142 w 8636594"/>
              <a:gd name="connsiteY29" fmla="*/ 6121960 h 6543344"/>
              <a:gd name="connsiteX30" fmla="*/ 3680024 w 8636594"/>
              <a:gd name="connsiteY30" fmla="*/ 6099881 h 6543344"/>
              <a:gd name="connsiteX31" fmla="*/ 3721426 w 8636594"/>
              <a:gd name="connsiteY31" fmla="*/ 6077471 h 6543344"/>
              <a:gd name="connsiteX32" fmla="*/ 3762353 w 8636594"/>
              <a:gd name="connsiteY32" fmla="*/ 6054733 h 6543344"/>
              <a:gd name="connsiteX33" fmla="*/ 3802812 w 8636594"/>
              <a:gd name="connsiteY33" fmla="*/ 6031671 h 6543344"/>
              <a:gd name="connsiteX34" fmla="*/ 3842810 w 8636594"/>
              <a:gd name="connsiteY34" fmla="*/ 6008288 h 6543344"/>
              <a:gd name="connsiteX35" fmla="*/ 3882352 w 8636594"/>
              <a:gd name="connsiteY35" fmla="*/ 5984588 h 6543344"/>
              <a:gd name="connsiteX36" fmla="*/ 3921445 w 8636594"/>
              <a:gd name="connsiteY36" fmla="*/ 5960574 h 6543344"/>
              <a:gd name="connsiteX37" fmla="*/ 3960096 w 8636594"/>
              <a:gd name="connsiteY37" fmla="*/ 5936250 h 6543344"/>
              <a:gd name="connsiteX38" fmla="*/ 3998311 w 8636594"/>
              <a:gd name="connsiteY38" fmla="*/ 5911619 h 6543344"/>
              <a:gd name="connsiteX39" fmla="*/ 4036095 w 8636594"/>
              <a:gd name="connsiteY39" fmla="*/ 5886685 h 6543344"/>
              <a:gd name="connsiteX40" fmla="*/ 4073456 w 8636594"/>
              <a:gd name="connsiteY40" fmla="*/ 5861452 h 6543344"/>
              <a:gd name="connsiteX41" fmla="*/ 4110400 w 8636594"/>
              <a:gd name="connsiteY41" fmla="*/ 5835922 h 6543344"/>
              <a:gd name="connsiteX42" fmla="*/ 4146933 w 8636594"/>
              <a:gd name="connsiteY42" fmla="*/ 5810100 h 6543344"/>
              <a:gd name="connsiteX43" fmla="*/ 4183061 w 8636594"/>
              <a:gd name="connsiteY43" fmla="*/ 5783988 h 6543344"/>
              <a:gd name="connsiteX44" fmla="*/ 4218791 w 8636594"/>
              <a:gd name="connsiteY44" fmla="*/ 5757591 h 6543344"/>
              <a:gd name="connsiteX45" fmla="*/ 4254129 w 8636594"/>
              <a:gd name="connsiteY45" fmla="*/ 5730912 h 6543344"/>
              <a:gd name="connsiteX46" fmla="*/ 4289081 w 8636594"/>
              <a:gd name="connsiteY46" fmla="*/ 5703955 h 6543344"/>
              <a:gd name="connsiteX47" fmla="*/ 4323654 w 8636594"/>
              <a:gd name="connsiteY47" fmla="*/ 5676722 h 6543344"/>
              <a:gd name="connsiteX48" fmla="*/ 4357854 w 8636594"/>
              <a:gd name="connsiteY48" fmla="*/ 5649218 h 6543344"/>
              <a:gd name="connsiteX49" fmla="*/ 4391688 w 8636594"/>
              <a:gd name="connsiteY49" fmla="*/ 5621446 h 6543344"/>
              <a:gd name="connsiteX50" fmla="*/ 4425162 w 8636594"/>
              <a:gd name="connsiteY50" fmla="*/ 5593409 h 6543344"/>
              <a:gd name="connsiteX51" fmla="*/ 4458281 w 8636594"/>
              <a:gd name="connsiteY51" fmla="*/ 5565111 h 6543344"/>
              <a:gd name="connsiteX52" fmla="*/ 4491053 w 8636594"/>
              <a:gd name="connsiteY52" fmla="*/ 5536556 h 6543344"/>
              <a:gd name="connsiteX53" fmla="*/ 4523484 w 8636594"/>
              <a:gd name="connsiteY53" fmla="*/ 5507747 h 6543344"/>
              <a:gd name="connsiteX54" fmla="*/ 4555580 w 8636594"/>
              <a:gd name="connsiteY54" fmla="*/ 5478687 h 6543344"/>
              <a:gd name="connsiteX55" fmla="*/ 4587347 w 8636594"/>
              <a:gd name="connsiteY55" fmla="*/ 5449380 h 6543344"/>
              <a:gd name="connsiteX56" fmla="*/ 4618793 w 8636594"/>
              <a:gd name="connsiteY56" fmla="*/ 5419830 h 6543344"/>
              <a:gd name="connsiteX57" fmla="*/ 4649922 w 8636594"/>
              <a:gd name="connsiteY57" fmla="*/ 5390040 h 6543344"/>
              <a:gd name="connsiteX58" fmla="*/ 4680742 w 8636594"/>
              <a:gd name="connsiteY58" fmla="*/ 5360014 h 6543344"/>
              <a:gd name="connsiteX59" fmla="*/ 4711259 w 8636594"/>
              <a:gd name="connsiteY59" fmla="*/ 5329755 h 6543344"/>
              <a:gd name="connsiteX60" fmla="*/ 4741478 w 8636594"/>
              <a:gd name="connsiteY60" fmla="*/ 5299266 h 6543344"/>
              <a:gd name="connsiteX61" fmla="*/ 4771408 w 8636594"/>
              <a:gd name="connsiteY61" fmla="*/ 5268551 h 6543344"/>
              <a:gd name="connsiteX62" fmla="*/ 4801053 w 8636594"/>
              <a:gd name="connsiteY62" fmla="*/ 5237614 h 6543344"/>
              <a:gd name="connsiteX63" fmla="*/ 4830420 w 8636594"/>
              <a:gd name="connsiteY63" fmla="*/ 5206458 h 6543344"/>
              <a:gd name="connsiteX64" fmla="*/ 4859516 w 8636594"/>
              <a:gd name="connsiteY64" fmla="*/ 5175087 h 6543344"/>
              <a:gd name="connsiteX65" fmla="*/ 4888347 w 8636594"/>
              <a:gd name="connsiteY65" fmla="*/ 5143504 h 6543344"/>
              <a:gd name="connsiteX66" fmla="*/ 4916919 w 8636594"/>
              <a:gd name="connsiteY66" fmla="*/ 5111713 h 6543344"/>
              <a:gd name="connsiteX67" fmla="*/ 4945238 w 8636594"/>
              <a:gd name="connsiteY67" fmla="*/ 5079717 h 6543344"/>
              <a:gd name="connsiteX68" fmla="*/ 4973311 w 8636594"/>
              <a:gd name="connsiteY68" fmla="*/ 5047519 h 6543344"/>
              <a:gd name="connsiteX69" fmla="*/ 5001145 w 8636594"/>
              <a:gd name="connsiteY69" fmla="*/ 5015124 h 6543344"/>
              <a:gd name="connsiteX70" fmla="*/ 5028745 w 8636594"/>
              <a:gd name="connsiteY70" fmla="*/ 4982535 h 6543344"/>
              <a:gd name="connsiteX71" fmla="*/ 5056117 w 8636594"/>
              <a:gd name="connsiteY71" fmla="*/ 4949755 h 6543344"/>
              <a:gd name="connsiteX72" fmla="*/ 5083269 w 8636594"/>
              <a:gd name="connsiteY72" fmla="*/ 4916787 h 6543344"/>
              <a:gd name="connsiteX73" fmla="*/ 5110207 w 8636594"/>
              <a:gd name="connsiteY73" fmla="*/ 4883636 h 6543344"/>
              <a:gd name="connsiteX74" fmla="*/ 5136937 w 8636594"/>
              <a:gd name="connsiteY74" fmla="*/ 4850305 h 6543344"/>
              <a:gd name="connsiteX75" fmla="*/ 5163464 w 8636594"/>
              <a:gd name="connsiteY75" fmla="*/ 4816797 h 6543344"/>
              <a:gd name="connsiteX76" fmla="*/ 5215940 w 8636594"/>
              <a:gd name="connsiteY76" fmla="*/ 4749265 h 6543344"/>
              <a:gd name="connsiteX77" fmla="*/ 5267684 w 8636594"/>
              <a:gd name="connsiteY77" fmla="*/ 4681068 h 6543344"/>
              <a:gd name="connsiteX78" fmla="*/ 5318748 w 8636594"/>
              <a:gd name="connsiteY78" fmla="*/ 4612234 h 6543344"/>
              <a:gd name="connsiteX79" fmla="*/ 5369182 w 8636594"/>
              <a:gd name="connsiteY79" fmla="*/ 4542793 h 6543344"/>
              <a:gd name="connsiteX80" fmla="*/ 5419038 w 8636594"/>
              <a:gd name="connsiteY80" fmla="*/ 4472771 h 6543344"/>
              <a:gd name="connsiteX81" fmla="*/ 5468365 w 8636594"/>
              <a:gd name="connsiteY81" fmla="*/ 4402196 h 6543344"/>
              <a:gd name="connsiteX82" fmla="*/ 5517215 w 8636594"/>
              <a:gd name="connsiteY82" fmla="*/ 4331098 h 6543344"/>
              <a:gd name="connsiteX83" fmla="*/ 5565637 w 8636594"/>
              <a:gd name="connsiteY83" fmla="*/ 4259503 h 6543344"/>
              <a:gd name="connsiteX84" fmla="*/ 5613684 w 8636594"/>
              <a:gd name="connsiteY84" fmla="*/ 4187441 h 6543344"/>
              <a:gd name="connsiteX85" fmla="*/ 5685160 w 8636594"/>
              <a:gd name="connsiteY85" fmla="*/ 4078531 h 6543344"/>
              <a:gd name="connsiteX86" fmla="*/ 5756074 w 8636594"/>
              <a:gd name="connsiteY86" fmla="*/ 3968727 h 6543344"/>
              <a:gd name="connsiteX87" fmla="*/ 5873483 w 8636594"/>
              <a:gd name="connsiteY87" fmla="*/ 3783989 h 6543344"/>
              <a:gd name="connsiteX88" fmla="*/ 6203209 w 8636594"/>
              <a:gd name="connsiteY88" fmla="*/ 3258640 h 6543344"/>
              <a:gd name="connsiteX89" fmla="*/ 6299430 w 8636594"/>
              <a:gd name="connsiteY89" fmla="*/ 3107321 h 6543344"/>
              <a:gd name="connsiteX90" fmla="*/ 6372650 w 8636594"/>
              <a:gd name="connsiteY90" fmla="*/ 2993735 h 6543344"/>
              <a:gd name="connsiteX91" fmla="*/ 6453197 w 8636594"/>
              <a:gd name="connsiteY91" fmla="*/ 2869788 h 6543344"/>
              <a:gd name="connsiteX92" fmla="*/ 6564167 w 8636594"/>
              <a:gd name="connsiteY92" fmla="*/ 2696807 h 6543344"/>
              <a:gd name="connsiteX93" fmla="*/ 6976233 w 8636594"/>
              <a:gd name="connsiteY93" fmla="*/ 2045274 h 6543344"/>
              <a:gd name="connsiteX94" fmla="*/ 7086755 w 8636594"/>
              <a:gd name="connsiteY94" fmla="*/ 1872743 h 6543344"/>
              <a:gd name="connsiteX95" fmla="*/ 7170279 w 8636594"/>
              <a:gd name="connsiteY95" fmla="*/ 1744202 h 6543344"/>
              <a:gd name="connsiteX96" fmla="*/ 7226351 w 8636594"/>
              <a:gd name="connsiteY96" fmla="*/ 1659017 h 6543344"/>
              <a:gd name="connsiteX97" fmla="*/ 7282789 w 8636594"/>
              <a:gd name="connsiteY97" fmla="*/ 1574303 h 6543344"/>
              <a:gd name="connsiteX98" fmla="*/ 7339643 w 8636594"/>
              <a:gd name="connsiteY98" fmla="*/ 1490113 h 6543344"/>
              <a:gd name="connsiteX99" fmla="*/ 7396957 w 8636594"/>
              <a:gd name="connsiteY99" fmla="*/ 1406503 h 6543344"/>
              <a:gd name="connsiteX100" fmla="*/ 7454781 w 8636594"/>
              <a:gd name="connsiteY100" fmla="*/ 1323526 h 6543344"/>
              <a:gd name="connsiteX101" fmla="*/ 7513161 w 8636594"/>
              <a:gd name="connsiteY101" fmla="*/ 1241237 h 6543344"/>
              <a:gd name="connsiteX102" fmla="*/ 7572144 w 8636594"/>
              <a:gd name="connsiteY102" fmla="*/ 1159689 h 6543344"/>
              <a:gd name="connsiteX103" fmla="*/ 7601877 w 8636594"/>
              <a:gd name="connsiteY103" fmla="*/ 1119210 h 6543344"/>
              <a:gd name="connsiteX104" fmla="*/ 7631779 w 8636594"/>
              <a:gd name="connsiteY104" fmla="*/ 1078937 h 6543344"/>
              <a:gd name="connsiteX105" fmla="*/ 7661855 w 8636594"/>
              <a:gd name="connsiteY105" fmla="*/ 1038876 h 6543344"/>
              <a:gd name="connsiteX106" fmla="*/ 7692111 w 8636594"/>
              <a:gd name="connsiteY106" fmla="*/ 999035 h 6543344"/>
              <a:gd name="connsiteX107" fmla="*/ 7722554 w 8636594"/>
              <a:gd name="connsiteY107" fmla="*/ 959419 h 6543344"/>
              <a:gd name="connsiteX108" fmla="*/ 7753190 w 8636594"/>
              <a:gd name="connsiteY108" fmla="*/ 920037 h 6543344"/>
              <a:gd name="connsiteX109" fmla="*/ 7784023 w 8636594"/>
              <a:gd name="connsiteY109" fmla="*/ 880894 h 6543344"/>
              <a:gd name="connsiteX110" fmla="*/ 7815061 w 8636594"/>
              <a:gd name="connsiteY110" fmla="*/ 841997 h 6543344"/>
              <a:gd name="connsiteX111" fmla="*/ 7846308 w 8636594"/>
              <a:gd name="connsiteY111" fmla="*/ 803354 h 6543344"/>
              <a:gd name="connsiteX112" fmla="*/ 7877772 w 8636594"/>
              <a:gd name="connsiteY112" fmla="*/ 764970 h 6543344"/>
              <a:gd name="connsiteX113" fmla="*/ 7909458 w 8636594"/>
              <a:gd name="connsiteY113" fmla="*/ 726853 h 6543344"/>
              <a:gd name="connsiteX114" fmla="*/ 7941371 w 8636594"/>
              <a:gd name="connsiteY114" fmla="*/ 689010 h 6543344"/>
              <a:gd name="connsiteX115" fmla="*/ 7973518 w 8636594"/>
              <a:gd name="connsiteY115" fmla="*/ 651447 h 6543344"/>
              <a:gd name="connsiteX116" fmla="*/ 8005905 w 8636594"/>
              <a:gd name="connsiteY116" fmla="*/ 614171 h 6543344"/>
              <a:gd name="connsiteX117" fmla="*/ 8038538 w 8636594"/>
              <a:gd name="connsiteY117" fmla="*/ 577189 h 6543344"/>
              <a:gd name="connsiteX118" fmla="*/ 8071421 w 8636594"/>
              <a:gd name="connsiteY118" fmla="*/ 540507 h 6543344"/>
              <a:gd name="connsiteX119" fmla="*/ 8104563 w 8636594"/>
              <a:gd name="connsiteY119" fmla="*/ 504132 h 6543344"/>
              <a:gd name="connsiteX120" fmla="*/ 8137967 w 8636594"/>
              <a:gd name="connsiteY120" fmla="*/ 468072 h 6543344"/>
              <a:gd name="connsiteX121" fmla="*/ 8171641 w 8636594"/>
              <a:gd name="connsiteY121" fmla="*/ 432332 h 6543344"/>
              <a:gd name="connsiteX122" fmla="*/ 8205590 w 8636594"/>
              <a:gd name="connsiteY122" fmla="*/ 396920 h 6543344"/>
              <a:gd name="connsiteX123" fmla="*/ 8239820 w 8636594"/>
              <a:gd name="connsiteY123" fmla="*/ 361843 h 6543344"/>
              <a:gd name="connsiteX124" fmla="*/ 8274337 w 8636594"/>
              <a:gd name="connsiteY124" fmla="*/ 327107 h 6543344"/>
              <a:gd name="connsiteX125" fmla="*/ 8309147 w 8636594"/>
              <a:gd name="connsiteY125" fmla="*/ 292718 h 6543344"/>
              <a:gd name="connsiteX126" fmla="*/ 8344256 w 8636594"/>
              <a:gd name="connsiteY126" fmla="*/ 258685 h 6543344"/>
              <a:gd name="connsiteX127" fmla="*/ 8379669 w 8636594"/>
              <a:gd name="connsiteY127" fmla="*/ 225013 h 6543344"/>
              <a:gd name="connsiteX128" fmla="*/ 8415394 w 8636594"/>
              <a:gd name="connsiteY128" fmla="*/ 191709 h 6543344"/>
              <a:gd name="connsiteX129" fmla="*/ 8451434 w 8636594"/>
              <a:gd name="connsiteY129" fmla="*/ 158780 h 6543344"/>
              <a:gd name="connsiteX130" fmla="*/ 8487798 w 8636594"/>
              <a:gd name="connsiteY130" fmla="*/ 126233 h 6543344"/>
              <a:gd name="connsiteX131" fmla="*/ 8524489 w 8636594"/>
              <a:gd name="connsiteY131" fmla="*/ 94075 h 6543344"/>
              <a:gd name="connsiteX132" fmla="*/ 8561515 w 8636594"/>
              <a:gd name="connsiteY132" fmla="*/ 62312 h 6543344"/>
              <a:gd name="connsiteX133" fmla="*/ 8598881 w 8636594"/>
              <a:gd name="connsiteY133" fmla="*/ 30951 h 6543344"/>
              <a:gd name="connsiteX134" fmla="*/ 8636594 w 8636594"/>
              <a:gd name="connsiteY134" fmla="*/ 0 h 6543344"/>
              <a:gd name="connsiteX0" fmla="*/ 8636594 w 8636594"/>
              <a:gd name="connsiteY0" fmla="*/ 0 h 6530269"/>
              <a:gd name="connsiteX1" fmla="*/ 5293 w 8636594"/>
              <a:gd name="connsiteY1" fmla="*/ 0 h 6530269"/>
              <a:gd name="connsiteX2" fmla="*/ 0 w 8636594"/>
              <a:gd name="connsiteY2" fmla="*/ 5587843 h 6530269"/>
              <a:gd name="connsiteX3" fmla="*/ 1594033 w 8636594"/>
              <a:gd name="connsiteY3" fmla="*/ 5600057 h 6530269"/>
              <a:gd name="connsiteX4" fmla="*/ 1686068 w 8636594"/>
              <a:gd name="connsiteY4" fmla="*/ 5599745 h 6530269"/>
              <a:gd name="connsiteX5" fmla="*/ 2527618 w 8636594"/>
              <a:gd name="connsiteY5" fmla="*/ 6530269 h 6530269"/>
              <a:gd name="connsiteX6" fmla="*/ 2582304 w 8636594"/>
              <a:gd name="connsiteY6" fmla="*/ 6516778 h 6530269"/>
              <a:gd name="connsiteX7" fmla="*/ 2636364 w 8636594"/>
              <a:gd name="connsiteY7" fmla="*/ 6502876 h 6530269"/>
              <a:gd name="connsiteX8" fmla="*/ 2689804 w 8636594"/>
              <a:gd name="connsiteY8" fmla="*/ 6488565 h 6530269"/>
              <a:gd name="connsiteX9" fmla="*/ 2742629 w 8636594"/>
              <a:gd name="connsiteY9" fmla="*/ 6473849 h 6530269"/>
              <a:gd name="connsiteX10" fmla="*/ 2794848 w 8636594"/>
              <a:gd name="connsiteY10" fmla="*/ 6458731 h 6530269"/>
              <a:gd name="connsiteX11" fmla="*/ 2846466 w 8636594"/>
              <a:gd name="connsiteY11" fmla="*/ 6443216 h 6530269"/>
              <a:gd name="connsiteX12" fmla="*/ 2897488 w 8636594"/>
              <a:gd name="connsiteY12" fmla="*/ 6427305 h 6530269"/>
              <a:gd name="connsiteX13" fmla="*/ 2947923 w 8636594"/>
              <a:gd name="connsiteY13" fmla="*/ 6411004 h 6530269"/>
              <a:gd name="connsiteX14" fmla="*/ 2997775 w 8636594"/>
              <a:gd name="connsiteY14" fmla="*/ 6394316 h 6530269"/>
              <a:gd name="connsiteX15" fmla="*/ 3047052 w 8636594"/>
              <a:gd name="connsiteY15" fmla="*/ 6377243 h 6530269"/>
              <a:gd name="connsiteX16" fmla="*/ 3095759 w 8636594"/>
              <a:gd name="connsiteY16" fmla="*/ 6359791 h 6530269"/>
              <a:gd name="connsiteX17" fmla="*/ 3143903 w 8636594"/>
              <a:gd name="connsiteY17" fmla="*/ 6341961 h 6530269"/>
              <a:gd name="connsiteX18" fmla="*/ 3191491 w 8636594"/>
              <a:gd name="connsiteY18" fmla="*/ 6323757 h 6530269"/>
              <a:gd name="connsiteX19" fmla="*/ 3238528 w 8636594"/>
              <a:gd name="connsiteY19" fmla="*/ 6305184 h 6530269"/>
              <a:gd name="connsiteX20" fmla="*/ 3285021 w 8636594"/>
              <a:gd name="connsiteY20" fmla="*/ 6286245 h 6530269"/>
              <a:gd name="connsiteX21" fmla="*/ 3330977 w 8636594"/>
              <a:gd name="connsiteY21" fmla="*/ 6266942 h 6530269"/>
              <a:gd name="connsiteX22" fmla="*/ 3376401 w 8636594"/>
              <a:gd name="connsiteY22" fmla="*/ 6247281 h 6530269"/>
              <a:gd name="connsiteX23" fmla="*/ 3421300 w 8636594"/>
              <a:gd name="connsiteY23" fmla="*/ 6227263 h 6530269"/>
              <a:gd name="connsiteX24" fmla="*/ 3465680 w 8636594"/>
              <a:gd name="connsiteY24" fmla="*/ 6206893 h 6530269"/>
              <a:gd name="connsiteX25" fmla="*/ 3509548 w 8636594"/>
              <a:gd name="connsiteY25" fmla="*/ 6186174 h 6530269"/>
              <a:gd name="connsiteX26" fmla="*/ 3552910 w 8636594"/>
              <a:gd name="connsiteY26" fmla="*/ 6165110 h 6530269"/>
              <a:gd name="connsiteX27" fmla="*/ 3595773 w 8636594"/>
              <a:gd name="connsiteY27" fmla="*/ 6143704 h 6530269"/>
              <a:gd name="connsiteX28" fmla="*/ 3638142 w 8636594"/>
              <a:gd name="connsiteY28" fmla="*/ 6121960 h 6530269"/>
              <a:gd name="connsiteX29" fmla="*/ 3680024 w 8636594"/>
              <a:gd name="connsiteY29" fmla="*/ 6099881 h 6530269"/>
              <a:gd name="connsiteX30" fmla="*/ 3721426 w 8636594"/>
              <a:gd name="connsiteY30" fmla="*/ 6077471 h 6530269"/>
              <a:gd name="connsiteX31" fmla="*/ 3762353 w 8636594"/>
              <a:gd name="connsiteY31" fmla="*/ 6054733 h 6530269"/>
              <a:gd name="connsiteX32" fmla="*/ 3802812 w 8636594"/>
              <a:gd name="connsiteY32" fmla="*/ 6031671 h 6530269"/>
              <a:gd name="connsiteX33" fmla="*/ 3842810 w 8636594"/>
              <a:gd name="connsiteY33" fmla="*/ 6008288 h 6530269"/>
              <a:gd name="connsiteX34" fmla="*/ 3882352 w 8636594"/>
              <a:gd name="connsiteY34" fmla="*/ 5984588 h 6530269"/>
              <a:gd name="connsiteX35" fmla="*/ 3921445 w 8636594"/>
              <a:gd name="connsiteY35" fmla="*/ 5960574 h 6530269"/>
              <a:gd name="connsiteX36" fmla="*/ 3960096 w 8636594"/>
              <a:gd name="connsiteY36" fmla="*/ 5936250 h 6530269"/>
              <a:gd name="connsiteX37" fmla="*/ 3998311 w 8636594"/>
              <a:gd name="connsiteY37" fmla="*/ 5911619 h 6530269"/>
              <a:gd name="connsiteX38" fmla="*/ 4036095 w 8636594"/>
              <a:gd name="connsiteY38" fmla="*/ 5886685 h 6530269"/>
              <a:gd name="connsiteX39" fmla="*/ 4073456 w 8636594"/>
              <a:gd name="connsiteY39" fmla="*/ 5861452 h 6530269"/>
              <a:gd name="connsiteX40" fmla="*/ 4110400 w 8636594"/>
              <a:gd name="connsiteY40" fmla="*/ 5835922 h 6530269"/>
              <a:gd name="connsiteX41" fmla="*/ 4146933 w 8636594"/>
              <a:gd name="connsiteY41" fmla="*/ 5810100 h 6530269"/>
              <a:gd name="connsiteX42" fmla="*/ 4183061 w 8636594"/>
              <a:gd name="connsiteY42" fmla="*/ 5783988 h 6530269"/>
              <a:gd name="connsiteX43" fmla="*/ 4218791 w 8636594"/>
              <a:gd name="connsiteY43" fmla="*/ 5757591 h 6530269"/>
              <a:gd name="connsiteX44" fmla="*/ 4254129 w 8636594"/>
              <a:gd name="connsiteY44" fmla="*/ 5730912 h 6530269"/>
              <a:gd name="connsiteX45" fmla="*/ 4289081 w 8636594"/>
              <a:gd name="connsiteY45" fmla="*/ 5703955 h 6530269"/>
              <a:gd name="connsiteX46" fmla="*/ 4323654 w 8636594"/>
              <a:gd name="connsiteY46" fmla="*/ 5676722 h 6530269"/>
              <a:gd name="connsiteX47" fmla="*/ 4357854 w 8636594"/>
              <a:gd name="connsiteY47" fmla="*/ 5649218 h 6530269"/>
              <a:gd name="connsiteX48" fmla="*/ 4391688 w 8636594"/>
              <a:gd name="connsiteY48" fmla="*/ 5621446 h 6530269"/>
              <a:gd name="connsiteX49" fmla="*/ 4425162 w 8636594"/>
              <a:gd name="connsiteY49" fmla="*/ 5593409 h 6530269"/>
              <a:gd name="connsiteX50" fmla="*/ 4458281 w 8636594"/>
              <a:gd name="connsiteY50" fmla="*/ 5565111 h 6530269"/>
              <a:gd name="connsiteX51" fmla="*/ 4491053 w 8636594"/>
              <a:gd name="connsiteY51" fmla="*/ 5536556 h 6530269"/>
              <a:gd name="connsiteX52" fmla="*/ 4523484 w 8636594"/>
              <a:gd name="connsiteY52" fmla="*/ 5507747 h 6530269"/>
              <a:gd name="connsiteX53" fmla="*/ 4555580 w 8636594"/>
              <a:gd name="connsiteY53" fmla="*/ 5478687 h 6530269"/>
              <a:gd name="connsiteX54" fmla="*/ 4587347 w 8636594"/>
              <a:gd name="connsiteY54" fmla="*/ 5449380 h 6530269"/>
              <a:gd name="connsiteX55" fmla="*/ 4618793 w 8636594"/>
              <a:gd name="connsiteY55" fmla="*/ 5419830 h 6530269"/>
              <a:gd name="connsiteX56" fmla="*/ 4649922 w 8636594"/>
              <a:gd name="connsiteY56" fmla="*/ 5390040 h 6530269"/>
              <a:gd name="connsiteX57" fmla="*/ 4680742 w 8636594"/>
              <a:gd name="connsiteY57" fmla="*/ 5360014 h 6530269"/>
              <a:gd name="connsiteX58" fmla="*/ 4711259 w 8636594"/>
              <a:gd name="connsiteY58" fmla="*/ 5329755 h 6530269"/>
              <a:gd name="connsiteX59" fmla="*/ 4741478 w 8636594"/>
              <a:gd name="connsiteY59" fmla="*/ 5299266 h 6530269"/>
              <a:gd name="connsiteX60" fmla="*/ 4771408 w 8636594"/>
              <a:gd name="connsiteY60" fmla="*/ 5268551 h 6530269"/>
              <a:gd name="connsiteX61" fmla="*/ 4801053 w 8636594"/>
              <a:gd name="connsiteY61" fmla="*/ 5237614 h 6530269"/>
              <a:gd name="connsiteX62" fmla="*/ 4830420 w 8636594"/>
              <a:gd name="connsiteY62" fmla="*/ 5206458 h 6530269"/>
              <a:gd name="connsiteX63" fmla="*/ 4859516 w 8636594"/>
              <a:gd name="connsiteY63" fmla="*/ 5175087 h 6530269"/>
              <a:gd name="connsiteX64" fmla="*/ 4888347 w 8636594"/>
              <a:gd name="connsiteY64" fmla="*/ 5143504 h 6530269"/>
              <a:gd name="connsiteX65" fmla="*/ 4916919 w 8636594"/>
              <a:gd name="connsiteY65" fmla="*/ 5111713 h 6530269"/>
              <a:gd name="connsiteX66" fmla="*/ 4945238 w 8636594"/>
              <a:gd name="connsiteY66" fmla="*/ 5079717 h 6530269"/>
              <a:gd name="connsiteX67" fmla="*/ 4973311 w 8636594"/>
              <a:gd name="connsiteY67" fmla="*/ 5047519 h 6530269"/>
              <a:gd name="connsiteX68" fmla="*/ 5001145 w 8636594"/>
              <a:gd name="connsiteY68" fmla="*/ 5015124 h 6530269"/>
              <a:gd name="connsiteX69" fmla="*/ 5028745 w 8636594"/>
              <a:gd name="connsiteY69" fmla="*/ 4982535 h 6530269"/>
              <a:gd name="connsiteX70" fmla="*/ 5056117 w 8636594"/>
              <a:gd name="connsiteY70" fmla="*/ 4949755 h 6530269"/>
              <a:gd name="connsiteX71" fmla="*/ 5083269 w 8636594"/>
              <a:gd name="connsiteY71" fmla="*/ 4916787 h 6530269"/>
              <a:gd name="connsiteX72" fmla="*/ 5110207 w 8636594"/>
              <a:gd name="connsiteY72" fmla="*/ 4883636 h 6530269"/>
              <a:gd name="connsiteX73" fmla="*/ 5136937 w 8636594"/>
              <a:gd name="connsiteY73" fmla="*/ 4850305 h 6530269"/>
              <a:gd name="connsiteX74" fmla="*/ 5163464 w 8636594"/>
              <a:gd name="connsiteY74" fmla="*/ 4816797 h 6530269"/>
              <a:gd name="connsiteX75" fmla="*/ 5215940 w 8636594"/>
              <a:gd name="connsiteY75" fmla="*/ 4749265 h 6530269"/>
              <a:gd name="connsiteX76" fmla="*/ 5267684 w 8636594"/>
              <a:gd name="connsiteY76" fmla="*/ 4681068 h 6530269"/>
              <a:gd name="connsiteX77" fmla="*/ 5318748 w 8636594"/>
              <a:gd name="connsiteY77" fmla="*/ 4612234 h 6530269"/>
              <a:gd name="connsiteX78" fmla="*/ 5369182 w 8636594"/>
              <a:gd name="connsiteY78" fmla="*/ 4542793 h 6530269"/>
              <a:gd name="connsiteX79" fmla="*/ 5419038 w 8636594"/>
              <a:gd name="connsiteY79" fmla="*/ 4472771 h 6530269"/>
              <a:gd name="connsiteX80" fmla="*/ 5468365 w 8636594"/>
              <a:gd name="connsiteY80" fmla="*/ 4402196 h 6530269"/>
              <a:gd name="connsiteX81" fmla="*/ 5517215 w 8636594"/>
              <a:gd name="connsiteY81" fmla="*/ 4331098 h 6530269"/>
              <a:gd name="connsiteX82" fmla="*/ 5565637 w 8636594"/>
              <a:gd name="connsiteY82" fmla="*/ 4259503 h 6530269"/>
              <a:gd name="connsiteX83" fmla="*/ 5613684 w 8636594"/>
              <a:gd name="connsiteY83" fmla="*/ 4187441 h 6530269"/>
              <a:gd name="connsiteX84" fmla="*/ 5685160 w 8636594"/>
              <a:gd name="connsiteY84" fmla="*/ 4078531 h 6530269"/>
              <a:gd name="connsiteX85" fmla="*/ 5756074 w 8636594"/>
              <a:gd name="connsiteY85" fmla="*/ 3968727 h 6530269"/>
              <a:gd name="connsiteX86" fmla="*/ 5873483 w 8636594"/>
              <a:gd name="connsiteY86" fmla="*/ 3783989 h 6530269"/>
              <a:gd name="connsiteX87" fmla="*/ 6203209 w 8636594"/>
              <a:gd name="connsiteY87" fmla="*/ 3258640 h 6530269"/>
              <a:gd name="connsiteX88" fmla="*/ 6299430 w 8636594"/>
              <a:gd name="connsiteY88" fmla="*/ 3107321 h 6530269"/>
              <a:gd name="connsiteX89" fmla="*/ 6372650 w 8636594"/>
              <a:gd name="connsiteY89" fmla="*/ 2993735 h 6530269"/>
              <a:gd name="connsiteX90" fmla="*/ 6453197 w 8636594"/>
              <a:gd name="connsiteY90" fmla="*/ 2869788 h 6530269"/>
              <a:gd name="connsiteX91" fmla="*/ 6564167 w 8636594"/>
              <a:gd name="connsiteY91" fmla="*/ 2696807 h 6530269"/>
              <a:gd name="connsiteX92" fmla="*/ 6976233 w 8636594"/>
              <a:gd name="connsiteY92" fmla="*/ 2045274 h 6530269"/>
              <a:gd name="connsiteX93" fmla="*/ 7086755 w 8636594"/>
              <a:gd name="connsiteY93" fmla="*/ 1872743 h 6530269"/>
              <a:gd name="connsiteX94" fmla="*/ 7170279 w 8636594"/>
              <a:gd name="connsiteY94" fmla="*/ 1744202 h 6530269"/>
              <a:gd name="connsiteX95" fmla="*/ 7226351 w 8636594"/>
              <a:gd name="connsiteY95" fmla="*/ 1659017 h 6530269"/>
              <a:gd name="connsiteX96" fmla="*/ 7282789 w 8636594"/>
              <a:gd name="connsiteY96" fmla="*/ 1574303 h 6530269"/>
              <a:gd name="connsiteX97" fmla="*/ 7339643 w 8636594"/>
              <a:gd name="connsiteY97" fmla="*/ 1490113 h 6530269"/>
              <a:gd name="connsiteX98" fmla="*/ 7396957 w 8636594"/>
              <a:gd name="connsiteY98" fmla="*/ 1406503 h 6530269"/>
              <a:gd name="connsiteX99" fmla="*/ 7454781 w 8636594"/>
              <a:gd name="connsiteY99" fmla="*/ 1323526 h 6530269"/>
              <a:gd name="connsiteX100" fmla="*/ 7513161 w 8636594"/>
              <a:gd name="connsiteY100" fmla="*/ 1241237 h 6530269"/>
              <a:gd name="connsiteX101" fmla="*/ 7572144 w 8636594"/>
              <a:gd name="connsiteY101" fmla="*/ 1159689 h 6530269"/>
              <a:gd name="connsiteX102" fmla="*/ 7601877 w 8636594"/>
              <a:gd name="connsiteY102" fmla="*/ 1119210 h 6530269"/>
              <a:gd name="connsiteX103" fmla="*/ 7631779 w 8636594"/>
              <a:gd name="connsiteY103" fmla="*/ 1078937 h 6530269"/>
              <a:gd name="connsiteX104" fmla="*/ 7661855 w 8636594"/>
              <a:gd name="connsiteY104" fmla="*/ 1038876 h 6530269"/>
              <a:gd name="connsiteX105" fmla="*/ 7692111 w 8636594"/>
              <a:gd name="connsiteY105" fmla="*/ 999035 h 6530269"/>
              <a:gd name="connsiteX106" fmla="*/ 7722554 w 8636594"/>
              <a:gd name="connsiteY106" fmla="*/ 959419 h 6530269"/>
              <a:gd name="connsiteX107" fmla="*/ 7753190 w 8636594"/>
              <a:gd name="connsiteY107" fmla="*/ 920037 h 6530269"/>
              <a:gd name="connsiteX108" fmla="*/ 7784023 w 8636594"/>
              <a:gd name="connsiteY108" fmla="*/ 880894 h 6530269"/>
              <a:gd name="connsiteX109" fmla="*/ 7815061 w 8636594"/>
              <a:gd name="connsiteY109" fmla="*/ 841997 h 6530269"/>
              <a:gd name="connsiteX110" fmla="*/ 7846308 w 8636594"/>
              <a:gd name="connsiteY110" fmla="*/ 803354 h 6530269"/>
              <a:gd name="connsiteX111" fmla="*/ 7877772 w 8636594"/>
              <a:gd name="connsiteY111" fmla="*/ 764970 h 6530269"/>
              <a:gd name="connsiteX112" fmla="*/ 7909458 w 8636594"/>
              <a:gd name="connsiteY112" fmla="*/ 726853 h 6530269"/>
              <a:gd name="connsiteX113" fmla="*/ 7941371 w 8636594"/>
              <a:gd name="connsiteY113" fmla="*/ 689010 h 6530269"/>
              <a:gd name="connsiteX114" fmla="*/ 7973518 w 8636594"/>
              <a:gd name="connsiteY114" fmla="*/ 651447 h 6530269"/>
              <a:gd name="connsiteX115" fmla="*/ 8005905 w 8636594"/>
              <a:gd name="connsiteY115" fmla="*/ 614171 h 6530269"/>
              <a:gd name="connsiteX116" fmla="*/ 8038538 w 8636594"/>
              <a:gd name="connsiteY116" fmla="*/ 577189 h 6530269"/>
              <a:gd name="connsiteX117" fmla="*/ 8071421 w 8636594"/>
              <a:gd name="connsiteY117" fmla="*/ 540507 h 6530269"/>
              <a:gd name="connsiteX118" fmla="*/ 8104563 w 8636594"/>
              <a:gd name="connsiteY118" fmla="*/ 504132 h 6530269"/>
              <a:gd name="connsiteX119" fmla="*/ 8137967 w 8636594"/>
              <a:gd name="connsiteY119" fmla="*/ 468072 h 6530269"/>
              <a:gd name="connsiteX120" fmla="*/ 8171641 w 8636594"/>
              <a:gd name="connsiteY120" fmla="*/ 432332 h 6530269"/>
              <a:gd name="connsiteX121" fmla="*/ 8205590 w 8636594"/>
              <a:gd name="connsiteY121" fmla="*/ 396920 h 6530269"/>
              <a:gd name="connsiteX122" fmla="*/ 8239820 w 8636594"/>
              <a:gd name="connsiteY122" fmla="*/ 361843 h 6530269"/>
              <a:gd name="connsiteX123" fmla="*/ 8274337 w 8636594"/>
              <a:gd name="connsiteY123" fmla="*/ 327107 h 6530269"/>
              <a:gd name="connsiteX124" fmla="*/ 8309147 w 8636594"/>
              <a:gd name="connsiteY124" fmla="*/ 292718 h 6530269"/>
              <a:gd name="connsiteX125" fmla="*/ 8344256 w 8636594"/>
              <a:gd name="connsiteY125" fmla="*/ 258685 h 6530269"/>
              <a:gd name="connsiteX126" fmla="*/ 8379669 w 8636594"/>
              <a:gd name="connsiteY126" fmla="*/ 225013 h 6530269"/>
              <a:gd name="connsiteX127" fmla="*/ 8415394 w 8636594"/>
              <a:gd name="connsiteY127" fmla="*/ 191709 h 6530269"/>
              <a:gd name="connsiteX128" fmla="*/ 8451434 w 8636594"/>
              <a:gd name="connsiteY128" fmla="*/ 158780 h 6530269"/>
              <a:gd name="connsiteX129" fmla="*/ 8487798 w 8636594"/>
              <a:gd name="connsiteY129" fmla="*/ 126233 h 6530269"/>
              <a:gd name="connsiteX130" fmla="*/ 8524489 w 8636594"/>
              <a:gd name="connsiteY130" fmla="*/ 94075 h 6530269"/>
              <a:gd name="connsiteX131" fmla="*/ 8561515 w 8636594"/>
              <a:gd name="connsiteY131" fmla="*/ 62312 h 6530269"/>
              <a:gd name="connsiteX132" fmla="*/ 8598881 w 8636594"/>
              <a:gd name="connsiteY132" fmla="*/ 30951 h 6530269"/>
              <a:gd name="connsiteX133" fmla="*/ 8636594 w 8636594"/>
              <a:gd name="connsiteY133" fmla="*/ 0 h 6530269"/>
              <a:gd name="connsiteX0" fmla="*/ 8636594 w 8636594"/>
              <a:gd name="connsiteY0" fmla="*/ 0 h 6516778"/>
              <a:gd name="connsiteX1" fmla="*/ 5293 w 8636594"/>
              <a:gd name="connsiteY1" fmla="*/ 0 h 6516778"/>
              <a:gd name="connsiteX2" fmla="*/ 0 w 8636594"/>
              <a:gd name="connsiteY2" fmla="*/ 5587843 h 6516778"/>
              <a:gd name="connsiteX3" fmla="*/ 1594033 w 8636594"/>
              <a:gd name="connsiteY3" fmla="*/ 5600057 h 6516778"/>
              <a:gd name="connsiteX4" fmla="*/ 1686068 w 8636594"/>
              <a:gd name="connsiteY4" fmla="*/ 5599745 h 6516778"/>
              <a:gd name="connsiteX5" fmla="*/ 2582304 w 8636594"/>
              <a:gd name="connsiteY5" fmla="*/ 6516778 h 6516778"/>
              <a:gd name="connsiteX6" fmla="*/ 2636364 w 8636594"/>
              <a:gd name="connsiteY6" fmla="*/ 6502876 h 6516778"/>
              <a:gd name="connsiteX7" fmla="*/ 2689804 w 8636594"/>
              <a:gd name="connsiteY7" fmla="*/ 6488565 h 6516778"/>
              <a:gd name="connsiteX8" fmla="*/ 2742629 w 8636594"/>
              <a:gd name="connsiteY8" fmla="*/ 6473849 h 6516778"/>
              <a:gd name="connsiteX9" fmla="*/ 2794848 w 8636594"/>
              <a:gd name="connsiteY9" fmla="*/ 6458731 h 6516778"/>
              <a:gd name="connsiteX10" fmla="*/ 2846466 w 8636594"/>
              <a:gd name="connsiteY10" fmla="*/ 6443216 h 6516778"/>
              <a:gd name="connsiteX11" fmla="*/ 2897488 w 8636594"/>
              <a:gd name="connsiteY11" fmla="*/ 6427305 h 6516778"/>
              <a:gd name="connsiteX12" fmla="*/ 2947923 w 8636594"/>
              <a:gd name="connsiteY12" fmla="*/ 6411004 h 6516778"/>
              <a:gd name="connsiteX13" fmla="*/ 2997775 w 8636594"/>
              <a:gd name="connsiteY13" fmla="*/ 6394316 h 6516778"/>
              <a:gd name="connsiteX14" fmla="*/ 3047052 w 8636594"/>
              <a:gd name="connsiteY14" fmla="*/ 6377243 h 6516778"/>
              <a:gd name="connsiteX15" fmla="*/ 3095759 w 8636594"/>
              <a:gd name="connsiteY15" fmla="*/ 6359791 h 6516778"/>
              <a:gd name="connsiteX16" fmla="*/ 3143903 w 8636594"/>
              <a:gd name="connsiteY16" fmla="*/ 6341961 h 6516778"/>
              <a:gd name="connsiteX17" fmla="*/ 3191491 w 8636594"/>
              <a:gd name="connsiteY17" fmla="*/ 6323757 h 6516778"/>
              <a:gd name="connsiteX18" fmla="*/ 3238528 w 8636594"/>
              <a:gd name="connsiteY18" fmla="*/ 6305184 h 6516778"/>
              <a:gd name="connsiteX19" fmla="*/ 3285021 w 8636594"/>
              <a:gd name="connsiteY19" fmla="*/ 6286245 h 6516778"/>
              <a:gd name="connsiteX20" fmla="*/ 3330977 w 8636594"/>
              <a:gd name="connsiteY20" fmla="*/ 6266942 h 6516778"/>
              <a:gd name="connsiteX21" fmla="*/ 3376401 w 8636594"/>
              <a:gd name="connsiteY21" fmla="*/ 6247281 h 6516778"/>
              <a:gd name="connsiteX22" fmla="*/ 3421300 w 8636594"/>
              <a:gd name="connsiteY22" fmla="*/ 6227263 h 6516778"/>
              <a:gd name="connsiteX23" fmla="*/ 3465680 w 8636594"/>
              <a:gd name="connsiteY23" fmla="*/ 6206893 h 6516778"/>
              <a:gd name="connsiteX24" fmla="*/ 3509548 w 8636594"/>
              <a:gd name="connsiteY24" fmla="*/ 6186174 h 6516778"/>
              <a:gd name="connsiteX25" fmla="*/ 3552910 w 8636594"/>
              <a:gd name="connsiteY25" fmla="*/ 6165110 h 6516778"/>
              <a:gd name="connsiteX26" fmla="*/ 3595773 w 8636594"/>
              <a:gd name="connsiteY26" fmla="*/ 6143704 h 6516778"/>
              <a:gd name="connsiteX27" fmla="*/ 3638142 w 8636594"/>
              <a:gd name="connsiteY27" fmla="*/ 6121960 h 6516778"/>
              <a:gd name="connsiteX28" fmla="*/ 3680024 w 8636594"/>
              <a:gd name="connsiteY28" fmla="*/ 6099881 h 6516778"/>
              <a:gd name="connsiteX29" fmla="*/ 3721426 w 8636594"/>
              <a:gd name="connsiteY29" fmla="*/ 6077471 h 6516778"/>
              <a:gd name="connsiteX30" fmla="*/ 3762353 w 8636594"/>
              <a:gd name="connsiteY30" fmla="*/ 6054733 h 6516778"/>
              <a:gd name="connsiteX31" fmla="*/ 3802812 w 8636594"/>
              <a:gd name="connsiteY31" fmla="*/ 6031671 h 6516778"/>
              <a:gd name="connsiteX32" fmla="*/ 3842810 w 8636594"/>
              <a:gd name="connsiteY32" fmla="*/ 6008288 h 6516778"/>
              <a:gd name="connsiteX33" fmla="*/ 3882352 w 8636594"/>
              <a:gd name="connsiteY33" fmla="*/ 5984588 h 6516778"/>
              <a:gd name="connsiteX34" fmla="*/ 3921445 w 8636594"/>
              <a:gd name="connsiteY34" fmla="*/ 5960574 h 6516778"/>
              <a:gd name="connsiteX35" fmla="*/ 3960096 w 8636594"/>
              <a:gd name="connsiteY35" fmla="*/ 5936250 h 6516778"/>
              <a:gd name="connsiteX36" fmla="*/ 3998311 w 8636594"/>
              <a:gd name="connsiteY36" fmla="*/ 5911619 h 6516778"/>
              <a:gd name="connsiteX37" fmla="*/ 4036095 w 8636594"/>
              <a:gd name="connsiteY37" fmla="*/ 5886685 h 6516778"/>
              <a:gd name="connsiteX38" fmla="*/ 4073456 w 8636594"/>
              <a:gd name="connsiteY38" fmla="*/ 5861452 h 6516778"/>
              <a:gd name="connsiteX39" fmla="*/ 4110400 w 8636594"/>
              <a:gd name="connsiteY39" fmla="*/ 5835922 h 6516778"/>
              <a:gd name="connsiteX40" fmla="*/ 4146933 w 8636594"/>
              <a:gd name="connsiteY40" fmla="*/ 5810100 h 6516778"/>
              <a:gd name="connsiteX41" fmla="*/ 4183061 w 8636594"/>
              <a:gd name="connsiteY41" fmla="*/ 5783988 h 6516778"/>
              <a:gd name="connsiteX42" fmla="*/ 4218791 w 8636594"/>
              <a:gd name="connsiteY42" fmla="*/ 5757591 h 6516778"/>
              <a:gd name="connsiteX43" fmla="*/ 4254129 w 8636594"/>
              <a:gd name="connsiteY43" fmla="*/ 5730912 h 6516778"/>
              <a:gd name="connsiteX44" fmla="*/ 4289081 w 8636594"/>
              <a:gd name="connsiteY44" fmla="*/ 5703955 h 6516778"/>
              <a:gd name="connsiteX45" fmla="*/ 4323654 w 8636594"/>
              <a:gd name="connsiteY45" fmla="*/ 5676722 h 6516778"/>
              <a:gd name="connsiteX46" fmla="*/ 4357854 w 8636594"/>
              <a:gd name="connsiteY46" fmla="*/ 5649218 h 6516778"/>
              <a:gd name="connsiteX47" fmla="*/ 4391688 w 8636594"/>
              <a:gd name="connsiteY47" fmla="*/ 5621446 h 6516778"/>
              <a:gd name="connsiteX48" fmla="*/ 4425162 w 8636594"/>
              <a:gd name="connsiteY48" fmla="*/ 5593409 h 6516778"/>
              <a:gd name="connsiteX49" fmla="*/ 4458281 w 8636594"/>
              <a:gd name="connsiteY49" fmla="*/ 5565111 h 6516778"/>
              <a:gd name="connsiteX50" fmla="*/ 4491053 w 8636594"/>
              <a:gd name="connsiteY50" fmla="*/ 5536556 h 6516778"/>
              <a:gd name="connsiteX51" fmla="*/ 4523484 w 8636594"/>
              <a:gd name="connsiteY51" fmla="*/ 5507747 h 6516778"/>
              <a:gd name="connsiteX52" fmla="*/ 4555580 w 8636594"/>
              <a:gd name="connsiteY52" fmla="*/ 5478687 h 6516778"/>
              <a:gd name="connsiteX53" fmla="*/ 4587347 w 8636594"/>
              <a:gd name="connsiteY53" fmla="*/ 5449380 h 6516778"/>
              <a:gd name="connsiteX54" fmla="*/ 4618793 w 8636594"/>
              <a:gd name="connsiteY54" fmla="*/ 5419830 h 6516778"/>
              <a:gd name="connsiteX55" fmla="*/ 4649922 w 8636594"/>
              <a:gd name="connsiteY55" fmla="*/ 5390040 h 6516778"/>
              <a:gd name="connsiteX56" fmla="*/ 4680742 w 8636594"/>
              <a:gd name="connsiteY56" fmla="*/ 5360014 h 6516778"/>
              <a:gd name="connsiteX57" fmla="*/ 4711259 w 8636594"/>
              <a:gd name="connsiteY57" fmla="*/ 5329755 h 6516778"/>
              <a:gd name="connsiteX58" fmla="*/ 4741478 w 8636594"/>
              <a:gd name="connsiteY58" fmla="*/ 5299266 h 6516778"/>
              <a:gd name="connsiteX59" fmla="*/ 4771408 w 8636594"/>
              <a:gd name="connsiteY59" fmla="*/ 5268551 h 6516778"/>
              <a:gd name="connsiteX60" fmla="*/ 4801053 w 8636594"/>
              <a:gd name="connsiteY60" fmla="*/ 5237614 h 6516778"/>
              <a:gd name="connsiteX61" fmla="*/ 4830420 w 8636594"/>
              <a:gd name="connsiteY61" fmla="*/ 5206458 h 6516778"/>
              <a:gd name="connsiteX62" fmla="*/ 4859516 w 8636594"/>
              <a:gd name="connsiteY62" fmla="*/ 5175087 h 6516778"/>
              <a:gd name="connsiteX63" fmla="*/ 4888347 w 8636594"/>
              <a:gd name="connsiteY63" fmla="*/ 5143504 h 6516778"/>
              <a:gd name="connsiteX64" fmla="*/ 4916919 w 8636594"/>
              <a:gd name="connsiteY64" fmla="*/ 5111713 h 6516778"/>
              <a:gd name="connsiteX65" fmla="*/ 4945238 w 8636594"/>
              <a:gd name="connsiteY65" fmla="*/ 5079717 h 6516778"/>
              <a:gd name="connsiteX66" fmla="*/ 4973311 w 8636594"/>
              <a:gd name="connsiteY66" fmla="*/ 5047519 h 6516778"/>
              <a:gd name="connsiteX67" fmla="*/ 5001145 w 8636594"/>
              <a:gd name="connsiteY67" fmla="*/ 5015124 h 6516778"/>
              <a:gd name="connsiteX68" fmla="*/ 5028745 w 8636594"/>
              <a:gd name="connsiteY68" fmla="*/ 4982535 h 6516778"/>
              <a:gd name="connsiteX69" fmla="*/ 5056117 w 8636594"/>
              <a:gd name="connsiteY69" fmla="*/ 4949755 h 6516778"/>
              <a:gd name="connsiteX70" fmla="*/ 5083269 w 8636594"/>
              <a:gd name="connsiteY70" fmla="*/ 4916787 h 6516778"/>
              <a:gd name="connsiteX71" fmla="*/ 5110207 w 8636594"/>
              <a:gd name="connsiteY71" fmla="*/ 4883636 h 6516778"/>
              <a:gd name="connsiteX72" fmla="*/ 5136937 w 8636594"/>
              <a:gd name="connsiteY72" fmla="*/ 4850305 h 6516778"/>
              <a:gd name="connsiteX73" fmla="*/ 5163464 w 8636594"/>
              <a:gd name="connsiteY73" fmla="*/ 4816797 h 6516778"/>
              <a:gd name="connsiteX74" fmla="*/ 5215940 w 8636594"/>
              <a:gd name="connsiteY74" fmla="*/ 4749265 h 6516778"/>
              <a:gd name="connsiteX75" fmla="*/ 5267684 w 8636594"/>
              <a:gd name="connsiteY75" fmla="*/ 4681068 h 6516778"/>
              <a:gd name="connsiteX76" fmla="*/ 5318748 w 8636594"/>
              <a:gd name="connsiteY76" fmla="*/ 4612234 h 6516778"/>
              <a:gd name="connsiteX77" fmla="*/ 5369182 w 8636594"/>
              <a:gd name="connsiteY77" fmla="*/ 4542793 h 6516778"/>
              <a:gd name="connsiteX78" fmla="*/ 5419038 w 8636594"/>
              <a:gd name="connsiteY78" fmla="*/ 4472771 h 6516778"/>
              <a:gd name="connsiteX79" fmla="*/ 5468365 w 8636594"/>
              <a:gd name="connsiteY79" fmla="*/ 4402196 h 6516778"/>
              <a:gd name="connsiteX80" fmla="*/ 5517215 w 8636594"/>
              <a:gd name="connsiteY80" fmla="*/ 4331098 h 6516778"/>
              <a:gd name="connsiteX81" fmla="*/ 5565637 w 8636594"/>
              <a:gd name="connsiteY81" fmla="*/ 4259503 h 6516778"/>
              <a:gd name="connsiteX82" fmla="*/ 5613684 w 8636594"/>
              <a:gd name="connsiteY82" fmla="*/ 4187441 h 6516778"/>
              <a:gd name="connsiteX83" fmla="*/ 5685160 w 8636594"/>
              <a:gd name="connsiteY83" fmla="*/ 4078531 h 6516778"/>
              <a:gd name="connsiteX84" fmla="*/ 5756074 w 8636594"/>
              <a:gd name="connsiteY84" fmla="*/ 3968727 h 6516778"/>
              <a:gd name="connsiteX85" fmla="*/ 5873483 w 8636594"/>
              <a:gd name="connsiteY85" fmla="*/ 3783989 h 6516778"/>
              <a:gd name="connsiteX86" fmla="*/ 6203209 w 8636594"/>
              <a:gd name="connsiteY86" fmla="*/ 3258640 h 6516778"/>
              <a:gd name="connsiteX87" fmla="*/ 6299430 w 8636594"/>
              <a:gd name="connsiteY87" fmla="*/ 3107321 h 6516778"/>
              <a:gd name="connsiteX88" fmla="*/ 6372650 w 8636594"/>
              <a:gd name="connsiteY88" fmla="*/ 2993735 h 6516778"/>
              <a:gd name="connsiteX89" fmla="*/ 6453197 w 8636594"/>
              <a:gd name="connsiteY89" fmla="*/ 2869788 h 6516778"/>
              <a:gd name="connsiteX90" fmla="*/ 6564167 w 8636594"/>
              <a:gd name="connsiteY90" fmla="*/ 2696807 h 6516778"/>
              <a:gd name="connsiteX91" fmla="*/ 6976233 w 8636594"/>
              <a:gd name="connsiteY91" fmla="*/ 2045274 h 6516778"/>
              <a:gd name="connsiteX92" fmla="*/ 7086755 w 8636594"/>
              <a:gd name="connsiteY92" fmla="*/ 1872743 h 6516778"/>
              <a:gd name="connsiteX93" fmla="*/ 7170279 w 8636594"/>
              <a:gd name="connsiteY93" fmla="*/ 1744202 h 6516778"/>
              <a:gd name="connsiteX94" fmla="*/ 7226351 w 8636594"/>
              <a:gd name="connsiteY94" fmla="*/ 1659017 h 6516778"/>
              <a:gd name="connsiteX95" fmla="*/ 7282789 w 8636594"/>
              <a:gd name="connsiteY95" fmla="*/ 1574303 h 6516778"/>
              <a:gd name="connsiteX96" fmla="*/ 7339643 w 8636594"/>
              <a:gd name="connsiteY96" fmla="*/ 1490113 h 6516778"/>
              <a:gd name="connsiteX97" fmla="*/ 7396957 w 8636594"/>
              <a:gd name="connsiteY97" fmla="*/ 1406503 h 6516778"/>
              <a:gd name="connsiteX98" fmla="*/ 7454781 w 8636594"/>
              <a:gd name="connsiteY98" fmla="*/ 1323526 h 6516778"/>
              <a:gd name="connsiteX99" fmla="*/ 7513161 w 8636594"/>
              <a:gd name="connsiteY99" fmla="*/ 1241237 h 6516778"/>
              <a:gd name="connsiteX100" fmla="*/ 7572144 w 8636594"/>
              <a:gd name="connsiteY100" fmla="*/ 1159689 h 6516778"/>
              <a:gd name="connsiteX101" fmla="*/ 7601877 w 8636594"/>
              <a:gd name="connsiteY101" fmla="*/ 1119210 h 6516778"/>
              <a:gd name="connsiteX102" fmla="*/ 7631779 w 8636594"/>
              <a:gd name="connsiteY102" fmla="*/ 1078937 h 6516778"/>
              <a:gd name="connsiteX103" fmla="*/ 7661855 w 8636594"/>
              <a:gd name="connsiteY103" fmla="*/ 1038876 h 6516778"/>
              <a:gd name="connsiteX104" fmla="*/ 7692111 w 8636594"/>
              <a:gd name="connsiteY104" fmla="*/ 999035 h 6516778"/>
              <a:gd name="connsiteX105" fmla="*/ 7722554 w 8636594"/>
              <a:gd name="connsiteY105" fmla="*/ 959419 h 6516778"/>
              <a:gd name="connsiteX106" fmla="*/ 7753190 w 8636594"/>
              <a:gd name="connsiteY106" fmla="*/ 920037 h 6516778"/>
              <a:gd name="connsiteX107" fmla="*/ 7784023 w 8636594"/>
              <a:gd name="connsiteY107" fmla="*/ 880894 h 6516778"/>
              <a:gd name="connsiteX108" fmla="*/ 7815061 w 8636594"/>
              <a:gd name="connsiteY108" fmla="*/ 841997 h 6516778"/>
              <a:gd name="connsiteX109" fmla="*/ 7846308 w 8636594"/>
              <a:gd name="connsiteY109" fmla="*/ 803354 h 6516778"/>
              <a:gd name="connsiteX110" fmla="*/ 7877772 w 8636594"/>
              <a:gd name="connsiteY110" fmla="*/ 764970 h 6516778"/>
              <a:gd name="connsiteX111" fmla="*/ 7909458 w 8636594"/>
              <a:gd name="connsiteY111" fmla="*/ 726853 h 6516778"/>
              <a:gd name="connsiteX112" fmla="*/ 7941371 w 8636594"/>
              <a:gd name="connsiteY112" fmla="*/ 689010 h 6516778"/>
              <a:gd name="connsiteX113" fmla="*/ 7973518 w 8636594"/>
              <a:gd name="connsiteY113" fmla="*/ 651447 h 6516778"/>
              <a:gd name="connsiteX114" fmla="*/ 8005905 w 8636594"/>
              <a:gd name="connsiteY114" fmla="*/ 614171 h 6516778"/>
              <a:gd name="connsiteX115" fmla="*/ 8038538 w 8636594"/>
              <a:gd name="connsiteY115" fmla="*/ 577189 h 6516778"/>
              <a:gd name="connsiteX116" fmla="*/ 8071421 w 8636594"/>
              <a:gd name="connsiteY116" fmla="*/ 540507 h 6516778"/>
              <a:gd name="connsiteX117" fmla="*/ 8104563 w 8636594"/>
              <a:gd name="connsiteY117" fmla="*/ 504132 h 6516778"/>
              <a:gd name="connsiteX118" fmla="*/ 8137967 w 8636594"/>
              <a:gd name="connsiteY118" fmla="*/ 468072 h 6516778"/>
              <a:gd name="connsiteX119" fmla="*/ 8171641 w 8636594"/>
              <a:gd name="connsiteY119" fmla="*/ 432332 h 6516778"/>
              <a:gd name="connsiteX120" fmla="*/ 8205590 w 8636594"/>
              <a:gd name="connsiteY120" fmla="*/ 396920 h 6516778"/>
              <a:gd name="connsiteX121" fmla="*/ 8239820 w 8636594"/>
              <a:gd name="connsiteY121" fmla="*/ 361843 h 6516778"/>
              <a:gd name="connsiteX122" fmla="*/ 8274337 w 8636594"/>
              <a:gd name="connsiteY122" fmla="*/ 327107 h 6516778"/>
              <a:gd name="connsiteX123" fmla="*/ 8309147 w 8636594"/>
              <a:gd name="connsiteY123" fmla="*/ 292718 h 6516778"/>
              <a:gd name="connsiteX124" fmla="*/ 8344256 w 8636594"/>
              <a:gd name="connsiteY124" fmla="*/ 258685 h 6516778"/>
              <a:gd name="connsiteX125" fmla="*/ 8379669 w 8636594"/>
              <a:gd name="connsiteY125" fmla="*/ 225013 h 6516778"/>
              <a:gd name="connsiteX126" fmla="*/ 8415394 w 8636594"/>
              <a:gd name="connsiteY126" fmla="*/ 191709 h 6516778"/>
              <a:gd name="connsiteX127" fmla="*/ 8451434 w 8636594"/>
              <a:gd name="connsiteY127" fmla="*/ 158780 h 6516778"/>
              <a:gd name="connsiteX128" fmla="*/ 8487798 w 8636594"/>
              <a:gd name="connsiteY128" fmla="*/ 126233 h 6516778"/>
              <a:gd name="connsiteX129" fmla="*/ 8524489 w 8636594"/>
              <a:gd name="connsiteY129" fmla="*/ 94075 h 6516778"/>
              <a:gd name="connsiteX130" fmla="*/ 8561515 w 8636594"/>
              <a:gd name="connsiteY130" fmla="*/ 62312 h 6516778"/>
              <a:gd name="connsiteX131" fmla="*/ 8598881 w 8636594"/>
              <a:gd name="connsiteY131" fmla="*/ 30951 h 6516778"/>
              <a:gd name="connsiteX132" fmla="*/ 8636594 w 8636594"/>
              <a:gd name="connsiteY132" fmla="*/ 0 h 6516778"/>
              <a:gd name="connsiteX0" fmla="*/ 8636594 w 8636594"/>
              <a:gd name="connsiteY0" fmla="*/ 0 h 6502876"/>
              <a:gd name="connsiteX1" fmla="*/ 5293 w 8636594"/>
              <a:gd name="connsiteY1" fmla="*/ 0 h 6502876"/>
              <a:gd name="connsiteX2" fmla="*/ 0 w 8636594"/>
              <a:gd name="connsiteY2" fmla="*/ 5587843 h 6502876"/>
              <a:gd name="connsiteX3" fmla="*/ 1594033 w 8636594"/>
              <a:gd name="connsiteY3" fmla="*/ 5600057 h 6502876"/>
              <a:gd name="connsiteX4" fmla="*/ 1686068 w 8636594"/>
              <a:gd name="connsiteY4" fmla="*/ 5599745 h 6502876"/>
              <a:gd name="connsiteX5" fmla="*/ 2636364 w 8636594"/>
              <a:gd name="connsiteY5" fmla="*/ 6502876 h 6502876"/>
              <a:gd name="connsiteX6" fmla="*/ 2689804 w 8636594"/>
              <a:gd name="connsiteY6" fmla="*/ 6488565 h 6502876"/>
              <a:gd name="connsiteX7" fmla="*/ 2742629 w 8636594"/>
              <a:gd name="connsiteY7" fmla="*/ 6473849 h 6502876"/>
              <a:gd name="connsiteX8" fmla="*/ 2794848 w 8636594"/>
              <a:gd name="connsiteY8" fmla="*/ 6458731 h 6502876"/>
              <a:gd name="connsiteX9" fmla="*/ 2846466 w 8636594"/>
              <a:gd name="connsiteY9" fmla="*/ 6443216 h 6502876"/>
              <a:gd name="connsiteX10" fmla="*/ 2897488 w 8636594"/>
              <a:gd name="connsiteY10" fmla="*/ 6427305 h 6502876"/>
              <a:gd name="connsiteX11" fmla="*/ 2947923 w 8636594"/>
              <a:gd name="connsiteY11" fmla="*/ 6411004 h 6502876"/>
              <a:gd name="connsiteX12" fmla="*/ 2997775 w 8636594"/>
              <a:gd name="connsiteY12" fmla="*/ 6394316 h 6502876"/>
              <a:gd name="connsiteX13" fmla="*/ 3047052 w 8636594"/>
              <a:gd name="connsiteY13" fmla="*/ 6377243 h 6502876"/>
              <a:gd name="connsiteX14" fmla="*/ 3095759 w 8636594"/>
              <a:gd name="connsiteY14" fmla="*/ 6359791 h 6502876"/>
              <a:gd name="connsiteX15" fmla="*/ 3143903 w 8636594"/>
              <a:gd name="connsiteY15" fmla="*/ 6341961 h 6502876"/>
              <a:gd name="connsiteX16" fmla="*/ 3191491 w 8636594"/>
              <a:gd name="connsiteY16" fmla="*/ 6323757 h 6502876"/>
              <a:gd name="connsiteX17" fmla="*/ 3238528 w 8636594"/>
              <a:gd name="connsiteY17" fmla="*/ 6305184 h 6502876"/>
              <a:gd name="connsiteX18" fmla="*/ 3285021 w 8636594"/>
              <a:gd name="connsiteY18" fmla="*/ 6286245 h 6502876"/>
              <a:gd name="connsiteX19" fmla="*/ 3330977 w 8636594"/>
              <a:gd name="connsiteY19" fmla="*/ 6266942 h 6502876"/>
              <a:gd name="connsiteX20" fmla="*/ 3376401 w 8636594"/>
              <a:gd name="connsiteY20" fmla="*/ 6247281 h 6502876"/>
              <a:gd name="connsiteX21" fmla="*/ 3421300 w 8636594"/>
              <a:gd name="connsiteY21" fmla="*/ 6227263 h 6502876"/>
              <a:gd name="connsiteX22" fmla="*/ 3465680 w 8636594"/>
              <a:gd name="connsiteY22" fmla="*/ 6206893 h 6502876"/>
              <a:gd name="connsiteX23" fmla="*/ 3509548 w 8636594"/>
              <a:gd name="connsiteY23" fmla="*/ 6186174 h 6502876"/>
              <a:gd name="connsiteX24" fmla="*/ 3552910 w 8636594"/>
              <a:gd name="connsiteY24" fmla="*/ 6165110 h 6502876"/>
              <a:gd name="connsiteX25" fmla="*/ 3595773 w 8636594"/>
              <a:gd name="connsiteY25" fmla="*/ 6143704 h 6502876"/>
              <a:gd name="connsiteX26" fmla="*/ 3638142 w 8636594"/>
              <a:gd name="connsiteY26" fmla="*/ 6121960 h 6502876"/>
              <a:gd name="connsiteX27" fmla="*/ 3680024 w 8636594"/>
              <a:gd name="connsiteY27" fmla="*/ 6099881 h 6502876"/>
              <a:gd name="connsiteX28" fmla="*/ 3721426 w 8636594"/>
              <a:gd name="connsiteY28" fmla="*/ 6077471 h 6502876"/>
              <a:gd name="connsiteX29" fmla="*/ 3762353 w 8636594"/>
              <a:gd name="connsiteY29" fmla="*/ 6054733 h 6502876"/>
              <a:gd name="connsiteX30" fmla="*/ 3802812 w 8636594"/>
              <a:gd name="connsiteY30" fmla="*/ 6031671 h 6502876"/>
              <a:gd name="connsiteX31" fmla="*/ 3842810 w 8636594"/>
              <a:gd name="connsiteY31" fmla="*/ 6008288 h 6502876"/>
              <a:gd name="connsiteX32" fmla="*/ 3882352 w 8636594"/>
              <a:gd name="connsiteY32" fmla="*/ 5984588 h 6502876"/>
              <a:gd name="connsiteX33" fmla="*/ 3921445 w 8636594"/>
              <a:gd name="connsiteY33" fmla="*/ 5960574 h 6502876"/>
              <a:gd name="connsiteX34" fmla="*/ 3960096 w 8636594"/>
              <a:gd name="connsiteY34" fmla="*/ 5936250 h 6502876"/>
              <a:gd name="connsiteX35" fmla="*/ 3998311 w 8636594"/>
              <a:gd name="connsiteY35" fmla="*/ 5911619 h 6502876"/>
              <a:gd name="connsiteX36" fmla="*/ 4036095 w 8636594"/>
              <a:gd name="connsiteY36" fmla="*/ 5886685 h 6502876"/>
              <a:gd name="connsiteX37" fmla="*/ 4073456 w 8636594"/>
              <a:gd name="connsiteY37" fmla="*/ 5861452 h 6502876"/>
              <a:gd name="connsiteX38" fmla="*/ 4110400 w 8636594"/>
              <a:gd name="connsiteY38" fmla="*/ 5835922 h 6502876"/>
              <a:gd name="connsiteX39" fmla="*/ 4146933 w 8636594"/>
              <a:gd name="connsiteY39" fmla="*/ 5810100 h 6502876"/>
              <a:gd name="connsiteX40" fmla="*/ 4183061 w 8636594"/>
              <a:gd name="connsiteY40" fmla="*/ 5783988 h 6502876"/>
              <a:gd name="connsiteX41" fmla="*/ 4218791 w 8636594"/>
              <a:gd name="connsiteY41" fmla="*/ 5757591 h 6502876"/>
              <a:gd name="connsiteX42" fmla="*/ 4254129 w 8636594"/>
              <a:gd name="connsiteY42" fmla="*/ 5730912 h 6502876"/>
              <a:gd name="connsiteX43" fmla="*/ 4289081 w 8636594"/>
              <a:gd name="connsiteY43" fmla="*/ 5703955 h 6502876"/>
              <a:gd name="connsiteX44" fmla="*/ 4323654 w 8636594"/>
              <a:gd name="connsiteY44" fmla="*/ 5676722 h 6502876"/>
              <a:gd name="connsiteX45" fmla="*/ 4357854 w 8636594"/>
              <a:gd name="connsiteY45" fmla="*/ 5649218 h 6502876"/>
              <a:gd name="connsiteX46" fmla="*/ 4391688 w 8636594"/>
              <a:gd name="connsiteY46" fmla="*/ 5621446 h 6502876"/>
              <a:gd name="connsiteX47" fmla="*/ 4425162 w 8636594"/>
              <a:gd name="connsiteY47" fmla="*/ 5593409 h 6502876"/>
              <a:gd name="connsiteX48" fmla="*/ 4458281 w 8636594"/>
              <a:gd name="connsiteY48" fmla="*/ 5565111 h 6502876"/>
              <a:gd name="connsiteX49" fmla="*/ 4491053 w 8636594"/>
              <a:gd name="connsiteY49" fmla="*/ 5536556 h 6502876"/>
              <a:gd name="connsiteX50" fmla="*/ 4523484 w 8636594"/>
              <a:gd name="connsiteY50" fmla="*/ 5507747 h 6502876"/>
              <a:gd name="connsiteX51" fmla="*/ 4555580 w 8636594"/>
              <a:gd name="connsiteY51" fmla="*/ 5478687 h 6502876"/>
              <a:gd name="connsiteX52" fmla="*/ 4587347 w 8636594"/>
              <a:gd name="connsiteY52" fmla="*/ 5449380 h 6502876"/>
              <a:gd name="connsiteX53" fmla="*/ 4618793 w 8636594"/>
              <a:gd name="connsiteY53" fmla="*/ 5419830 h 6502876"/>
              <a:gd name="connsiteX54" fmla="*/ 4649922 w 8636594"/>
              <a:gd name="connsiteY54" fmla="*/ 5390040 h 6502876"/>
              <a:gd name="connsiteX55" fmla="*/ 4680742 w 8636594"/>
              <a:gd name="connsiteY55" fmla="*/ 5360014 h 6502876"/>
              <a:gd name="connsiteX56" fmla="*/ 4711259 w 8636594"/>
              <a:gd name="connsiteY56" fmla="*/ 5329755 h 6502876"/>
              <a:gd name="connsiteX57" fmla="*/ 4741478 w 8636594"/>
              <a:gd name="connsiteY57" fmla="*/ 5299266 h 6502876"/>
              <a:gd name="connsiteX58" fmla="*/ 4771408 w 8636594"/>
              <a:gd name="connsiteY58" fmla="*/ 5268551 h 6502876"/>
              <a:gd name="connsiteX59" fmla="*/ 4801053 w 8636594"/>
              <a:gd name="connsiteY59" fmla="*/ 5237614 h 6502876"/>
              <a:gd name="connsiteX60" fmla="*/ 4830420 w 8636594"/>
              <a:gd name="connsiteY60" fmla="*/ 5206458 h 6502876"/>
              <a:gd name="connsiteX61" fmla="*/ 4859516 w 8636594"/>
              <a:gd name="connsiteY61" fmla="*/ 5175087 h 6502876"/>
              <a:gd name="connsiteX62" fmla="*/ 4888347 w 8636594"/>
              <a:gd name="connsiteY62" fmla="*/ 5143504 h 6502876"/>
              <a:gd name="connsiteX63" fmla="*/ 4916919 w 8636594"/>
              <a:gd name="connsiteY63" fmla="*/ 5111713 h 6502876"/>
              <a:gd name="connsiteX64" fmla="*/ 4945238 w 8636594"/>
              <a:gd name="connsiteY64" fmla="*/ 5079717 h 6502876"/>
              <a:gd name="connsiteX65" fmla="*/ 4973311 w 8636594"/>
              <a:gd name="connsiteY65" fmla="*/ 5047519 h 6502876"/>
              <a:gd name="connsiteX66" fmla="*/ 5001145 w 8636594"/>
              <a:gd name="connsiteY66" fmla="*/ 5015124 h 6502876"/>
              <a:gd name="connsiteX67" fmla="*/ 5028745 w 8636594"/>
              <a:gd name="connsiteY67" fmla="*/ 4982535 h 6502876"/>
              <a:gd name="connsiteX68" fmla="*/ 5056117 w 8636594"/>
              <a:gd name="connsiteY68" fmla="*/ 4949755 h 6502876"/>
              <a:gd name="connsiteX69" fmla="*/ 5083269 w 8636594"/>
              <a:gd name="connsiteY69" fmla="*/ 4916787 h 6502876"/>
              <a:gd name="connsiteX70" fmla="*/ 5110207 w 8636594"/>
              <a:gd name="connsiteY70" fmla="*/ 4883636 h 6502876"/>
              <a:gd name="connsiteX71" fmla="*/ 5136937 w 8636594"/>
              <a:gd name="connsiteY71" fmla="*/ 4850305 h 6502876"/>
              <a:gd name="connsiteX72" fmla="*/ 5163464 w 8636594"/>
              <a:gd name="connsiteY72" fmla="*/ 4816797 h 6502876"/>
              <a:gd name="connsiteX73" fmla="*/ 5215940 w 8636594"/>
              <a:gd name="connsiteY73" fmla="*/ 4749265 h 6502876"/>
              <a:gd name="connsiteX74" fmla="*/ 5267684 w 8636594"/>
              <a:gd name="connsiteY74" fmla="*/ 4681068 h 6502876"/>
              <a:gd name="connsiteX75" fmla="*/ 5318748 w 8636594"/>
              <a:gd name="connsiteY75" fmla="*/ 4612234 h 6502876"/>
              <a:gd name="connsiteX76" fmla="*/ 5369182 w 8636594"/>
              <a:gd name="connsiteY76" fmla="*/ 4542793 h 6502876"/>
              <a:gd name="connsiteX77" fmla="*/ 5419038 w 8636594"/>
              <a:gd name="connsiteY77" fmla="*/ 4472771 h 6502876"/>
              <a:gd name="connsiteX78" fmla="*/ 5468365 w 8636594"/>
              <a:gd name="connsiteY78" fmla="*/ 4402196 h 6502876"/>
              <a:gd name="connsiteX79" fmla="*/ 5517215 w 8636594"/>
              <a:gd name="connsiteY79" fmla="*/ 4331098 h 6502876"/>
              <a:gd name="connsiteX80" fmla="*/ 5565637 w 8636594"/>
              <a:gd name="connsiteY80" fmla="*/ 4259503 h 6502876"/>
              <a:gd name="connsiteX81" fmla="*/ 5613684 w 8636594"/>
              <a:gd name="connsiteY81" fmla="*/ 4187441 h 6502876"/>
              <a:gd name="connsiteX82" fmla="*/ 5685160 w 8636594"/>
              <a:gd name="connsiteY82" fmla="*/ 4078531 h 6502876"/>
              <a:gd name="connsiteX83" fmla="*/ 5756074 w 8636594"/>
              <a:gd name="connsiteY83" fmla="*/ 3968727 h 6502876"/>
              <a:gd name="connsiteX84" fmla="*/ 5873483 w 8636594"/>
              <a:gd name="connsiteY84" fmla="*/ 3783989 h 6502876"/>
              <a:gd name="connsiteX85" fmla="*/ 6203209 w 8636594"/>
              <a:gd name="connsiteY85" fmla="*/ 3258640 h 6502876"/>
              <a:gd name="connsiteX86" fmla="*/ 6299430 w 8636594"/>
              <a:gd name="connsiteY86" fmla="*/ 3107321 h 6502876"/>
              <a:gd name="connsiteX87" fmla="*/ 6372650 w 8636594"/>
              <a:gd name="connsiteY87" fmla="*/ 2993735 h 6502876"/>
              <a:gd name="connsiteX88" fmla="*/ 6453197 w 8636594"/>
              <a:gd name="connsiteY88" fmla="*/ 2869788 h 6502876"/>
              <a:gd name="connsiteX89" fmla="*/ 6564167 w 8636594"/>
              <a:gd name="connsiteY89" fmla="*/ 2696807 h 6502876"/>
              <a:gd name="connsiteX90" fmla="*/ 6976233 w 8636594"/>
              <a:gd name="connsiteY90" fmla="*/ 2045274 h 6502876"/>
              <a:gd name="connsiteX91" fmla="*/ 7086755 w 8636594"/>
              <a:gd name="connsiteY91" fmla="*/ 1872743 h 6502876"/>
              <a:gd name="connsiteX92" fmla="*/ 7170279 w 8636594"/>
              <a:gd name="connsiteY92" fmla="*/ 1744202 h 6502876"/>
              <a:gd name="connsiteX93" fmla="*/ 7226351 w 8636594"/>
              <a:gd name="connsiteY93" fmla="*/ 1659017 h 6502876"/>
              <a:gd name="connsiteX94" fmla="*/ 7282789 w 8636594"/>
              <a:gd name="connsiteY94" fmla="*/ 1574303 h 6502876"/>
              <a:gd name="connsiteX95" fmla="*/ 7339643 w 8636594"/>
              <a:gd name="connsiteY95" fmla="*/ 1490113 h 6502876"/>
              <a:gd name="connsiteX96" fmla="*/ 7396957 w 8636594"/>
              <a:gd name="connsiteY96" fmla="*/ 1406503 h 6502876"/>
              <a:gd name="connsiteX97" fmla="*/ 7454781 w 8636594"/>
              <a:gd name="connsiteY97" fmla="*/ 1323526 h 6502876"/>
              <a:gd name="connsiteX98" fmla="*/ 7513161 w 8636594"/>
              <a:gd name="connsiteY98" fmla="*/ 1241237 h 6502876"/>
              <a:gd name="connsiteX99" fmla="*/ 7572144 w 8636594"/>
              <a:gd name="connsiteY99" fmla="*/ 1159689 h 6502876"/>
              <a:gd name="connsiteX100" fmla="*/ 7601877 w 8636594"/>
              <a:gd name="connsiteY100" fmla="*/ 1119210 h 6502876"/>
              <a:gd name="connsiteX101" fmla="*/ 7631779 w 8636594"/>
              <a:gd name="connsiteY101" fmla="*/ 1078937 h 6502876"/>
              <a:gd name="connsiteX102" fmla="*/ 7661855 w 8636594"/>
              <a:gd name="connsiteY102" fmla="*/ 1038876 h 6502876"/>
              <a:gd name="connsiteX103" fmla="*/ 7692111 w 8636594"/>
              <a:gd name="connsiteY103" fmla="*/ 999035 h 6502876"/>
              <a:gd name="connsiteX104" fmla="*/ 7722554 w 8636594"/>
              <a:gd name="connsiteY104" fmla="*/ 959419 h 6502876"/>
              <a:gd name="connsiteX105" fmla="*/ 7753190 w 8636594"/>
              <a:gd name="connsiteY105" fmla="*/ 920037 h 6502876"/>
              <a:gd name="connsiteX106" fmla="*/ 7784023 w 8636594"/>
              <a:gd name="connsiteY106" fmla="*/ 880894 h 6502876"/>
              <a:gd name="connsiteX107" fmla="*/ 7815061 w 8636594"/>
              <a:gd name="connsiteY107" fmla="*/ 841997 h 6502876"/>
              <a:gd name="connsiteX108" fmla="*/ 7846308 w 8636594"/>
              <a:gd name="connsiteY108" fmla="*/ 803354 h 6502876"/>
              <a:gd name="connsiteX109" fmla="*/ 7877772 w 8636594"/>
              <a:gd name="connsiteY109" fmla="*/ 764970 h 6502876"/>
              <a:gd name="connsiteX110" fmla="*/ 7909458 w 8636594"/>
              <a:gd name="connsiteY110" fmla="*/ 726853 h 6502876"/>
              <a:gd name="connsiteX111" fmla="*/ 7941371 w 8636594"/>
              <a:gd name="connsiteY111" fmla="*/ 689010 h 6502876"/>
              <a:gd name="connsiteX112" fmla="*/ 7973518 w 8636594"/>
              <a:gd name="connsiteY112" fmla="*/ 651447 h 6502876"/>
              <a:gd name="connsiteX113" fmla="*/ 8005905 w 8636594"/>
              <a:gd name="connsiteY113" fmla="*/ 614171 h 6502876"/>
              <a:gd name="connsiteX114" fmla="*/ 8038538 w 8636594"/>
              <a:gd name="connsiteY114" fmla="*/ 577189 h 6502876"/>
              <a:gd name="connsiteX115" fmla="*/ 8071421 w 8636594"/>
              <a:gd name="connsiteY115" fmla="*/ 540507 h 6502876"/>
              <a:gd name="connsiteX116" fmla="*/ 8104563 w 8636594"/>
              <a:gd name="connsiteY116" fmla="*/ 504132 h 6502876"/>
              <a:gd name="connsiteX117" fmla="*/ 8137967 w 8636594"/>
              <a:gd name="connsiteY117" fmla="*/ 468072 h 6502876"/>
              <a:gd name="connsiteX118" fmla="*/ 8171641 w 8636594"/>
              <a:gd name="connsiteY118" fmla="*/ 432332 h 6502876"/>
              <a:gd name="connsiteX119" fmla="*/ 8205590 w 8636594"/>
              <a:gd name="connsiteY119" fmla="*/ 396920 h 6502876"/>
              <a:gd name="connsiteX120" fmla="*/ 8239820 w 8636594"/>
              <a:gd name="connsiteY120" fmla="*/ 361843 h 6502876"/>
              <a:gd name="connsiteX121" fmla="*/ 8274337 w 8636594"/>
              <a:gd name="connsiteY121" fmla="*/ 327107 h 6502876"/>
              <a:gd name="connsiteX122" fmla="*/ 8309147 w 8636594"/>
              <a:gd name="connsiteY122" fmla="*/ 292718 h 6502876"/>
              <a:gd name="connsiteX123" fmla="*/ 8344256 w 8636594"/>
              <a:gd name="connsiteY123" fmla="*/ 258685 h 6502876"/>
              <a:gd name="connsiteX124" fmla="*/ 8379669 w 8636594"/>
              <a:gd name="connsiteY124" fmla="*/ 225013 h 6502876"/>
              <a:gd name="connsiteX125" fmla="*/ 8415394 w 8636594"/>
              <a:gd name="connsiteY125" fmla="*/ 191709 h 6502876"/>
              <a:gd name="connsiteX126" fmla="*/ 8451434 w 8636594"/>
              <a:gd name="connsiteY126" fmla="*/ 158780 h 6502876"/>
              <a:gd name="connsiteX127" fmla="*/ 8487798 w 8636594"/>
              <a:gd name="connsiteY127" fmla="*/ 126233 h 6502876"/>
              <a:gd name="connsiteX128" fmla="*/ 8524489 w 8636594"/>
              <a:gd name="connsiteY128" fmla="*/ 94075 h 6502876"/>
              <a:gd name="connsiteX129" fmla="*/ 8561515 w 8636594"/>
              <a:gd name="connsiteY129" fmla="*/ 62312 h 6502876"/>
              <a:gd name="connsiteX130" fmla="*/ 8598881 w 8636594"/>
              <a:gd name="connsiteY130" fmla="*/ 30951 h 6502876"/>
              <a:gd name="connsiteX131" fmla="*/ 8636594 w 8636594"/>
              <a:gd name="connsiteY131" fmla="*/ 0 h 6502876"/>
              <a:gd name="connsiteX0" fmla="*/ 8636594 w 8636594"/>
              <a:gd name="connsiteY0" fmla="*/ 0 h 6488565"/>
              <a:gd name="connsiteX1" fmla="*/ 5293 w 8636594"/>
              <a:gd name="connsiteY1" fmla="*/ 0 h 6488565"/>
              <a:gd name="connsiteX2" fmla="*/ 0 w 8636594"/>
              <a:gd name="connsiteY2" fmla="*/ 5587843 h 6488565"/>
              <a:gd name="connsiteX3" fmla="*/ 1594033 w 8636594"/>
              <a:gd name="connsiteY3" fmla="*/ 5600057 h 6488565"/>
              <a:gd name="connsiteX4" fmla="*/ 1686068 w 8636594"/>
              <a:gd name="connsiteY4" fmla="*/ 5599745 h 6488565"/>
              <a:gd name="connsiteX5" fmla="*/ 2689804 w 8636594"/>
              <a:gd name="connsiteY5" fmla="*/ 6488565 h 6488565"/>
              <a:gd name="connsiteX6" fmla="*/ 2742629 w 8636594"/>
              <a:gd name="connsiteY6" fmla="*/ 6473849 h 6488565"/>
              <a:gd name="connsiteX7" fmla="*/ 2794848 w 8636594"/>
              <a:gd name="connsiteY7" fmla="*/ 6458731 h 6488565"/>
              <a:gd name="connsiteX8" fmla="*/ 2846466 w 8636594"/>
              <a:gd name="connsiteY8" fmla="*/ 6443216 h 6488565"/>
              <a:gd name="connsiteX9" fmla="*/ 2897488 w 8636594"/>
              <a:gd name="connsiteY9" fmla="*/ 6427305 h 6488565"/>
              <a:gd name="connsiteX10" fmla="*/ 2947923 w 8636594"/>
              <a:gd name="connsiteY10" fmla="*/ 6411004 h 6488565"/>
              <a:gd name="connsiteX11" fmla="*/ 2997775 w 8636594"/>
              <a:gd name="connsiteY11" fmla="*/ 6394316 h 6488565"/>
              <a:gd name="connsiteX12" fmla="*/ 3047052 w 8636594"/>
              <a:gd name="connsiteY12" fmla="*/ 6377243 h 6488565"/>
              <a:gd name="connsiteX13" fmla="*/ 3095759 w 8636594"/>
              <a:gd name="connsiteY13" fmla="*/ 6359791 h 6488565"/>
              <a:gd name="connsiteX14" fmla="*/ 3143903 w 8636594"/>
              <a:gd name="connsiteY14" fmla="*/ 6341961 h 6488565"/>
              <a:gd name="connsiteX15" fmla="*/ 3191491 w 8636594"/>
              <a:gd name="connsiteY15" fmla="*/ 6323757 h 6488565"/>
              <a:gd name="connsiteX16" fmla="*/ 3238528 w 8636594"/>
              <a:gd name="connsiteY16" fmla="*/ 6305184 h 6488565"/>
              <a:gd name="connsiteX17" fmla="*/ 3285021 w 8636594"/>
              <a:gd name="connsiteY17" fmla="*/ 6286245 h 6488565"/>
              <a:gd name="connsiteX18" fmla="*/ 3330977 w 8636594"/>
              <a:gd name="connsiteY18" fmla="*/ 6266942 h 6488565"/>
              <a:gd name="connsiteX19" fmla="*/ 3376401 w 8636594"/>
              <a:gd name="connsiteY19" fmla="*/ 6247281 h 6488565"/>
              <a:gd name="connsiteX20" fmla="*/ 3421300 w 8636594"/>
              <a:gd name="connsiteY20" fmla="*/ 6227263 h 6488565"/>
              <a:gd name="connsiteX21" fmla="*/ 3465680 w 8636594"/>
              <a:gd name="connsiteY21" fmla="*/ 6206893 h 6488565"/>
              <a:gd name="connsiteX22" fmla="*/ 3509548 w 8636594"/>
              <a:gd name="connsiteY22" fmla="*/ 6186174 h 6488565"/>
              <a:gd name="connsiteX23" fmla="*/ 3552910 w 8636594"/>
              <a:gd name="connsiteY23" fmla="*/ 6165110 h 6488565"/>
              <a:gd name="connsiteX24" fmla="*/ 3595773 w 8636594"/>
              <a:gd name="connsiteY24" fmla="*/ 6143704 h 6488565"/>
              <a:gd name="connsiteX25" fmla="*/ 3638142 w 8636594"/>
              <a:gd name="connsiteY25" fmla="*/ 6121960 h 6488565"/>
              <a:gd name="connsiteX26" fmla="*/ 3680024 w 8636594"/>
              <a:gd name="connsiteY26" fmla="*/ 6099881 h 6488565"/>
              <a:gd name="connsiteX27" fmla="*/ 3721426 w 8636594"/>
              <a:gd name="connsiteY27" fmla="*/ 6077471 h 6488565"/>
              <a:gd name="connsiteX28" fmla="*/ 3762353 w 8636594"/>
              <a:gd name="connsiteY28" fmla="*/ 6054733 h 6488565"/>
              <a:gd name="connsiteX29" fmla="*/ 3802812 w 8636594"/>
              <a:gd name="connsiteY29" fmla="*/ 6031671 h 6488565"/>
              <a:gd name="connsiteX30" fmla="*/ 3842810 w 8636594"/>
              <a:gd name="connsiteY30" fmla="*/ 6008288 h 6488565"/>
              <a:gd name="connsiteX31" fmla="*/ 3882352 w 8636594"/>
              <a:gd name="connsiteY31" fmla="*/ 5984588 h 6488565"/>
              <a:gd name="connsiteX32" fmla="*/ 3921445 w 8636594"/>
              <a:gd name="connsiteY32" fmla="*/ 5960574 h 6488565"/>
              <a:gd name="connsiteX33" fmla="*/ 3960096 w 8636594"/>
              <a:gd name="connsiteY33" fmla="*/ 5936250 h 6488565"/>
              <a:gd name="connsiteX34" fmla="*/ 3998311 w 8636594"/>
              <a:gd name="connsiteY34" fmla="*/ 5911619 h 6488565"/>
              <a:gd name="connsiteX35" fmla="*/ 4036095 w 8636594"/>
              <a:gd name="connsiteY35" fmla="*/ 5886685 h 6488565"/>
              <a:gd name="connsiteX36" fmla="*/ 4073456 w 8636594"/>
              <a:gd name="connsiteY36" fmla="*/ 5861452 h 6488565"/>
              <a:gd name="connsiteX37" fmla="*/ 4110400 w 8636594"/>
              <a:gd name="connsiteY37" fmla="*/ 5835922 h 6488565"/>
              <a:gd name="connsiteX38" fmla="*/ 4146933 w 8636594"/>
              <a:gd name="connsiteY38" fmla="*/ 5810100 h 6488565"/>
              <a:gd name="connsiteX39" fmla="*/ 4183061 w 8636594"/>
              <a:gd name="connsiteY39" fmla="*/ 5783988 h 6488565"/>
              <a:gd name="connsiteX40" fmla="*/ 4218791 w 8636594"/>
              <a:gd name="connsiteY40" fmla="*/ 5757591 h 6488565"/>
              <a:gd name="connsiteX41" fmla="*/ 4254129 w 8636594"/>
              <a:gd name="connsiteY41" fmla="*/ 5730912 h 6488565"/>
              <a:gd name="connsiteX42" fmla="*/ 4289081 w 8636594"/>
              <a:gd name="connsiteY42" fmla="*/ 5703955 h 6488565"/>
              <a:gd name="connsiteX43" fmla="*/ 4323654 w 8636594"/>
              <a:gd name="connsiteY43" fmla="*/ 5676722 h 6488565"/>
              <a:gd name="connsiteX44" fmla="*/ 4357854 w 8636594"/>
              <a:gd name="connsiteY44" fmla="*/ 5649218 h 6488565"/>
              <a:gd name="connsiteX45" fmla="*/ 4391688 w 8636594"/>
              <a:gd name="connsiteY45" fmla="*/ 5621446 h 6488565"/>
              <a:gd name="connsiteX46" fmla="*/ 4425162 w 8636594"/>
              <a:gd name="connsiteY46" fmla="*/ 5593409 h 6488565"/>
              <a:gd name="connsiteX47" fmla="*/ 4458281 w 8636594"/>
              <a:gd name="connsiteY47" fmla="*/ 5565111 h 6488565"/>
              <a:gd name="connsiteX48" fmla="*/ 4491053 w 8636594"/>
              <a:gd name="connsiteY48" fmla="*/ 5536556 h 6488565"/>
              <a:gd name="connsiteX49" fmla="*/ 4523484 w 8636594"/>
              <a:gd name="connsiteY49" fmla="*/ 5507747 h 6488565"/>
              <a:gd name="connsiteX50" fmla="*/ 4555580 w 8636594"/>
              <a:gd name="connsiteY50" fmla="*/ 5478687 h 6488565"/>
              <a:gd name="connsiteX51" fmla="*/ 4587347 w 8636594"/>
              <a:gd name="connsiteY51" fmla="*/ 5449380 h 6488565"/>
              <a:gd name="connsiteX52" fmla="*/ 4618793 w 8636594"/>
              <a:gd name="connsiteY52" fmla="*/ 5419830 h 6488565"/>
              <a:gd name="connsiteX53" fmla="*/ 4649922 w 8636594"/>
              <a:gd name="connsiteY53" fmla="*/ 5390040 h 6488565"/>
              <a:gd name="connsiteX54" fmla="*/ 4680742 w 8636594"/>
              <a:gd name="connsiteY54" fmla="*/ 5360014 h 6488565"/>
              <a:gd name="connsiteX55" fmla="*/ 4711259 w 8636594"/>
              <a:gd name="connsiteY55" fmla="*/ 5329755 h 6488565"/>
              <a:gd name="connsiteX56" fmla="*/ 4741478 w 8636594"/>
              <a:gd name="connsiteY56" fmla="*/ 5299266 h 6488565"/>
              <a:gd name="connsiteX57" fmla="*/ 4771408 w 8636594"/>
              <a:gd name="connsiteY57" fmla="*/ 5268551 h 6488565"/>
              <a:gd name="connsiteX58" fmla="*/ 4801053 w 8636594"/>
              <a:gd name="connsiteY58" fmla="*/ 5237614 h 6488565"/>
              <a:gd name="connsiteX59" fmla="*/ 4830420 w 8636594"/>
              <a:gd name="connsiteY59" fmla="*/ 5206458 h 6488565"/>
              <a:gd name="connsiteX60" fmla="*/ 4859516 w 8636594"/>
              <a:gd name="connsiteY60" fmla="*/ 5175087 h 6488565"/>
              <a:gd name="connsiteX61" fmla="*/ 4888347 w 8636594"/>
              <a:gd name="connsiteY61" fmla="*/ 5143504 h 6488565"/>
              <a:gd name="connsiteX62" fmla="*/ 4916919 w 8636594"/>
              <a:gd name="connsiteY62" fmla="*/ 5111713 h 6488565"/>
              <a:gd name="connsiteX63" fmla="*/ 4945238 w 8636594"/>
              <a:gd name="connsiteY63" fmla="*/ 5079717 h 6488565"/>
              <a:gd name="connsiteX64" fmla="*/ 4973311 w 8636594"/>
              <a:gd name="connsiteY64" fmla="*/ 5047519 h 6488565"/>
              <a:gd name="connsiteX65" fmla="*/ 5001145 w 8636594"/>
              <a:gd name="connsiteY65" fmla="*/ 5015124 h 6488565"/>
              <a:gd name="connsiteX66" fmla="*/ 5028745 w 8636594"/>
              <a:gd name="connsiteY66" fmla="*/ 4982535 h 6488565"/>
              <a:gd name="connsiteX67" fmla="*/ 5056117 w 8636594"/>
              <a:gd name="connsiteY67" fmla="*/ 4949755 h 6488565"/>
              <a:gd name="connsiteX68" fmla="*/ 5083269 w 8636594"/>
              <a:gd name="connsiteY68" fmla="*/ 4916787 h 6488565"/>
              <a:gd name="connsiteX69" fmla="*/ 5110207 w 8636594"/>
              <a:gd name="connsiteY69" fmla="*/ 4883636 h 6488565"/>
              <a:gd name="connsiteX70" fmla="*/ 5136937 w 8636594"/>
              <a:gd name="connsiteY70" fmla="*/ 4850305 h 6488565"/>
              <a:gd name="connsiteX71" fmla="*/ 5163464 w 8636594"/>
              <a:gd name="connsiteY71" fmla="*/ 4816797 h 6488565"/>
              <a:gd name="connsiteX72" fmla="*/ 5215940 w 8636594"/>
              <a:gd name="connsiteY72" fmla="*/ 4749265 h 6488565"/>
              <a:gd name="connsiteX73" fmla="*/ 5267684 w 8636594"/>
              <a:gd name="connsiteY73" fmla="*/ 4681068 h 6488565"/>
              <a:gd name="connsiteX74" fmla="*/ 5318748 w 8636594"/>
              <a:gd name="connsiteY74" fmla="*/ 4612234 h 6488565"/>
              <a:gd name="connsiteX75" fmla="*/ 5369182 w 8636594"/>
              <a:gd name="connsiteY75" fmla="*/ 4542793 h 6488565"/>
              <a:gd name="connsiteX76" fmla="*/ 5419038 w 8636594"/>
              <a:gd name="connsiteY76" fmla="*/ 4472771 h 6488565"/>
              <a:gd name="connsiteX77" fmla="*/ 5468365 w 8636594"/>
              <a:gd name="connsiteY77" fmla="*/ 4402196 h 6488565"/>
              <a:gd name="connsiteX78" fmla="*/ 5517215 w 8636594"/>
              <a:gd name="connsiteY78" fmla="*/ 4331098 h 6488565"/>
              <a:gd name="connsiteX79" fmla="*/ 5565637 w 8636594"/>
              <a:gd name="connsiteY79" fmla="*/ 4259503 h 6488565"/>
              <a:gd name="connsiteX80" fmla="*/ 5613684 w 8636594"/>
              <a:gd name="connsiteY80" fmla="*/ 4187441 h 6488565"/>
              <a:gd name="connsiteX81" fmla="*/ 5685160 w 8636594"/>
              <a:gd name="connsiteY81" fmla="*/ 4078531 h 6488565"/>
              <a:gd name="connsiteX82" fmla="*/ 5756074 w 8636594"/>
              <a:gd name="connsiteY82" fmla="*/ 3968727 h 6488565"/>
              <a:gd name="connsiteX83" fmla="*/ 5873483 w 8636594"/>
              <a:gd name="connsiteY83" fmla="*/ 3783989 h 6488565"/>
              <a:gd name="connsiteX84" fmla="*/ 6203209 w 8636594"/>
              <a:gd name="connsiteY84" fmla="*/ 3258640 h 6488565"/>
              <a:gd name="connsiteX85" fmla="*/ 6299430 w 8636594"/>
              <a:gd name="connsiteY85" fmla="*/ 3107321 h 6488565"/>
              <a:gd name="connsiteX86" fmla="*/ 6372650 w 8636594"/>
              <a:gd name="connsiteY86" fmla="*/ 2993735 h 6488565"/>
              <a:gd name="connsiteX87" fmla="*/ 6453197 w 8636594"/>
              <a:gd name="connsiteY87" fmla="*/ 2869788 h 6488565"/>
              <a:gd name="connsiteX88" fmla="*/ 6564167 w 8636594"/>
              <a:gd name="connsiteY88" fmla="*/ 2696807 h 6488565"/>
              <a:gd name="connsiteX89" fmla="*/ 6976233 w 8636594"/>
              <a:gd name="connsiteY89" fmla="*/ 2045274 h 6488565"/>
              <a:gd name="connsiteX90" fmla="*/ 7086755 w 8636594"/>
              <a:gd name="connsiteY90" fmla="*/ 1872743 h 6488565"/>
              <a:gd name="connsiteX91" fmla="*/ 7170279 w 8636594"/>
              <a:gd name="connsiteY91" fmla="*/ 1744202 h 6488565"/>
              <a:gd name="connsiteX92" fmla="*/ 7226351 w 8636594"/>
              <a:gd name="connsiteY92" fmla="*/ 1659017 h 6488565"/>
              <a:gd name="connsiteX93" fmla="*/ 7282789 w 8636594"/>
              <a:gd name="connsiteY93" fmla="*/ 1574303 h 6488565"/>
              <a:gd name="connsiteX94" fmla="*/ 7339643 w 8636594"/>
              <a:gd name="connsiteY94" fmla="*/ 1490113 h 6488565"/>
              <a:gd name="connsiteX95" fmla="*/ 7396957 w 8636594"/>
              <a:gd name="connsiteY95" fmla="*/ 1406503 h 6488565"/>
              <a:gd name="connsiteX96" fmla="*/ 7454781 w 8636594"/>
              <a:gd name="connsiteY96" fmla="*/ 1323526 h 6488565"/>
              <a:gd name="connsiteX97" fmla="*/ 7513161 w 8636594"/>
              <a:gd name="connsiteY97" fmla="*/ 1241237 h 6488565"/>
              <a:gd name="connsiteX98" fmla="*/ 7572144 w 8636594"/>
              <a:gd name="connsiteY98" fmla="*/ 1159689 h 6488565"/>
              <a:gd name="connsiteX99" fmla="*/ 7601877 w 8636594"/>
              <a:gd name="connsiteY99" fmla="*/ 1119210 h 6488565"/>
              <a:gd name="connsiteX100" fmla="*/ 7631779 w 8636594"/>
              <a:gd name="connsiteY100" fmla="*/ 1078937 h 6488565"/>
              <a:gd name="connsiteX101" fmla="*/ 7661855 w 8636594"/>
              <a:gd name="connsiteY101" fmla="*/ 1038876 h 6488565"/>
              <a:gd name="connsiteX102" fmla="*/ 7692111 w 8636594"/>
              <a:gd name="connsiteY102" fmla="*/ 999035 h 6488565"/>
              <a:gd name="connsiteX103" fmla="*/ 7722554 w 8636594"/>
              <a:gd name="connsiteY103" fmla="*/ 959419 h 6488565"/>
              <a:gd name="connsiteX104" fmla="*/ 7753190 w 8636594"/>
              <a:gd name="connsiteY104" fmla="*/ 920037 h 6488565"/>
              <a:gd name="connsiteX105" fmla="*/ 7784023 w 8636594"/>
              <a:gd name="connsiteY105" fmla="*/ 880894 h 6488565"/>
              <a:gd name="connsiteX106" fmla="*/ 7815061 w 8636594"/>
              <a:gd name="connsiteY106" fmla="*/ 841997 h 6488565"/>
              <a:gd name="connsiteX107" fmla="*/ 7846308 w 8636594"/>
              <a:gd name="connsiteY107" fmla="*/ 803354 h 6488565"/>
              <a:gd name="connsiteX108" fmla="*/ 7877772 w 8636594"/>
              <a:gd name="connsiteY108" fmla="*/ 764970 h 6488565"/>
              <a:gd name="connsiteX109" fmla="*/ 7909458 w 8636594"/>
              <a:gd name="connsiteY109" fmla="*/ 726853 h 6488565"/>
              <a:gd name="connsiteX110" fmla="*/ 7941371 w 8636594"/>
              <a:gd name="connsiteY110" fmla="*/ 689010 h 6488565"/>
              <a:gd name="connsiteX111" fmla="*/ 7973518 w 8636594"/>
              <a:gd name="connsiteY111" fmla="*/ 651447 h 6488565"/>
              <a:gd name="connsiteX112" fmla="*/ 8005905 w 8636594"/>
              <a:gd name="connsiteY112" fmla="*/ 614171 h 6488565"/>
              <a:gd name="connsiteX113" fmla="*/ 8038538 w 8636594"/>
              <a:gd name="connsiteY113" fmla="*/ 577189 h 6488565"/>
              <a:gd name="connsiteX114" fmla="*/ 8071421 w 8636594"/>
              <a:gd name="connsiteY114" fmla="*/ 540507 h 6488565"/>
              <a:gd name="connsiteX115" fmla="*/ 8104563 w 8636594"/>
              <a:gd name="connsiteY115" fmla="*/ 504132 h 6488565"/>
              <a:gd name="connsiteX116" fmla="*/ 8137967 w 8636594"/>
              <a:gd name="connsiteY116" fmla="*/ 468072 h 6488565"/>
              <a:gd name="connsiteX117" fmla="*/ 8171641 w 8636594"/>
              <a:gd name="connsiteY117" fmla="*/ 432332 h 6488565"/>
              <a:gd name="connsiteX118" fmla="*/ 8205590 w 8636594"/>
              <a:gd name="connsiteY118" fmla="*/ 396920 h 6488565"/>
              <a:gd name="connsiteX119" fmla="*/ 8239820 w 8636594"/>
              <a:gd name="connsiteY119" fmla="*/ 361843 h 6488565"/>
              <a:gd name="connsiteX120" fmla="*/ 8274337 w 8636594"/>
              <a:gd name="connsiteY120" fmla="*/ 327107 h 6488565"/>
              <a:gd name="connsiteX121" fmla="*/ 8309147 w 8636594"/>
              <a:gd name="connsiteY121" fmla="*/ 292718 h 6488565"/>
              <a:gd name="connsiteX122" fmla="*/ 8344256 w 8636594"/>
              <a:gd name="connsiteY122" fmla="*/ 258685 h 6488565"/>
              <a:gd name="connsiteX123" fmla="*/ 8379669 w 8636594"/>
              <a:gd name="connsiteY123" fmla="*/ 225013 h 6488565"/>
              <a:gd name="connsiteX124" fmla="*/ 8415394 w 8636594"/>
              <a:gd name="connsiteY124" fmla="*/ 191709 h 6488565"/>
              <a:gd name="connsiteX125" fmla="*/ 8451434 w 8636594"/>
              <a:gd name="connsiteY125" fmla="*/ 158780 h 6488565"/>
              <a:gd name="connsiteX126" fmla="*/ 8487798 w 8636594"/>
              <a:gd name="connsiteY126" fmla="*/ 126233 h 6488565"/>
              <a:gd name="connsiteX127" fmla="*/ 8524489 w 8636594"/>
              <a:gd name="connsiteY127" fmla="*/ 94075 h 6488565"/>
              <a:gd name="connsiteX128" fmla="*/ 8561515 w 8636594"/>
              <a:gd name="connsiteY128" fmla="*/ 62312 h 6488565"/>
              <a:gd name="connsiteX129" fmla="*/ 8598881 w 8636594"/>
              <a:gd name="connsiteY129" fmla="*/ 30951 h 6488565"/>
              <a:gd name="connsiteX130" fmla="*/ 8636594 w 8636594"/>
              <a:gd name="connsiteY130" fmla="*/ 0 h 6488565"/>
              <a:gd name="connsiteX0" fmla="*/ 8636594 w 8636594"/>
              <a:gd name="connsiteY0" fmla="*/ 0 h 6473849"/>
              <a:gd name="connsiteX1" fmla="*/ 5293 w 8636594"/>
              <a:gd name="connsiteY1" fmla="*/ 0 h 6473849"/>
              <a:gd name="connsiteX2" fmla="*/ 0 w 8636594"/>
              <a:gd name="connsiteY2" fmla="*/ 5587843 h 6473849"/>
              <a:gd name="connsiteX3" fmla="*/ 1594033 w 8636594"/>
              <a:gd name="connsiteY3" fmla="*/ 5600057 h 6473849"/>
              <a:gd name="connsiteX4" fmla="*/ 1686068 w 8636594"/>
              <a:gd name="connsiteY4" fmla="*/ 5599745 h 6473849"/>
              <a:gd name="connsiteX5" fmla="*/ 2742629 w 8636594"/>
              <a:gd name="connsiteY5" fmla="*/ 6473849 h 6473849"/>
              <a:gd name="connsiteX6" fmla="*/ 2794848 w 8636594"/>
              <a:gd name="connsiteY6" fmla="*/ 6458731 h 6473849"/>
              <a:gd name="connsiteX7" fmla="*/ 2846466 w 8636594"/>
              <a:gd name="connsiteY7" fmla="*/ 6443216 h 6473849"/>
              <a:gd name="connsiteX8" fmla="*/ 2897488 w 8636594"/>
              <a:gd name="connsiteY8" fmla="*/ 6427305 h 6473849"/>
              <a:gd name="connsiteX9" fmla="*/ 2947923 w 8636594"/>
              <a:gd name="connsiteY9" fmla="*/ 6411004 h 6473849"/>
              <a:gd name="connsiteX10" fmla="*/ 2997775 w 8636594"/>
              <a:gd name="connsiteY10" fmla="*/ 6394316 h 6473849"/>
              <a:gd name="connsiteX11" fmla="*/ 3047052 w 8636594"/>
              <a:gd name="connsiteY11" fmla="*/ 6377243 h 6473849"/>
              <a:gd name="connsiteX12" fmla="*/ 3095759 w 8636594"/>
              <a:gd name="connsiteY12" fmla="*/ 6359791 h 6473849"/>
              <a:gd name="connsiteX13" fmla="*/ 3143903 w 8636594"/>
              <a:gd name="connsiteY13" fmla="*/ 6341961 h 6473849"/>
              <a:gd name="connsiteX14" fmla="*/ 3191491 w 8636594"/>
              <a:gd name="connsiteY14" fmla="*/ 6323757 h 6473849"/>
              <a:gd name="connsiteX15" fmla="*/ 3238528 w 8636594"/>
              <a:gd name="connsiteY15" fmla="*/ 6305184 h 6473849"/>
              <a:gd name="connsiteX16" fmla="*/ 3285021 w 8636594"/>
              <a:gd name="connsiteY16" fmla="*/ 6286245 h 6473849"/>
              <a:gd name="connsiteX17" fmla="*/ 3330977 w 8636594"/>
              <a:gd name="connsiteY17" fmla="*/ 6266942 h 6473849"/>
              <a:gd name="connsiteX18" fmla="*/ 3376401 w 8636594"/>
              <a:gd name="connsiteY18" fmla="*/ 6247281 h 6473849"/>
              <a:gd name="connsiteX19" fmla="*/ 3421300 w 8636594"/>
              <a:gd name="connsiteY19" fmla="*/ 6227263 h 6473849"/>
              <a:gd name="connsiteX20" fmla="*/ 3465680 w 8636594"/>
              <a:gd name="connsiteY20" fmla="*/ 6206893 h 6473849"/>
              <a:gd name="connsiteX21" fmla="*/ 3509548 w 8636594"/>
              <a:gd name="connsiteY21" fmla="*/ 6186174 h 6473849"/>
              <a:gd name="connsiteX22" fmla="*/ 3552910 w 8636594"/>
              <a:gd name="connsiteY22" fmla="*/ 6165110 h 6473849"/>
              <a:gd name="connsiteX23" fmla="*/ 3595773 w 8636594"/>
              <a:gd name="connsiteY23" fmla="*/ 6143704 h 6473849"/>
              <a:gd name="connsiteX24" fmla="*/ 3638142 w 8636594"/>
              <a:gd name="connsiteY24" fmla="*/ 6121960 h 6473849"/>
              <a:gd name="connsiteX25" fmla="*/ 3680024 w 8636594"/>
              <a:gd name="connsiteY25" fmla="*/ 6099881 h 6473849"/>
              <a:gd name="connsiteX26" fmla="*/ 3721426 w 8636594"/>
              <a:gd name="connsiteY26" fmla="*/ 6077471 h 6473849"/>
              <a:gd name="connsiteX27" fmla="*/ 3762353 w 8636594"/>
              <a:gd name="connsiteY27" fmla="*/ 6054733 h 6473849"/>
              <a:gd name="connsiteX28" fmla="*/ 3802812 w 8636594"/>
              <a:gd name="connsiteY28" fmla="*/ 6031671 h 6473849"/>
              <a:gd name="connsiteX29" fmla="*/ 3842810 w 8636594"/>
              <a:gd name="connsiteY29" fmla="*/ 6008288 h 6473849"/>
              <a:gd name="connsiteX30" fmla="*/ 3882352 w 8636594"/>
              <a:gd name="connsiteY30" fmla="*/ 5984588 h 6473849"/>
              <a:gd name="connsiteX31" fmla="*/ 3921445 w 8636594"/>
              <a:gd name="connsiteY31" fmla="*/ 5960574 h 6473849"/>
              <a:gd name="connsiteX32" fmla="*/ 3960096 w 8636594"/>
              <a:gd name="connsiteY32" fmla="*/ 5936250 h 6473849"/>
              <a:gd name="connsiteX33" fmla="*/ 3998311 w 8636594"/>
              <a:gd name="connsiteY33" fmla="*/ 5911619 h 6473849"/>
              <a:gd name="connsiteX34" fmla="*/ 4036095 w 8636594"/>
              <a:gd name="connsiteY34" fmla="*/ 5886685 h 6473849"/>
              <a:gd name="connsiteX35" fmla="*/ 4073456 w 8636594"/>
              <a:gd name="connsiteY35" fmla="*/ 5861452 h 6473849"/>
              <a:gd name="connsiteX36" fmla="*/ 4110400 w 8636594"/>
              <a:gd name="connsiteY36" fmla="*/ 5835922 h 6473849"/>
              <a:gd name="connsiteX37" fmla="*/ 4146933 w 8636594"/>
              <a:gd name="connsiteY37" fmla="*/ 5810100 h 6473849"/>
              <a:gd name="connsiteX38" fmla="*/ 4183061 w 8636594"/>
              <a:gd name="connsiteY38" fmla="*/ 5783988 h 6473849"/>
              <a:gd name="connsiteX39" fmla="*/ 4218791 w 8636594"/>
              <a:gd name="connsiteY39" fmla="*/ 5757591 h 6473849"/>
              <a:gd name="connsiteX40" fmla="*/ 4254129 w 8636594"/>
              <a:gd name="connsiteY40" fmla="*/ 5730912 h 6473849"/>
              <a:gd name="connsiteX41" fmla="*/ 4289081 w 8636594"/>
              <a:gd name="connsiteY41" fmla="*/ 5703955 h 6473849"/>
              <a:gd name="connsiteX42" fmla="*/ 4323654 w 8636594"/>
              <a:gd name="connsiteY42" fmla="*/ 5676722 h 6473849"/>
              <a:gd name="connsiteX43" fmla="*/ 4357854 w 8636594"/>
              <a:gd name="connsiteY43" fmla="*/ 5649218 h 6473849"/>
              <a:gd name="connsiteX44" fmla="*/ 4391688 w 8636594"/>
              <a:gd name="connsiteY44" fmla="*/ 5621446 h 6473849"/>
              <a:gd name="connsiteX45" fmla="*/ 4425162 w 8636594"/>
              <a:gd name="connsiteY45" fmla="*/ 5593409 h 6473849"/>
              <a:gd name="connsiteX46" fmla="*/ 4458281 w 8636594"/>
              <a:gd name="connsiteY46" fmla="*/ 5565111 h 6473849"/>
              <a:gd name="connsiteX47" fmla="*/ 4491053 w 8636594"/>
              <a:gd name="connsiteY47" fmla="*/ 5536556 h 6473849"/>
              <a:gd name="connsiteX48" fmla="*/ 4523484 w 8636594"/>
              <a:gd name="connsiteY48" fmla="*/ 5507747 h 6473849"/>
              <a:gd name="connsiteX49" fmla="*/ 4555580 w 8636594"/>
              <a:gd name="connsiteY49" fmla="*/ 5478687 h 6473849"/>
              <a:gd name="connsiteX50" fmla="*/ 4587347 w 8636594"/>
              <a:gd name="connsiteY50" fmla="*/ 5449380 h 6473849"/>
              <a:gd name="connsiteX51" fmla="*/ 4618793 w 8636594"/>
              <a:gd name="connsiteY51" fmla="*/ 5419830 h 6473849"/>
              <a:gd name="connsiteX52" fmla="*/ 4649922 w 8636594"/>
              <a:gd name="connsiteY52" fmla="*/ 5390040 h 6473849"/>
              <a:gd name="connsiteX53" fmla="*/ 4680742 w 8636594"/>
              <a:gd name="connsiteY53" fmla="*/ 5360014 h 6473849"/>
              <a:gd name="connsiteX54" fmla="*/ 4711259 w 8636594"/>
              <a:gd name="connsiteY54" fmla="*/ 5329755 h 6473849"/>
              <a:gd name="connsiteX55" fmla="*/ 4741478 w 8636594"/>
              <a:gd name="connsiteY55" fmla="*/ 5299266 h 6473849"/>
              <a:gd name="connsiteX56" fmla="*/ 4771408 w 8636594"/>
              <a:gd name="connsiteY56" fmla="*/ 5268551 h 6473849"/>
              <a:gd name="connsiteX57" fmla="*/ 4801053 w 8636594"/>
              <a:gd name="connsiteY57" fmla="*/ 5237614 h 6473849"/>
              <a:gd name="connsiteX58" fmla="*/ 4830420 w 8636594"/>
              <a:gd name="connsiteY58" fmla="*/ 5206458 h 6473849"/>
              <a:gd name="connsiteX59" fmla="*/ 4859516 w 8636594"/>
              <a:gd name="connsiteY59" fmla="*/ 5175087 h 6473849"/>
              <a:gd name="connsiteX60" fmla="*/ 4888347 w 8636594"/>
              <a:gd name="connsiteY60" fmla="*/ 5143504 h 6473849"/>
              <a:gd name="connsiteX61" fmla="*/ 4916919 w 8636594"/>
              <a:gd name="connsiteY61" fmla="*/ 5111713 h 6473849"/>
              <a:gd name="connsiteX62" fmla="*/ 4945238 w 8636594"/>
              <a:gd name="connsiteY62" fmla="*/ 5079717 h 6473849"/>
              <a:gd name="connsiteX63" fmla="*/ 4973311 w 8636594"/>
              <a:gd name="connsiteY63" fmla="*/ 5047519 h 6473849"/>
              <a:gd name="connsiteX64" fmla="*/ 5001145 w 8636594"/>
              <a:gd name="connsiteY64" fmla="*/ 5015124 h 6473849"/>
              <a:gd name="connsiteX65" fmla="*/ 5028745 w 8636594"/>
              <a:gd name="connsiteY65" fmla="*/ 4982535 h 6473849"/>
              <a:gd name="connsiteX66" fmla="*/ 5056117 w 8636594"/>
              <a:gd name="connsiteY66" fmla="*/ 4949755 h 6473849"/>
              <a:gd name="connsiteX67" fmla="*/ 5083269 w 8636594"/>
              <a:gd name="connsiteY67" fmla="*/ 4916787 h 6473849"/>
              <a:gd name="connsiteX68" fmla="*/ 5110207 w 8636594"/>
              <a:gd name="connsiteY68" fmla="*/ 4883636 h 6473849"/>
              <a:gd name="connsiteX69" fmla="*/ 5136937 w 8636594"/>
              <a:gd name="connsiteY69" fmla="*/ 4850305 h 6473849"/>
              <a:gd name="connsiteX70" fmla="*/ 5163464 w 8636594"/>
              <a:gd name="connsiteY70" fmla="*/ 4816797 h 6473849"/>
              <a:gd name="connsiteX71" fmla="*/ 5215940 w 8636594"/>
              <a:gd name="connsiteY71" fmla="*/ 4749265 h 6473849"/>
              <a:gd name="connsiteX72" fmla="*/ 5267684 w 8636594"/>
              <a:gd name="connsiteY72" fmla="*/ 4681068 h 6473849"/>
              <a:gd name="connsiteX73" fmla="*/ 5318748 w 8636594"/>
              <a:gd name="connsiteY73" fmla="*/ 4612234 h 6473849"/>
              <a:gd name="connsiteX74" fmla="*/ 5369182 w 8636594"/>
              <a:gd name="connsiteY74" fmla="*/ 4542793 h 6473849"/>
              <a:gd name="connsiteX75" fmla="*/ 5419038 w 8636594"/>
              <a:gd name="connsiteY75" fmla="*/ 4472771 h 6473849"/>
              <a:gd name="connsiteX76" fmla="*/ 5468365 w 8636594"/>
              <a:gd name="connsiteY76" fmla="*/ 4402196 h 6473849"/>
              <a:gd name="connsiteX77" fmla="*/ 5517215 w 8636594"/>
              <a:gd name="connsiteY77" fmla="*/ 4331098 h 6473849"/>
              <a:gd name="connsiteX78" fmla="*/ 5565637 w 8636594"/>
              <a:gd name="connsiteY78" fmla="*/ 4259503 h 6473849"/>
              <a:gd name="connsiteX79" fmla="*/ 5613684 w 8636594"/>
              <a:gd name="connsiteY79" fmla="*/ 4187441 h 6473849"/>
              <a:gd name="connsiteX80" fmla="*/ 5685160 w 8636594"/>
              <a:gd name="connsiteY80" fmla="*/ 4078531 h 6473849"/>
              <a:gd name="connsiteX81" fmla="*/ 5756074 w 8636594"/>
              <a:gd name="connsiteY81" fmla="*/ 3968727 h 6473849"/>
              <a:gd name="connsiteX82" fmla="*/ 5873483 w 8636594"/>
              <a:gd name="connsiteY82" fmla="*/ 3783989 h 6473849"/>
              <a:gd name="connsiteX83" fmla="*/ 6203209 w 8636594"/>
              <a:gd name="connsiteY83" fmla="*/ 3258640 h 6473849"/>
              <a:gd name="connsiteX84" fmla="*/ 6299430 w 8636594"/>
              <a:gd name="connsiteY84" fmla="*/ 3107321 h 6473849"/>
              <a:gd name="connsiteX85" fmla="*/ 6372650 w 8636594"/>
              <a:gd name="connsiteY85" fmla="*/ 2993735 h 6473849"/>
              <a:gd name="connsiteX86" fmla="*/ 6453197 w 8636594"/>
              <a:gd name="connsiteY86" fmla="*/ 2869788 h 6473849"/>
              <a:gd name="connsiteX87" fmla="*/ 6564167 w 8636594"/>
              <a:gd name="connsiteY87" fmla="*/ 2696807 h 6473849"/>
              <a:gd name="connsiteX88" fmla="*/ 6976233 w 8636594"/>
              <a:gd name="connsiteY88" fmla="*/ 2045274 h 6473849"/>
              <a:gd name="connsiteX89" fmla="*/ 7086755 w 8636594"/>
              <a:gd name="connsiteY89" fmla="*/ 1872743 h 6473849"/>
              <a:gd name="connsiteX90" fmla="*/ 7170279 w 8636594"/>
              <a:gd name="connsiteY90" fmla="*/ 1744202 h 6473849"/>
              <a:gd name="connsiteX91" fmla="*/ 7226351 w 8636594"/>
              <a:gd name="connsiteY91" fmla="*/ 1659017 h 6473849"/>
              <a:gd name="connsiteX92" fmla="*/ 7282789 w 8636594"/>
              <a:gd name="connsiteY92" fmla="*/ 1574303 h 6473849"/>
              <a:gd name="connsiteX93" fmla="*/ 7339643 w 8636594"/>
              <a:gd name="connsiteY93" fmla="*/ 1490113 h 6473849"/>
              <a:gd name="connsiteX94" fmla="*/ 7396957 w 8636594"/>
              <a:gd name="connsiteY94" fmla="*/ 1406503 h 6473849"/>
              <a:gd name="connsiteX95" fmla="*/ 7454781 w 8636594"/>
              <a:gd name="connsiteY95" fmla="*/ 1323526 h 6473849"/>
              <a:gd name="connsiteX96" fmla="*/ 7513161 w 8636594"/>
              <a:gd name="connsiteY96" fmla="*/ 1241237 h 6473849"/>
              <a:gd name="connsiteX97" fmla="*/ 7572144 w 8636594"/>
              <a:gd name="connsiteY97" fmla="*/ 1159689 h 6473849"/>
              <a:gd name="connsiteX98" fmla="*/ 7601877 w 8636594"/>
              <a:gd name="connsiteY98" fmla="*/ 1119210 h 6473849"/>
              <a:gd name="connsiteX99" fmla="*/ 7631779 w 8636594"/>
              <a:gd name="connsiteY99" fmla="*/ 1078937 h 6473849"/>
              <a:gd name="connsiteX100" fmla="*/ 7661855 w 8636594"/>
              <a:gd name="connsiteY100" fmla="*/ 1038876 h 6473849"/>
              <a:gd name="connsiteX101" fmla="*/ 7692111 w 8636594"/>
              <a:gd name="connsiteY101" fmla="*/ 999035 h 6473849"/>
              <a:gd name="connsiteX102" fmla="*/ 7722554 w 8636594"/>
              <a:gd name="connsiteY102" fmla="*/ 959419 h 6473849"/>
              <a:gd name="connsiteX103" fmla="*/ 7753190 w 8636594"/>
              <a:gd name="connsiteY103" fmla="*/ 920037 h 6473849"/>
              <a:gd name="connsiteX104" fmla="*/ 7784023 w 8636594"/>
              <a:gd name="connsiteY104" fmla="*/ 880894 h 6473849"/>
              <a:gd name="connsiteX105" fmla="*/ 7815061 w 8636594"/>
              <a:gd name="connsiteY105" fmla="*/ 841997 h 6473849"/>
              <a:gd name="connsiteX106" fmla="*/ 7846308 w 8636594"/>
              <a:gd name="connsiteY106" fmla="*/ 803354 h 6473849"/>
              <a:gd name="connsiteX107" fmla="*/ 7877772 w 8636594"/>
              <a:gd name="connsiteY107" fmla="*/ 764970 h 6473849"/>
              <a:gd name="connsiteX108" fmla="*/ 7909458 w 8636594"/>
              <a:gd name="connsiteY108" fmla="*/ 726853 h 6473849"/>
              <a:gd name="connsiteX109" fmla="*/ 7941371 w 8636594"/>
              <a:gd name="connsiteY109" fmla="*/ 689010 h 6473849"/>
              <a:gd name="connsiteX110" fmla="*/ 7973518 w 8636594"/>
              <a:gd name="connsiteY110" fmla="*/ 651447 h 6473849"/>
              <a:gd name="connsiteX111" fmla="*/ 8005905 w 8636594"/>
              <a:gd name="connsiteY111" fmla="*/ 614171 h 6473849"/>
              <a:gd name="connsiteX112" fmla="*/ 8038538 w 8636594"/>
              <a:gd name="connsiteY112" fmla="*/ 577189 h 6473849"/>
              <a:gd name="connsiteX113" fmla="*/ 8071421 w 8636594"/>
              <a:gd name="connsiteY113" fmla="*/ 540507 h 6473849"/>
              <a:gd name="connsiteX114" fmla="*/ 8104563 w 8636594"/>
              <a:gd name="connsiteY114" fmla="*/ 504132 h 6473849"/>
              <a:gd name="connsiteX115" fmla="*/ 8137967 w 8636594"/>
              <a:gd name="connsiteY115" fmla="*/ 468072 h 6473849"/>
              <a:gd name="connsiteX116" fmla="*/ 8171641 w 8636594"/>
              <a:gd name="connsiteY116" fmla="*/ 432332 h 6473849"/>
              <a:gd name="connsiteX117" fmla="*/ 8205590 w 8636594"/>
              <a:gd name="connsiteY117" fmla="*/ 396920 h 6473849"/>
              <a:gd name="connsiteX118" fmla="*/ 8239820 w 8636594"/>
              <a:gd name="connsiteY118" fmla="*/ 361843 h 6473849"/>
              <a:gd name="connsiteX119" fmla="*/ 8274337 w 8636594"/>
              <a:gd name="connsiteY119" fmla="*/ 327107 h 6473849"/>
              <a:gd name="connsiteX120" fmla="*/ 8309147 w 8636594"/>
              <a:gd name="connsiteY120" fmla="*/ 292718 h 6473849"/>
              <a:gd name="connsiteX121" fmla="*/ 8344256 w 8636594"/>
              <a:gd name="connsiteY121" fmla="*/ 258685 h 6473849"/>
              <a:gd name="connsiteX122" fmla="*/ 8379669 w 8636594"/>
              <a:gd name="connsiteY122" fmla="*/ 225013 h 6473849"/>
              <a:gd name="connsiteX123" fmla="*/ 8415394 w 8636594"/>
              <a:gd name="connsiteY123" fmla="*/ 191709 h 6473849"/>
              <a:gd name="connsiteX124" fmla="*/ 8451434 w 8636594"/>
              <a:gd name="connsiteY124" fmla="*/ 158780 h 6473849"/>
              <a:gd name="connsiteX125" fmla="*/ 8487798 w 8636594"/>
              <a:gd name="connsiteY125" fmla="*/ 126233 h 6473849"/>
              <a:gd name="connsiteX126" fmla="*/ 8524489 w 8636594"/>
              <a:gd name="connsiteY126" fmla="*/ 94075 h 6473849"/>
              <a:gd name="connsiteX127" fmla="*/ 8561515 w 8636594"/>
              <a:gd name="connsiteY127" fmla="*/ 62312 h 6473849"/>
              <a:gd name="connsiteX128" fmla="*/ 8598881 w 8636594"/>
              <a:gd name="connsiteY128" fmla="*/ 30951 h 6473849"/>
              <a:gd name="connsiteX129" fmla="*/ 8636594 w 8636594"/>
              <a:gd name="connsiteY129" fmla="*/ 0 h 6473849"/>
              <a:gd name="connsiteX0" fmla="*/ 8636594 w 8636594"/>
              <a:gd name="connsiteY0" fmla="*/ 0 h 6458731"/>
              <a:gd name="connsiteX1" fmla="*/ 5293 w 8636594"/>
              <a:gd name="connsiteY1" fmla="*/ 0 h 6458731"/>
              <a:gd name="connsiteX2" fmla="*/ 0 w 8636594"/>
              <a:gd name="connsiteY2" fmla="*/ 5587843 h 6458731"/>
              <a:gd name="connsiteX3" fmla="*/ 1594033 w 8636594"/>
              <a:gd name="connsiteY3" fmla="*/ 5600057 h 6458731"/>
              <a:gd name="connsiteX4" fmla="*/ 1686068 w 8636594"/>
              <a:gd name="connsiteY4" fmla="*/ 5599745 h 6458731"/>
              <a:gd name="connsiteX5" fmla="*/ 2794848 w 8636594"/>
              <a:gd name="connsiteY5" fmla="*/ 6458731 h 6458731"/>
              <a:gd name="connsiteX6" fmla="*/ 2846466 w 8636594"/>
              <a:gd name="connsiteY6" fmla="*/ 6443216 h 6458731"/>
              <a:gd name="connsiteX7" fmla="*/ 2897488 w 8636594"/>
              <a:gd name="connsiteY7" fmla="*/ 6427305 h 6458731"/>
              <a:gd name="connsiteX8" fmla="*/ 2947923 w 8636594"/>
              <a:gd name="connsiteY8" fmla="*/ 6411004 h 6458731"/>
              <a:gd name="connsiteX9" fmla="*/ 2997775 w 8636594"/>
              <a:gd name="connsiteY9" fmla="*/ 6394316 h 6458731"/>
              <a:gd name="connsiteX10" fmla="*/ 3047052 w 8636594"/>
              <a:gd name="connsiteY10" fmla="*/ 6377243 h 6458731"/>
              <a:gd name="connsiteX11" fmla="*/ 3095759 w 8636594"/>
              <a:gd name="connsiteY11" fmla="*/ 6359791 h 6458731"/>
              <a:gd name="connsiteX12" fmla="*/ 3143903 w 8636594"/>
              <a:gd name="connsiteY12" fmla="*/ 6341961 h 6458731"/>
              <a:gd name="connsiteX13" fmla="*/ 3191491 w 8636594"/>
              <a:gd name="connsiteY13" fmla="*/ 6323757 h 6458731"/>
              <a:gd name="connsiteX14" fmla="*/ 3238528 w 8636594"/>
              <a:gd name="connsiteY14" fmla="*/ 6305184 h 6458731"/>
              <a:gd name="connsiteX15" fmla="*/ 3285021 w 8636594"/>
              <a:gd name="connsiteY15" fmla="*/ 6286245 h 6458731"/>
              <a:gd name="connsiteX16" fmla="*/ 3330977 w 8636594"/>
              <a:gd name="connsiteY16" fmla="*/ 6266942 h 6458731"/>
              <a:gd name="connsiteX17" fmla="*/ 3376401 w 8636594"/>
              <a:gd name="connsiteY17" fmla="*/ 6247281 h 6458731"/>
              <a:gd name="connsiteX18" fmla="*/ 3421300 w 8636594"/>
              <a:gd name="connsiteY18" fmla="*/ 6227263 h 6458731"/>
              <a:gd name="connsiteX19" fmla="*/ 3465680 w 8636594"/>
              <a:gd name="connsiteY19" fmla="*/ 6206893 h 6458731"/>
              <a:gd name="connsiteX20" fmla="*/ 3509548 w 8636594"/>
              <a:gd name="connsiteY20" fmla="*/ 6186174 h 6458731"/>
              <a:gd name="connsiteX21" fmla="*/ 3552910 w 8636594"/>
              <a:gd name="connsiteY21" fmla="*/ 6165110 h 6458731"/>
              <a:gd name="connsiteX22" fmla="*/ 3595773 w 8636594"/>
              <a:gd name="connsiteY22" fmla="*/ 6143704 h 6458731"/>
              <a:gd name="connsiteX23" fmla="*/ 3638142 w 8636594"/>
              <a:gd name="connsiteY23" fmla="*/ 6121960 h 6458731"/>
              <a:gd name="connsiteX24" fmla="*/ 3680024 w 8636594"/>
              <a:gd name="connsiteY24" fmla="*/ 6099881 h 6458731"/>
              <a:gd name="connsiteX25" fmla="*/ 3721426 w 8636594"/>
              <a:gd name="connsiteY25" fmla="*/ 6077471 h 6458731"/>
              <a:gd name="connsiteX26" fmla="*/ 3762353 w 8636594"/>
              <a:gd name="connsiteY26" fmla="*/ 6054733 h 6458731"/>
              <a:gd name="connsiteX27" fmla="*/ 3802812 w 8636594"/>
              <a:gd name="connsiteY27" fmla="*/ 6031671 h 6458731"/>
              <a:gd name="connsiteX28" fmla="*/ 3842810 w 8636594"/>
              <a:gd name="connsiteY28" fmla="*/ 6008288 h 6458731"/>
              <a:gd name="connsiteX29" fmla="*/ 3882352 w 8636594"/>
              <a:gd name="connsiteY29" fmla="*/ 5984588 h 6458731"/>
              <a:gd name="connsiteX30" fmla="*/ 3921445 w 8636594"/>
              <a:gd name="connsiteY30" fmla="*/ 5960574 h 6458731"/>
              <a:gd name="connsiteX31" fmla="*/ 3960096 w 8636594"/>
              <a:gd name="connsiteY31" fmla="*/ 5936250 h 6458731"/>
              <a:gd name="connsiteX32" fmla="*/ 3998311 w 8636594"/>
              <a:gd name="connsiteY32" fmla="*/ 5911619 h 6458731"/>
              <a:gd name="connsiteX33" fmla="*/ 4036095 w 8636594"/>
              <a:gd name="connsiteY33" fmla="*/ 5886685 h 6458731"/>
              <a:gd name="connsiteX34" fmla="*/ 4073456 w 8636594"/>
              <a:gd name="connsiteY34" fmla="*/ 5861452 h 6458731"/>
              <a:gd name="connsiteX35" fmla="*/ 4110400 w 8636594"/>
              <a:gd name="connsiteY35" fmla="*/ 5835922 h 6458731"/>
              <a:gd name="connsiteX36" fmla="*/ 4146933 w 8636594"/>
              <a:gd name="connsiteY36" fmla="*/ 5810100 h 6458731"/>
              <a:gd name="connsiteX37" fmla="*/ 4183061 w 8636594"/>
              <a:gd name="connsiteY37" fmla="*/ 5783988 h 6458731"/>
              <a:gd name="connsiteX38" fmla="*/ 4218791 w 8636594"/>
              <a:gd name="connsiteY38" fmla="*/ 5757591 h 6458731"/>
              <a:gd name="connsiteX39" fmla="*/ 4254129 w 8636594"/>
              <a:gd name="connsiteY39" fmla="*/ 5730912 h 6458731"/>
              <a:gd name="connsiteX40" fmla="*/ 4289081 w 8636594"/>
              <a:gd name="connsiteY40" fmla="*/ 5703955 h 6458731"/>
              <a:gd name="connsiteX41" fmla="*/ 4323654 w 8636594"/>
              <a:gd name="connsiteY41" fmla="*/ 5676722 h 6458731"/>
              <a:gd name="connsiteX42" fmla="*/ 4357854 w 8636594"/>
              <a:gd name="connsiteY42" fmla="*/ 5649218 h 6458731"/>
              <a:gd name="connsiteX43" fmla="*/ 4391688 w 8636594"/>
              <a:gd name="connsiteY43" fmla="*/ 5621446 h 6458731"/>
              <a:gd name="connsiteX44" fmla="*/ 4425162 w 8636594"/>
              <a:gd name="connsiteY44" fmla="*/ 5593409 h 6458731"/>
              <a:gd name="connsiteX45" fmla="*/ 4458281 w 8636594"/>
              <a:gd name="connsiteY45" fmla="*/ 5565111 h 6458731"/>
              <a:gd name="connsiteX46" fmla="*/ 4491053 w 8636594"/>
              <a:gd name="connsiteY46" fmla="*/ 5536556 h 6458731"/>
              <a:gd name="connsiteX47" fmla="*/ 4523484 w 8636594"/>
              <a:gd name="connsiteY47" fmla="*/ 5507747 h 6458731"/>
              <a:gd name="connsiteX48" fmla="*/ 4555580 w 8636594"/>
              <a:gd name="connsiteY48" fmla="*/ 5478687 h 6458731"/>
              <a:gd name="connsiteX49" fmla="*/ 4587347 w 8636594"/>
              <a:gd name="connsiteY49" fmla="*/ 5449380 h 6458731"/>
              <a:gd name="connsiteX50" fmla="*/ 4618793 w 8636594"/>
              <a:gd name="connsiteY50" fmla="*/ 5419830 h 6458731"/>
              <a:gd name="connsiteX51" fmla="*/ 4649922 w 8636594"/>
              <a:gd name="connsiteY51" fmla="*/ 5390040 h 6458731"/>
              <a:gd name="connsiteX52" fmla="*/ 4680742 w 8636594"/>
              <a:gd name="connsiteY52" fmla="*/ 5360014 h 6458731"/>
              <a:gd name="connsiteX53" fmla="*/ 4711259 w 8636594"/>
              <a:gd name="connsiteY53" fmla="*/ 5329755 h 6458731"/>
              <a:gd name="connsiteX54" fmla="*/ 4741478 w 8636594"/>
              <a:gd name="connsiteY54" fmla="*/ 5299266 h 6458731"/>
              <a:gd name="connsiteX55" fmla="*/ 4771408 w 8636594"/>
              <a:gd name="connsiteY55" fmla="*/ 5268551 h 6458731"/>
              <a:gd name="connsiteX56" fmla="*/ 4801053 w 8636594"/>
              <a:gd name="connsiteY56" fmla="*/ 5237614 h 6458731"/>
              <a:gd name="connsiteX57" fmla="*/ 4830420 w 8636594"/>
              <a:gd name="connsiteY57" fmla="*/ 5206458 h 6458731"/>
              <a:gd name="connsiteX58" fmla="*/ 4859516 w 8636594"/>
              <a:gd name="connsiteY58" fmla="*/ 5175087 h 6458731"/>
              <a:gd name="connsiteX59" fmla="*/ 4888347 w 8636594"/>
              <a:gd name="connsiteY59" fmla="*/ 5143504 h 6458731"/>
              <a:gd name="connsiteX60" fmla="*/ 4916919 w 8636594"/>
              <a:gd name="connsiteY60" fmla="*/ 5111713 h 6458731"/>
              <a:gd name="connsiteX61" fmla="*/ 4945238 w 8636594"/>
              <a:gd name="connsiteY61" fmla="*/ 5079717 h 6458731"/>
              <a:gd name="connsiteX62" fmla="*/ 4973311 w 8636594"/>
              <a:gd name="connsiteY62" fmla="*/ 5047519 h 6458731"/>
              <a:gd name="connsiteX63" fmla="*/ 5001145 w 8636594"/>
              <a:gd name="connsiteY63" fmla="*/ 5015124 h 6458731"/>
              <a:gd name="connsiteX64" fmla="*/ 5028745 w 8636594"/>
              <a:gd name="connsiteY64" fmla="*/ 4982535 h 6458731"/>
              <a:gd name="connsiteX65" fmla="*/ 5056117 w 8636594"/>
              <a:gd name="connsiteY65" fmla="*/ 4949755 h 6458731"/>
              <a:gd name="connsiteX66" fmla="*/ 5083269 w 8636594"/>
              <a:gd name="connsiteY66" fmla="*/ 4916787 h 6458731"/>
              <a:gd name="connsiteX67" fmla="*/ 5110207 w 8636594"/>
              <a:gd name="connsiteY67" fmla="*/ 4883636 h 6458731"/>
              <a:gd name="connsiteX68" fmla="*/ 5136937 w 8636594"/>
              <a:gd name="connsiteY68" fmla="*/ 4850305 h 6458731"/>
              <a:gd name="connsiteX69" fmla="*/ 5163464 w 8636594"/>
              <a:gd name="connsiteY69" fmla="*/ 4816797 h 6458731"/>
              <a:gd name="connsiteX70" fmla="*/ 5215940 w 8636594"/>
              <a:gd name="connsiteY70" fmla="*/ 4749265 h 6458731"/>
              <a:gd name="connsiteX71" fmla="*/ 5267684 w 8636594"/>
              <a:gd name="connsiteY71" fmla="*/ 4681068 h 6458731"/>
              <a:gd name="connsiteX72" fmla="*/ 5318748 w 8636594"/>
              <a:gd name="connsiteY72" fmla="*/ 4612234 h 6458731"/>
              <a:gd name="connsiteX73" fmla="*/ 5369182 w 8636594"/>
              <a:gd name="connsiteY73" fmla="*/ 4542793 h 6458731"/>
              <a:gd name="connsiteX74" fmla="*/ 5419038 w 8636594"/>
              <a:gd name="connsiteY74" fmla="*/ 4472771 h 6458731"/>
              <a:gd name="connsiteX75" fmla="*/ 5468365 w 8636594"/>
              <a:gd name="connsiteY75" fmla="*/ 4402196 h 6458731"/>
              <a:gd name="connsiteX76" fmla="*/ 5517215 w 8636594"/>
              <a:gd name="connsiteY76" fmla="*/ 4331098 h 6458731"/>
              <a:gd name="connsiteX77" fmla="*/ 5565637 w 8636594"/>
              <a:gd name="connsiteY77" fmla="*/ 4259503 h 6458731"/>
              <a:gd name="connsiteX78" fmla="*/ 5613684 w 8636594"/>
              <a:gd name="connsiteY78" fmla="*/ 4187441 h 6458731"/>
              <a:gd name="connsiteX79" fmla="*/ 5685160 w 8636594"/>
              <a:gd name="connsiteY79" fmla="*/ 4078531 h 6458731"/>
              <a:gd name="connsiteX80" fmla="*/ 5756074 w 8636594"/>
              <a:gd name="connsiteY80" fmla="*/ 3968727 h 6458731"/>
              <a:gd name="connsiteX81" fmla="*/ 5873483 w 8636594"/>
              <a:gd name="connsiteY81" fmla="*/ 3783989 h 6458731"/>
              <a:gd name="connsiteX82" fmla="*/ 6203209 w 8636594"/>
              <a:gd name="connsiteY82" fmla="*/ 3258640 h 6458731"/>
              <a:gd name="connsiteX83" fmla="*/ 6299430 w 8636594"/>
              <a:gd name="connsiteY83" fmla="*/ 3107321 h 6458731"/>
              <a:gd name="connsiteX84" fmla="*/ 6372650 w 8636594"/>
              <a:gd name="connsiteY84" fmla="*/ 2993735 h 6458731"/>
              <a:gd name="connsiteX85" fmla="*/ 6453197 w 8636594"/>
              <a:gd name="connsiteY85" fmla="*/ 2869788 h 6458731"/>
              <a:gd name="connsiteX86" fmla="*/ 6564167 w 8636594"/>
              <a:gd name="connsiteY86" fmla="*/ 2696807 h 6458731"/>
              <a:gd name="connsiteX87" fmla="*/ 6976233 w 8636594"/>
              <a:gd name="connsiteY87" fmla="*/ 2045274 h 6458731"/>
              <a:gd name="connsiteX88" fmla="*/ 7086755 w 8636594"/>
              <a:gd name="connsiteY88" fmla="*/ 1872743 h 6458731"/>
              <a:gd name="connsiteX89" fmla="*/ 7170279 w 8636594"/>
              <a:gd name="connsiteY89" fmla="*/ 1744202 h 6458731"/>
              <a:gd name="connsiteX90" fmla="*/ 7226351 w 8636594"/>
              <a:gd name="connsiteY90" fmla="*/ 1659017 h 6458731"/>
              <a:gd name="connsiteX91" fmla="*/ 7282789 w 8636594"/>
              <a:gd name="connsiteY91" fmla="*/ 1574303 h 6458731"/>
              <a:gd name="connsiteX92" fmla="*/ 7339643 w 8636594"/>
              <a:gd name="connsiteY92" fmla="*/ 1490113 h 6458731"/>
              <a:gd name="connsiteX93" fmla="*/ 7396957 w 8636594"/>
              <a:gd name="connsiteY93" fmla="*/ 1406503 h 6458731"/>
              <a:gd name="connsiteX94" fmla="*/ 7454781 w 8636594"/>
              <a:gd name="connsiteY94" fmla="*/ 1323526 h 6458731"/>
              <a:gd name="connsiteX95" fmla="*/ 7513161 w 8636594"/>
              <a:gd name="connsiteY95" fmla="*/ 1241237 h 6458731"/>
              <a:gd name="connsiteX96" fmla="*/ 7572144 w 8636594"/>
              <a:gd name="connsiteY96" fmla="*/ 1159689 h 6458731"/>
              <a:gd name="connsiteX97" fmla="*/ 7601877 w 8636594"/>
              <a:gd name="connsiteY97" fmla="*/ 1119210 h 6458731"/>
              <a:gd name="connsiteX98" fmla="*/ 7631779 w 8636594"/>
              <a:gd name="connsiteY98" fmla="*/ 1078937 h 6458731"/>
              <a:gd name="connsiteX99" fmla="*/ 7661855 w 8636594"/>
              <a:gd name="connsiteY99" fmla="*/ 1038876 h 6458731"/>
              <a:gd name="connsiteX100" fmla="*/ 7692111 w 8636594"/>
              <a:gd name="connsiteY100" fmla="*/ 999035 h 6458731"/>
              <a:gd name="connsiteX101" fmla="*/ 7722554 w 8636594"/>
              <a:gd name="connsiteY101" fmla="*/ 959419 h 6458731"/>
              <a:gd name="connsiteX102" fmla="*/ 7753190 w 8636594"/>
              <a:gd name="connsiteY102" fmla="*/ 920037 h 6458731"/>
              <a:gd name="connsiteX103" fmla="*/ 7784023 w 8636594"/>
              <a:gd name="connsiteY103" fmla="*/ 880894 h 6458731"/>
              <a:gd name="connsiteX104" fmla="*/ 7815061 w 8636594"/>
              <a:gd name="connsiteY104" fmla="*/ 841997 h 6458731"/>
              <a:gd name="connsiteX105" fmla="*/ 7846308 w 8636594"/>
              <a:gd name="connsiteY105" fmla="*/ 803354 h 6458731"/>
              <a:gd name="connsiteX106" fmla="*/ 7877772 w 8636594"/>
              <a:gd name="connsiteY106" fmla="*/ 764970 h 6458731"/>
              <a:gd name="connsiteX107" fmla="*/ 7909458 w 8636594"/>
              <a:gd name="connsiteY107" fmla="*/ 726853 h 6458731"/>
              <a:gd name="connsiteX108" fmla="*/ 7941371 w 8636594"/>
              <a:gd name="connsiteY108" fmla="*/ 689010 h 6458731"/>
              <a:gd name="connsiteX109" fmla="*/ 7973518 w 8636594"/>
              <a:gd name="connsiteY109" fmla="*/ 651447 h 6458731"/>
              <a:gd name="connsiteX110" fmla="*/ 8005905 w 8636594"/>
              <a:gd name="connsiteY110" fmla="*/ 614171 h 6458731"/>
              <a:gd name="connsiteX111" fmla="*/ 8038538 w 8636594"/>
              <a:gd name="connsiteY111" fmla="*/ 577189 h 6458731"/>
              <a:gd name="connsiteX112" fmla="*/ 8071421 w 8636594"/>
              <a:gd name="connsiteY112" fmla="*/ 540507 h 6458731"/>
              <a:gd name="connsiteX113" fmla="*/ 8104563 w 8636594"/>
              <a:gd name="connsiteY113" fmla="*/ 504132 h 6458731"/>
              <a:gd name="connsiteX114" fmla="*/ 8137967 w 8636594"/>
              <a:gd name="connsiteY114" fmla="*/ 468072 h 6458731"/>
              <a:gd name="connsiteX115" fmla="*/ 8171641 w 8636594"/>
              <a:gd name="connsiteY115" fmla="*/ 432332 h 6458731"/>
              <a:gd name="connsiteX116" fmla="*/ 8205590 w 8636594"/>
              <a:gd name="connsiteY116" fmla="*/ 396920 h 6458731"/>
              <a:gd name="connsiteX117" fmla="*/ 8239820 w 8636594"/>
              <a:gd name="connsiteY117" fmla="*/ 361843 h 6458731"/>
              <a:gd name="connsiteX118" fmla="*/ 8274337 w 8636594"/>
              <a:gd name="connsiteY118" fmla="*/ 327107 h 6458731"/>
              <a:gd name="connsiteX119" fmla="*/ 8309147 w 8636594"/>
              <a:gd name="connsiteY119" fmla="*/ 292718 h 6458731"/>
              <a:gd name="connsiteX120" fmla="*/ 8344256 w 8636594"/>
              <a:gd name="connsiteY120" fmla="*/ 258685 h 6458731"/>
              <a:gd name="connsiteX121" fmla="*/ 8379669 w 8636594"/>
              <a:gd name="connsiteY121" fmla="*/ 225013 h 6458731"/>
              <a:gd name="connsiteX122" fmla="*/ 8415394 w 8636594"/>
              <a:gd name="connsiteY122" fmla="*/ 191709 h 6458731"/>
              <a:gd name="connsiteX123" fmla="*/ 8451434 w 8636594"/>
              <a:gd name="connsiteY123" fmla="*/ 158780 h 6458731"/>
              <a:gd name="connsiteX124" fmla="*/ 8487798 w 8636594"/>
              <a:gd name="connsiteY124" fmla="*/ 126233 h 6458731"/>
              <a:gd name="connsiteX125" fmla="*/ 8524489 w 8636594"/>
              <a:gd name="connsiteY125" fmla="*/ 94075 h 6458731"/>
              <a:gd name="connsiteX126" fmla="*/ 8561515 w 8636594"/>
              <a:gd name="connsiteY126" fmla="*/ 62312 h 6458731"/>
              <a:gd name="connsiteX127" fmla="*/ 8598881 w 8636594"/>
              <a:gd name="connsiteY127" fmla="*/ 30951 h 6458731"/>
              <a:gd name="connsiteX128" fmla="*/ 8636594 w 8636594"/>
              <a:gd name="connsiteY128" fmla="*/ 0 h 6458731"/>
              <a:gd name="connsiteX0" fmla="*/ 8636594 w 8636594"/>
              <a:gd name="connsiteY0" fmla="*/ 0 h 6443216"/>
              <a:gd name="connsiteX1" fmla="*/ 5293 w 8636594"/>
              <a:gd name="connsiteY1" fmla="*/ 0 h 6443216"/>
              <a:gd name="connsiteX2" fmla="*/ 0 w 8636594"/>
              <a:gd name="connsiteY2" fmla="*/ 5587843 h 6443216"/>
              <a:gd name="connsiteX3" fmla="*/ 1594033 w 8636594"/>
              <a:gd name="connsiteY3" fmla="*/ 5600057 h 6443216"/>
              <a:gd name="connsiteX4" fmla="*/ 1686068 w 8636594"/>
              <a:gd name="connsiteY4" fmla="*/ 5599745 h 6443216"/>
              <a:gd name="connsiteX5" fmla="*/ 2846466 w 8636594"/>
              <a:gd name="connsiteY5" fmla="*/ 6443216 h 6443216"/>
              <a:gd name="connsiteX6" fmla="*/ 2897488 w 8636594"/>
              <a:gd name="connsiteY6" fmla="*/ 6427305 h 6443216"/>
              <a:gd name="connsiteX7" fmla="*/ 2947923 w 8636594"/>
              <a:gd name="connsiteY7" fmla="*/ 6411004 h 6443216"/>
              <a:gd name="connsiteX8" fmla="*/ 2997775 w 8636594"/>
              <a:gd name="connsiteY8" fmla="*/ 6394316 h 6443216"/>
              <a:gd name="connsiteX9" fmla="*/ 3047052 w 8636594"/>
              <a:gd name="connsiteY9" fmla="*/ 6377243 h 6443216"/>
              <a:gd name="connsiteX10" fmla="*/ 3095759 w 8636594"/>
              <a:gd name="connsiteY10" fmla="*/ 6359791 h 6443216"/>
              <a:gd name="connsiteX11" fmla="*/ 3143903 w 8636594"/>
              <a:gd name="connsiteY11" fmla="*/ 6341961 h 6443216"/>
              <a:gd name="connsiteX12" fmla="*/ 3191491 w 8636594"/>
              <a:gd name="connsiteY12" fmla="*/ 6323757 h 6443216"/>
              <a:gd name="connsiteX13" fmla="*/ 3238528 w 8636594"/>
              <a:gd name="connsiteY13" fmla="*/ 6305184 h 6443216"/>
              <a:gd name="connsiteX14" fmla="*/ 3285021 w 8636594"/>
              <a:gd name="connsiteY14" fmla="*/ 6286245 h 6443216"/>
              <a:gd name="connsiteX15" fmla="*/ 3330977 w 8636594"/>
              <a:gd name="connsiteY15" fmla="*/ 6266942 h 6443216"/>
              <a:gd name="connsiteX16" fmla="*/ 3376401 w 8636594"/>
              <a:gd name="connsiteY16" fmla="*/ 6247281 h 6443216"/>
              <a:gd name="connsiteX17" fmla="*/ 3421300 w 8636594"/>
              <a:gd name="connsiteY17" fmla="*/ 6227263 h 6443216"/>
              <a:gd name="connsiteX18" fmla="*/ 3465680 w 8636594"/>
              <a:gd name="connsiteY18" fmla="*/ 6206893 h 6443216"/>
              <a:gd name="connsiteX19" fmla="*/ 3509548 w 8636594"/>
              <a:gd name="connsiteY19" fmla="*/ 6186174 h 6443216"/>
              <a:gd name="connsiteX20" fmla="*/ 3552910 w 8636594"/>
              <a:gd name="connsiteY20" fmla="*/ 6165110 h 6443216"/>
              <a:gd name="connsiteX21" fmla="*/ 3595773 w 8636594"/>
              <a:gd name="connsiteY21" fmla="*/ 6143704 h 6443216"/>
              <a:gd name="connsiteX22" fmla="*/ 3638142 w 8636594"/>
              <a:gd name="connsiteY22" fmla="*/ 6121960 h 6443216"/>
              <a:gd name="connsiteX23" fmla="*/ 3680024 w 8636594"/>
              <a:gd name="connsiteY23" fmla="*/ 6099881 h 6443216"/>
              <a:gd name="connsiteX24" fmla="*/ 3721426 w 8636594"/>
              <a:gd name="connsiteY24" fmla="*/ 6077471 h 6443216"/>
              <a:gd name="connsiteX25" fmla="*/ 3762353 w 8636594"/>
              <a:gd name="connsiteY25" fmla="*/ 6054733 h 6443216"/>
              <a:gd name="connsiteX26" fmla="*/ 3802812 w 8636594"/>
              <a:gd name="connsiteY26" fmla="*/ 6031671 h 6443216"/>
              <a:gd name="connsiteX27" fmla="*/ 3842810 w 8636594"/>
              <a:gd name="connsiteY27" fmla="*/ 6008288 h 6443216"/>
              <a:gd name="connsiteX28" fmla="*/ 3882352 w 8636594"/>
              <a:gd name="connsiteY28" fmla="*/ 5984588 h 6443216"/>
              <a:gd name="connsiteX29" fmla="*/ 3921445 w 8636594"/>
              <a:gd name="connsiteY29" fmla="*/ 5960574 h 6443216"/>
              <a:gd name="connsiteX30" fmla="*/ 3960096 w 8636594"/>
              <a:gd name="connsiteY30" fmla="*/ 5936250 h 6443216"/>
              <a:gd name="connsiteX31" fmla="*/ 3998311 w 8636594"/>
              <a:gd name="connsiteY31" fmla="*/ 5911619 h 6443216"/>
              <a:gd name="connsiteX32" fmla="*/ 4036095 w 8636594"/>
              <a:gd name="connsiteY32" fmla="*/ 5886685 h 6443216"/>
              <a:gd name="connsiteX33" fmla="*/ 4073456 w 8636594"/>
              <a:gd name="connsiteY33" fmla="*/ 5861452 h 6443216"/>
              <a:gd name="connsiteX34" fmla="*/ 4110400 w 8636594"/>
              <a:gd name="connsiteY34" fmla="*/ 5835922 h 6443216"/>
              <a:gd name="connsiteX35" fmla="*/ 4146933 w 8636594"/>
              <a:gd name="connsiteY35" fmla="*/ 5810100 h 6443216"/>
              <a:gd name="connsiteX36" fmla="*/ 4183061 w 8636594"/>
              <a:gd name="connsiteY36" fmla="*/ 5783988 h 6443216"/>
              <a:gd name="connsiteX37" fmla="*/ 4218791 w 8636594"/>
              <a:gd name="connsiteY37" fmla="*/ 5757591 h 6443216"/>
              <a:gd name="connsiteX38" fmla="*/ 4254129 w 8636594"/>
              <a:gd name="connsiteY38" fmla="*/ 5730912 h 6443216"/>
              <a:gd name="connsiteX39" fmla="*/ 4289081 w 8636594"/>
              <a:gd name="connsiteY39" fmla="*/ 5703955 h 6443216"/>
              <a:gd name="connsiteX40" fmla="*/ 4323654 w 8636594"/>
              <a:gd name="connsiteY40" fmla="*/ 5676722 h 6443216"/>
              <a:gd name="connsiteX41" fmla="*/ 4357854 w 8636594"/>
              <a:gd name="connsiteY41" fmla="*/ 5649218 h 6443216"/>
              <a:gd name="connsiteX42" fmla="*/ 4391688 w 8636594"/>
              <a:gd name="connsiteY42" fmla="*/ 5621446 h 6443216"/>
              <a:gd name="connsiteX43" fmla="*/ 4425162 w 8636594"/>
              <a:gd name="connsiteY43" fmla="*/ 5593409 h 6443216"/>
              <a:gd name="connsiteX44" fmla="*/ 4458281 w 8636594"/>
              <a:gd name="connsiteY44" fmla="*/ 5565111 h 6443216"/>
              <a:gd name="connsiteX45" fmla="*/ 4491053 w 8636594"/>
              <a:gd name="connsiteY45" fmla="*/ 5536556 h 6443216"/>
              <a:gd name="connsiteX46" fmla="*/ 4523484 w 8636594"/>
              <a:gd name="connsiteY46" fmla="*/ 5507747 h 6443216"/>
              <a:gd name="connsiteX47" fmla="*/ 4555580 w 8636594"/>
              <a:gd name="connsiteY47" fmla="*/ 5478687 h 6443216"/>
              <a:gd name="connsiteX48" fmla="*/ 4587347 w 8636594"/>
              <a:gd name="connsiteY48" fmla="*/ 5449380 h 6443216"/>
              <a:gd name="connsiteX49" fmla="*/ 4618793 w 8636594"/>
              <a:gd name="connsiteY49" fmla="*/ 5419830 h 6443216"/>
              <a:gd name="connsiteX50" fmla="*/ 4649922 w 8636594"/>
              <a:gd name="connsiteY50" fmla="*/ 5390040 h 6443216"/>
              <a:gd name="connsiteX51" fmla="*/ 4680742 w 8636594"/>
              <a:gd name="connsiteY51" fmla="*/ 5360014 h 6443216"/>
              <a:gd name="connsiteX52" fmla="*/ 4711259 w 8636594"/>
              <a:gd name="connsiteY52" fmla="*/ 5329755 h 6443216"/>
              <a:gd name="connsiteX53" fmla="*/ 4741478 w 8636594"/>
              <a:gd name="connsiteY53" fmla="*/ 5299266 h 6443216"/>
              <a:gd name="connsiteX54" fmla="*/ 4771408 w 8636594"/>
              <a:gd name="connsiteY54" fmla="*/ 5268551 h 6443216"/>
              <a:gd name="connsiteX55" fmla="*/ 4801053 w 8636594"/>
              <a:gd name="connsiteY55" fmla="*/ 5237614 h 6443216"/>
              <a:gd name="connsiteX56" fmla="*/ 4830420 w 8636594"/>
              <a:gd name="connsiteY56" fmla="*/ 5206458 h 6443216"/>
              <a:gd name="connsiteX57" fmla="*/ 4859516 w 8636594"/>
              <a:gd name="connsiteY57" fmla="*/ 5175087 h 6443216"/>
              <a:gd name="connsiteX58" fmla="*/ 4888347 w 8636594"/>
              <a:gd name="connsiteY58" fmla="*/ 5143504 h 6443216"/>
              <a:gd name="connsiteX59" fmla="*/ 4916919 w 8636594"/>
              <a:gd name="connsiteY59" fmla="*/ 5111713 h 6443216"/>
              <a:gd name="connsiteX60" fmla="*/ 4945238 w 8636594"/>
              <a:gd name="connsiteY60" fmla="*/ 5079717 h 6443216"/>
              <a:gd name="connsiteX61" fmla="*/ 4973311 w 8636594"/>
              <a:gd name="connsiteY61" fmla="*/ 5047519 h 6443216"/>
              <a:gd name="connsiteX62" fmla="*/ 5001145 w 8636594"/>
              <a:gd name="connsiteY62" fmla="*/ 5015124 h 6443216"/>
              <a:gd name="connsiteX63" fmla="*/ 5028745 w 8636594"/>
              <a:gd name="connsiteY63" fmla="*/ 4982535 h 6443216"/>
              <a:gd name="connsiteX64" fmla="*/ 5056117 w 8636594"/>
              <a:gd name="connsiteY64" fmla="*/ 4949755 h 6443216"/>
              <a:gd name="connsiteX65" fmla="*/ 5083269 w 8636594"/>
              <a:gd name="connsiteY65" fmla="*/ 4916787 h 6443216"/>
              <a:gd name="connsiteX66" fmla="*/ 5110207 w 8636594"/>
              <a:gd name="connsiteY66" fmla="*/ 4883636 h 6443216"/>
              <a:gd name="connsiteX67" fmla="*/ 5136937 w 8636594"/>
              <a:gd name="connsiteY67" fmla="*/ 4850305 h 6443216"/>
              <a:gd name="connsiteX68" fmla="*/ 5163464 w 8636594"/>
              <a:gd name="connsiteY68" fmla="*/ 4816797 h 6443216"/>
              <a:gd name="connsiteX69" fmla="*/ 5215940 w 8636594"/>
              <a:gd name="connsiteY69" fmla="*/ 4749265 h 6443216"/>
              <a:gd name="connsiteX70" fmla="*/ 5267684 w 8636594"/>
              <a:gd name="connsiteY70" fmla="*/ 4681068 h 6443216"/>
              <a:gd name="connsiteX71" fmla="*/ 5318748 w 8636594"/>
              <a:gd name="connsiteY71" fmla="*/ 4612234 h 6443216"/>
              <a:gd name="connsiteX72" fmla="*/ 5369182 w 8636594"/>
              <a:gd name="connsiteY72" fmla="*/ 4542793 h 6443216"/>
              <a:gd name="connsiteX73" fmla="*/ 5419038 w 8636594"/>
              <a:gd name="connsiteY73" fmla="*/ 4472771 h 6443216"/>
              <a:gd name="connsiteX74" fmla="*/ 5468365 w 8636594"/>
              <a:gd name="connsiteY74" fmla="*/ 4402196 h 6443216"/>
              <a:gd name="connsiteX75" fmla="*/ 5517215 w 8636594"/>
              <a:gd name="connsiteY75" fmla="*/ 4331098 h 6443216"/>
              <a:gd name="connsiteX76" fmla="*/ 5565637 w 8636594"/>
              <a:gd name="connsiteY76" fmla="*/ 4259503 h 6443216"/>
              <a:gd name="connsiteX77" fmla="*/ 5613684 w 8636594"/>
              <a:gd name="connsiteY77" fmla="*/ 4187441 h 6443216"/>
              <a:gd name="connsiteX78" fmla="*/ 5685160 w 8636594"/>
              <a:gd name="connsiteY78" fmla="*/ 4078531 h 6443216"/>
              <a:gd name="connsiteX79" fmla="*/ 5756074 w 8636594"/>
              <a:gd name="connsiteY79" fmla="*/ 3968727 h 6443216"/>
              <a:gd name="connsiteX80" fmla="*/ 5873483 w 8636594"/>
              <a:gd name="connsiteY80" fmla="*/ 3783989 h 6443216"/>
              <a:gd name="connsiteX81" fmla="*/ 6203209 w 8636594"/>
              <a:gd name="connsiteY81" fmla="*/ 3258640 h 6443216"/>
              <a:gd name="connsiteX82" fmla="*/ 6299430 w 8636594"/>
              <a:gd name="connsiteY82" fmla="*/ 3107321 h 6443216"/>
              <a:gd name="connsiteX83" fmla="*/ 6372650 w 8636594"/>
              <a:gd name="connsiteY83" fmla="*/ 2993735 h 6443216"/>
              <a:gd name="connsiteX84" fmla="*/ 6453197 w 8636594"/>
              <a:gd name="connsiteY84" fmla="*/ 2869788 h 6443216"/>
              <a:gd name="connsiteX85" fmla="*/ 6564167 w 8636594"/>
              <a:gd name="connsiteY85" fmla="*/ 2696807 h 6443216"/>
              <a:gd name="connsiteX86" fmla="*/ 6976233 w 8636594"/>
              <a:gd name="connsiteY86" fmla="*/ 2045274 h 6443216"/>
              <a:gd name="connsiteX87" fmla="*/ 7086755 w 8636594"/>
              <a:gd name="connsiteY87" fmla="*/ 1872743 h 6443216"/>
              <a:gd name="connsiteX88" fmla="*/ 7170279 w 8636594"/>
              <a:gd name="connsiteY88" fmla="*/ 1744202 h 6443216"/>
              <a:gd name="connsiteX89" fmla="*/ 7226351 w 8636594"/>
              <a:gd name="connsiteY89" fmla="*/ 1659017 h 6443216"/>
              <a:gd name="connsiteX90" fmla="*/ 7282789 w 8636594"/>
              <a:gd name="connsiteY90" fmla="*/ 1574303 h 6443216"/>
              <a:gd name="connsiteX91" fmla="*/ 7339643 w 8636594"/>
              <a:gd name="connsiteY91" fmla="*/ 1490113 h 6443216"/>
              <a:gd name="connsiteX92" fmla="*/ 7396957 w 8636594"/>
              <a:gd name="connsiteY92" fmla="*/ 1406503 h 6443216"/>
              <a:gd name="connsiteX93" fmla="*/ 7454781 w 8636594"/>
              <a:gd name="connsiteY93" fmla="*/ 1323526 h 6443216"/>
              <a:gd name="connsiteX94" fmla="*/ 7513161 w 8636594"/>
              <a:gd name="connsiteY94" fmla="*/ 1241237 h 6443216"/>
              <a:gd name="connsiteX95" fmla="*/ 7572144 w 8636594"/>
              <a:gd name="connsiteY95" fmla="*/ 1159689 h 6443216"/>
              <a:gd name="connsiteX96" fmla="*/ 7601877 w 8636594"/>
              <a:gd name="connsiteY96" fmla="*/ 1119210 h 6443216"/>
              <a:gd name="connsiteX97" fmla="*/ 7631779 w 8636594"/>
              <a:gd name="connsiteY97" fmla="*/ 1078937 h 6443216"/>
              <a:gd name="connsiteX98" fmla="*/ 7661855 w 8636594"/>
              <a:gd name="connsiteY98" fmla="*/ 1038876 h 6443216"/>
              <a:gd name="connsiteX99" fmla="*/ 7692111 w 8636594"/>
              <a:gd name="connsiteY99" fmla="*/ 999035 h 6443216"/>
              <a:gd name="connsiteX100" fmla="*/ 7722554 w 8636594"/>
              <a:gd name="connsiteY100" fmla="*/ 959419 h 6443216"/>
              <a:gd name="connsiteX101" fmla="*/ 7753190 w 8636594"/>
              <a:gd name="connsiteY101" fmla="*/ 920037 h 6443216"/>
              <a:gd name="connsiteX102" fmla="*/ 7784023 w 8636594"/>
              <a:gd name="connsiteY102" fmla="*/ 880894 h 6443216"/>
              <a:gd name="connsiteX103" fmla="*/ 7815061 w 8636594"/>
              <a:gd name="connsiteY103" fmla="*/ 841997 h 6443216"/>
              <a:gd name="connsiteX104" fmla="*/ 7846308 w 8636594"/>
              <a:gd name="connsiteY104" fmla="*/ 803354 h 6443216"/>
              <a:gd name="connsiteX105" fmla="*/ 7877772 w 8636594"/>
              <a:gd name="connsiteY105" fmla="*/ 764970 h 6443216"/>
              <a:gd name="connsiteX106" fmla="*/ 7909458 w 8636594"/>
              <a:gd name="connsiteY106" fmla="*/ 726853 h 6443216"/>
              <a:gd name="connsiteX107" fmla="*/ 7941371 w 8636594"/>
              <a:gd name="connsiteY107" fmla="*/ 689010 h 6443216"/>
              <a:gd name="connsiteX108" fmla="*/ 7973518 w 8636594"/>
              <a:gd name="connsiteY108" fmla="*/ 651447 h 6443216"/>
              <a:gd name="connsiteX109" fmla="*/ 8005905 w 8636594"/>
              <a:gd name="connsiteY109" fmla="*/ 614171 h 6443216"/>
              <a:gd name="connsiteX110" fmla="*/ 8038538 w 8636594"/>
              <a:gd name="connsiteY110" fmla="*/ 577189 h 6443216"/>
              <a:gd name="connsiteX111" fmla="*/ 8071421 w 8636594"/>
              <a:gd name="connsiteY111" fmla="*/ 540507 h 6443216"/>
              <a:gd name="connsiteX112" fmla="*/ 8104563 w 8636594"/>
              <a:gd name="connsiteY112" fmla="*/ 504132 h 6443216"/>
              <a:gd name="connsiteX113" fmla="*/ 8137967 w 8636594"/>
              <a:gd name="connsiteY113" fmla="*/ 468072 h 6443216"/>
              <a:gd name="connsiteX114" fmla="*/ 8171641 w 8636594"/>
              <a:gd name="connsiteY114" fmla="*/ 432332 h 6443216"/>
              <a:gd name="connsiteX115" fmla="*/ 8205590 w 8636594"/>
              <a:gd name="connsiteY115" fmla="*/ 396920 h 6443216"/>
              <a:gd name="connsiteX116" fmla="*/ 8239820 w 8636594"/>
              <a:gd name="connsiteY116" fmla="*/ 361843 h 6443216"/>
              <a:gd name="connsiteX117" fmla="*/ 8274337 w 8636594"/>
              <a:gd name="connsiteY117" fmla="*/ 327107 h 6443216"/>
              <a:gd name="connsiteX118" fmla="*/ 8309147 w 8636594"/>
              <a:gd name="connsiteY118" fmla="*/ 292718 h 6443216"/>
              <a:gd name="connsiteX119" fmla="*/ 8344256 w 8636594"/>
              <a:gd name="connsiteY119" fmla="*/ 258685 h 6443216"/>
              <a:gd name="connsiteX120" fmla="*/ 8379669 w 8636594"/>
              <a:gd name="connsiteY120" fmla="*/ 225013 h 6443216"/>
              <a:gd name="connsiteX121" fmla="*/ 8415394 w 8636594"/>
              <a:gd name="connsiteY121" fmla="*/ 191709 h 6443216"/>
              <a:gd name="connsiteX122" fmla="*/ 8451434 w 8636594"/>
              <a:gd name="connsiteY122" fmla="*/ 158780 h 6443216"/>
              <a:gd name="connsiteX123" fmla="*/ 8487798 w 8636594"/>
              <a:gd name="connsiteY123" fmla="*/ 126233 h 6443216"/>
              <a:gd name="connsiteX124" fmla="*/ 8524489 w 8636594"/>
              <a:gd name="connsiteY124" fmla="*/ 94075 h 6443216"/>
              <a:gd name="connsiteX125" fmla="*/ 8561515 w 8636594"/>
              <a:gd name="connsiteY125" fmla="*/ 62312 h 6443216"/>
              <a:gd name="connsiteX126" fmla="*/ 8598881 w 8636594"/>
              <a:gd name="connsiteY126" fmla="*/ 30951 h 6443216"/>
              <a:gd name="connsiteX127" fmla="*/ 8636594 w 8636594"/>
              <a:gd name="connsiteY127" fmla="*/ 0 h 6443216"/>
              <a:gd name="connsiteX0" fmla="*/ 8636594 w 8636594"/>
              <a:gd name="connsiteY0" fmla="*/ 0 h 6427305"/>
              <a:gd name="connsiteX1" fmla="*/ 5293 w 8636594"/>
              <a:gd name="connsiteY1" fmla="*/ 0 h 6427305"/>
              <a:gd name="connsiteX2" fmla="*/ 0 w 8636594"/>
              <a:gd name="connsiteY2" fmla="*/ 5587843 h 6427305"/>
              <a:gd name="connsiteX3" fmla="*/ 1594033 w 8636594"/>
              <a:gd name="connsiteY3" fmla="*/ 5600057 h 6427305"/>
              <a:gd name="connsiteX4" fmla="*/ 1686068 w 8636594"/>
              <a:gd name="connsiteY4" fmla="*/ 5599745 h 6427305"/>
              <a:gd name="connsiteX5" fmla="*/ 2897488 w 8636594"/>
              <a:gd name="connsiteY5" fmla="*/ 6427305 h 6427305"/>
              <a:gd name="connsiteX6" fmla="*/ 2947923 w 8636594"/>
              <a:gd name="connsiteY6" fmla="*/ 6411004 h 6427305"/>
              <a:gd name="connsiteX7" fmla="*/ 2997775 w 8636594"/>
              <a:gd name="connsiteY7" fmla="*/ 6394316 h 6427305"/>
              <a:gd name="connsiteX8" fmla="*/ 3047052 w 8636594"/>
              <a:gd name="connsiteY8" fmla="*/ 6377243 h 6427305"/>
              <a:gd name="connsiteX9" fmla="*/ 3095759 w 8636594"/>
              <a:gd name="connsiteY9" fmla="*/ 6359791 h 6427305"/>
              <a:gd name="connsiteX10" fmla="*/ 3143903 w 8636594"/>
              <a:gd name="connsiteY10" fmla="*/ 6341961 h 6427305"/>
              <a:gd name="connsiteX11" fmla="*/ 3191491 w 8636594"/>
              <a:gd name="connsiteY11" fmla="*/ 6323757 h 6427305"/>
              <a:gd name="connsiteX12" fmla="*/ 3238528 w 8636594"/>
              <a:gd name="connsiteY12" fmla="*/ 6305184 h 6427305"/>
              <a:gd name="connsiteX13" fmla="*/ 3285021 w 8636594"/>
              <a:gd name="connsiteY13" fmla="*/ 6286245 h 6427305"/>
              <a:gd name="connsiteX14" fmla="*/ 3330977 w 8636594"/>
              <a:gd name="connsiteY14" fmla="*/ 6266942 h 6427305"/>
              <a:gd name="connsiteX15" fmla="*/ 3376401 w 8636594"/>
              <a:gd name="connsiteY15" fmla="*/ 6247281 h 6427305"/>
              <a:gd name="connsiteX16" fmla="*/ 3421300 w 8636594"/>
              <a:gd name="connsiteY16" fmla="*/ 6227263 h 6427305"/>
              <a:gd name="connsiteX17" fmla="*/ 3465680 w 8636594"/>
              <a:gd name="connsiteY17" fmla="*/ 6206893 h 6427305"/>
              <a:gd name="connsiteX18" fmla="*/ 3509548 w 8636594"/>
              <a:gd name="connsiteY18" fmla="*/ 6186174 h 6427305"/>
              <a:gd name="connsiteX19" fmla="*/ 3552910 w 8636594"/>
              <a:gd name="connsiteY19" fmla="*/ 6165110 h 6427305"/>
              <a:gd name="connsiteX20" fmla="*/ 3595773 w 8636594"/>
              <a:gd name="connsiteY20" fmla="*/ 6143704 h 6427305"/>
              <a:gd name="connsiteX21" fmla="*/ 3638142 w 8636594"/>
              <a:gd name="connsiteY21" fmla="*/ 6121960 h 6427305"/>
              <a:gd name="connsiteX22" fmla="*/ 3680024 w 8636594"/>
              <a:gd name="connsiteY22" fmla="*/ 6099881 h 6427305"/>
              <a:gd name="connsiteX23" fmla="*/ 3721426 w 8636594"/>
              <a:gd name="connsiteY23" fmla="*/ 6077471 h 6427305"/>
              <a:gd name="connsiteX24" fmla="*/ 3762353 w 8636594"/>
              <a:gd name="connsiteY24" fmla="*/ 6054733 h 6427305"/>
              <a:gd name="connsiteX25" fmla="*/ 3802812 w 8636594"/>
              <a:gd name="connsiteY25" fmla="*/ 6031671 h 6427305"/>
              <a:gd name="connsiteX26" fmla="*/ 3842810 w 8636594"/>
              <a:gd name="connsiteY26" fmla="*/ 6008288 h 6427305"/>
              <a:gd name="connsiteX27" fmla="*/ 3882352 w 8636594"/>
              <a:gd name="connsiteY27" fmla="*/ 5984588 h 6427305"/>
              <a:gd name="connsiteX28" fmla="*/ 3921445 w 8636594"/>
              <a:gd name="connsiteY28" fmla="*/ 5960574 h 6427305"/>
              <a:gd name="connsiteX29" fmla="*/ 3960096 w 8636594"/>
              <a:gd name="connsiteY29" fmla="*/ 5936250 h 6427305"/>
              <a:gd name="connsiteX30" fmla="*/ 3998311 w 8636594"/>
              <a:gd name="connsiteY30" fmla="*/ 5911619 h 6427305"/>
              <a:gd name="connsiteX31" fmla="*/ 4036095 w 8636594"/>
              <a:gd name="connsiteY31" fmla="*/ 5886685 h 6427305"/>
              <a:gd name="connsiteX32" fmla="*/ 4073456 w 8636594"/>
              <a:gd name="connsiteY32" fmla="*/ 5861452 h 6427305"/>
              <a:gd name="connsiteX33" fmla="*/ 4110400 w 8636594"/>
              <a:gd name="connsiteY33" fmla="*/ 5835922 h 6427305"/>
              <a:gd name="connsiteX34" fmla="*/ 4146933 w 8636594"/>
              <a:gd name="connsiteY34" fmla="*/ 5810100 h 6427305"/>
              <a:gd name="connsiteX35" fmla="*/ 4183061 w 8636594"/>
              <a:gd name="connsiteY35" fmla="*/ 5783988 h 6427305"/>
              <a:gd name="connsiteX36" fmla="*/ 4218791 w 8636594"/>
              <a:gd name="connsiteY36" fmla="*/ 5757591 h 6427305"/>
              <a:gd name="connsiteX37" fmla="*/ 4254129 w 8636594"/>
              <a:gd name="connsiteY37" fmla="*/ 5730912 h 6427305"/>
              <a:gd name="connsiteX38" fmla="*/ 4289081 w 8636594"/>
              <a:gd name="connsiteY38" fmla="*/ 5703955 h 6427305"/>
              <a:gd name="connsiteX39" fmla="*/ 4323654 w 8636594"/>
              <a:gd name="connsiteY39" fmla="*/ 5676722 h 6427305"/>
              <a:gd name="connsiteX40" fmla="*/ 4357854 w 8636594"/>
              <a:gd name="connsiteY40" fmla="*/ 5649218 h 6427305"/>
              <a:gd name="connsiteX41" fmla="*/ 4391688 w 8636594"/>
              <a:gd name="connsiteY41" fmla="*/ 5621446 h 6427305"/>
              <a:gd name="connsiteX42" fmla="*/ 4425162 w 8636594"/>
              <a:gd name="connsiteY42" fmla="*/ 5593409 h 6427305"/>
              <a:gd name="connsiteX43" fmla="*/ 4458281 w 8636594"/>
              <a:gd name="connsiteY43" fmla="*/ 5565111 h 6427305"/>
              <a:gd name="connsiteX44" fmla="*/ 4491053 w 8636594"/>
              <a:gd name="connsiteY44" fmla="*/ 5536556 h 6427305"/>
              <a:gd name="connsiteX45" fmla="*/ 4523484 w 8636594"/>
              <a:gd name="connsiteY45" fmla="*/ 5507747 h 6427305"/>
              <a:gd name="connsiteX46" fmla="*/ 4555580 w 8636594"/>
              <a:gd name="connsiteY46" fmla="*/ 5478687 h 6427305"/>
              <a:gd name="connsiteX47" fmla="*/ 4587347 w 8636594"/>
              <a:gd name="connsiteY47" fmla="*/ 5449380 h 6427305"/>
              <a:gd name="connsiteX48" fmla="*/ 4618793 w 8636594"/>
              <a:gd name="connsiteY48" fmla="*/ 5419830 h 6427305"/>
              <a:gd name="connsiteX49" fmla="*/ 4649922 w 8636594"/>
              <a:gd name="connsiteY49" fmla="*/ 5390040 h 6427305"/>
              <a:gd name="connsiteX50" fmla="*/ 4680742 w 8636594"/>
              <a:gd name="connsiteY50" fmla="*/ 5360014 h 6427305"/>
              <a:gd name="connsiteX51" fmla="*/ 4711259 w 8636594"/>
              <a:gd name="connsiteY51" fmla="*/ 5329755 h 6427305"/>
              <a:gd name="connsiteX52" fmla="*/ 4741478 w 8636594"/>
              <a:gd name="connsiteY52" fmla="*/ 5299266 h 6427305"/>
              <a:gd name="connsiteX53" fmla="*/ 4771408 w 8636594"/>
              <a:gd name="connsiteY53" fmla="*/ 5268551 h 6427305"/>
              <a:gd name="connsiteX54" fmla="*/ 4801053 w 8636594"/>
              <a:gd name="connsiteY54" fmla="*/ 5237614 h 6427305"/>
              <a:gd name="connsiteX55" fmla="*/ 4830420 w 8636594"/>
              <a:gd name="connsiteY55" fmla="*/ 5206458 h 6427305"/>
              <a:gd name="connsiteX56" fmla="*/ 4859516 w 8636594"/>
              <a:gd name="connsiteY56" fmla="*/ 5175087 h 6427305"/>
              <a:gd name="connsiteX57" fmla="*/ 4888347 w 8636594"/>
              <a:gd name="connsiteY57" fmla="*/ 5143504 h 6427305"/>
              <a:gd name="connsiteX58" fmla="*/ 4916919 w 8636594"/>
              <a:gd name="connsiteY58" fmla="*/ 5111713 h 6427305"/>
              <a:gd name="connsiteX59" fmla="*/ 4945238 w 8636594"/>
              <a:gd name="connsiteY59" fmla="*/ 5079717 h 6427305"/>
              <a:gd name="connsiteX60" fmla="*/ 4973311 w 8636594"/>
              <a:gd name="connsiteY60" fmla="*/ 5047519 h 6427305"/>
              <a:gd name="connsiteX61" fmla="*/ 5001145 w 8636594"/>
              <a:gd name="connsiteY61" fmla="*/ 5015124 h 6427305"/>
              <a:gd name="connsiteX62" fmla="*/ 5028745 w 8636594"/>
              <a:gd name="connsiteY62" fmla="*/ 4982535 h 6427305"/>
              <a:gd name="connsiteX63" fmla="*/ 5056117 w 8636594"/>
              <a:gd name="connsiteY63" fmla="*/ 4949755 h 6427305"/>
              <a:gd name="connsiteX64" fmla="*/ 5083269 w 8636594"/>
              <a:gd name="connsiteY64" fmla="*/ 4916787 h 6427305"/>
              <a:gd name="connsiteX65" fmla="*/ 5110207 w 8636594"/>
              <a:gd name="connsiteY65" fmla="*/ 4883636 h 6427305"/>
              <a:gd name="connsiteX66" fmla="*/ 5136937 w 8636594"/>
              <a:gd name="connsiteY66" fmla="*/ 4850305 h 6427305"/>
              <a:gd name="connsiteX67" fmla="*/ 5163464 w 8636594"/>
              <a:gd name="connsiteY67" fmla="*/ 4816797 h 6427305"/>
              <a:gd name="connsiteX68" fmla="*/ 5215940 w 8636594"/>
              <a:gd name="connsiteY68" fmla="*/ 4749265 h 6427305"/>
              <a:gd name="connsiteX69" fmla="*/ 5267684 w 8636594"/>
              <a:gd name="connsiteY69" fmla="*/ 4681068 h 6427305"/>
              <a:gd name="connsiteX70" fmla="*/ 5318748 w 8636594"/>
              <a:gd name="connsiteY70" fmla="*/ 4612234 h 6427305"/>
              <a:gd name="connsiteX71" fmla="*/ 5369182 w 8636594"/>
              <a:gd name="connsiteY71" fmla="*/ 4542793 h 6427305"/>
              <a:gd name="connsiteX72" fmla="*/ 5419038 w 8636594"/>
              <a:gd name="connsiteY72" fmla="*/ 4472771 h 6427305"/>
              <a:gd name="connsiteX73" fmla="*/ 5468365 w 8636594"/>
              <a:gd name="connsiteY73" fmla="*/ 4402196 h 6427305"/>
              <a:gd name="connsiteX74" fmla="*/ 5517215 w 8636594"/>
              <a:gd name="connsiteY74" fmla="*/ 4331098 h 6427305"/>
              <a:gd name="connsiteX75" fmla="*/ 5565637 w 8636594"/>
              <a:gd name="connsiteY75" fmla="*/ 4259503 h 6427305"/>
              <a:gd name="connsiteX76" fmla="*/ 5613684 w 8636594"/>
              <a:gd name="connsiteY76" fmla="*/ 4187441 h 6427305"/>
              <a:gd name="connsiteX77" fmla="*/ 5685160 w 8636594"/>
              <a:gd name="connsiteY77" fmla="*/ 4078531 h 6427305"/>
              <a:gd name="connsiteX78" fmla="*/ 5756074 w 8636594"/>
              <a:gd name="connsiteY78" fmla="*/ 3968727 h 6427305"/>
              <a:gd name="connsiteX79" fmla="*/ 5873483 w 8636594"/>
              <a:gd name="connsiteY79" fmla="*/ 3783989 h 6427305"/>
              <a:gd name="connsiteX80" fmla="*/ 6203209 w 8636594"/>
              <a:gd name="connsiteY80" fmla="*/ 3258640 h 6427305"/>
              <a:gd name="connsiteX81" fmla="*/ 6299430 w 8636594"/>
              <a:gd name="connsiteY81" fmla="*/ 3107321 h 6427305"/>
              <a:gd name="connsiteX82" fmla="*/ 6372650 w 8636594"/>
              <a:gd name="connsiteY82" fmla="*/ 2993735 h 6427305"/>
              <a:gd name="connsiteX83" fmla="*/ 6453197 w 8636594"/>
              <a:gd name="connsiteY83" fmla="*/ 2869788 h 6427305"/>
              <a:gd name="connsiteX84" fmla="*/ 6564167 w 8636594"/>
              <a:gd name="connsiteY84" fmla="*/ 2696807 h 6427305"/>
              <a:gd name="connsiteX85" fmla="*/ 6976233 w 8636594"/>
              <a:gd name="connsiteY85" fmla="*/ 2045274 h 6427305"/>
              <a:gd name="connsiteX86" fmla="*/ 7086755 w 8636594"/>
              <a:gd name="connsiteY86" fmla="*/ 1872743 h 6427305"/>
              <a:gd name="connsiteX87" fmla="*/ 7170279 w 8636594"/>
              <a:gd name="connsiteY87" fmla="*/ 1744202 h 6427305"/>
              <a:gd name="connsiteX88" fmla="*/ 7226351 w 8636594"/>
              <a:gd name="connsiteY88" fmla="*/ 1659017 h 6427305"/>
              <a:gd name="connsiteX89" fmla="*/ 7282789 w 8636594"/>
              <a:gd name="connsiteY89" fmla="*/ 1574303 h 6427305"/>
              <a:gd name="connsiteX90" fmla="*/ 7339643 w 8636594"/>
              <a:gd name="connsiteY90" fmla="*/ 1490113 h 6427305"/>
              <a:gd name="connsiteX91" fmla="*/ 7396957 w 8636594"/>
              <a:gd name="connsiteY91" fmla="*/ 1406503 h 6427305"/>
              <a:gd name="connsiteX92" fmla="*/ 7454781 w 8636594"/>
              <a:gd name="connsiteY92" fmla="*/ 1323526 h 6427305"/>
              <a:gd name="connsiteX93" fmla="*/ 7513161 w 8636594"/>
              <a:gd name="connsiteY93" fmla="*/ 1241237 h 6427305"/>
              <a:gd name="connsiteX94" fmla="*/ 7572144 w 8636594"/>
              <a:gd name="connsiteY94" fmla="*/ 1159689 h 6427305"/>
              <a:gd name="connsiteX95" fmla="*/ 7601877 w 8636594"/>
              <a:gd name="connsiteY95" fmla="*/ 1119210 h 6427305"/>
              <a:gd name="connsiteX96" fmla="*/ 7631779 w 8636594"/>
              <a:gd name="connsiteY96" fmla="*/ 1078937 h 6427305"/>
              <a:gd name="connsiteX97" fmla="*/ 7661855 w 8636594"/>
              <a:gd name="connsiteY97" fmla="*/ 1038876 h 6427305"/>
              <a:gd name="connsiteX98" fmla="*/ 7692111 w 8636594"/>
              <a:gd name="connsiteY98" fmla="*/ 999035 h 6427305"/>
              <a:gd name="connsiteX99" fmla="*/ 7722554 w 8636594"/>
              <a:gd name="connsiteY99" fmla="*/ 959419 h 6427305"/>
              <a:gd name="connsiteX100" fmla="*/ 7753190 w 8636594"/>
              <a:gd name="connsiteY100" fmla="*/ 920037 h 6427305"/>
              <a:gd name="connsiteX101" fmla="*/ 7784023 w 8636594"/>
              <a:gd name="connsiteY101" fmla="*/ 880894 h 6427305"/>
              <a:gd name="connsiteX102" fmla="*/ 7815061 w 8636594"/>
              <a:gd name="connsiteY102" fmla="*/ 841997 h 6427305"/>
              <a:gd name="connsiteX103" fmla="*/ 7846308 w 8636594"/>
              <a:gd name="connsiteY103" fmla="*/ 803354 h 6427305"/>
              <a:gd name="connsiteX104" fmla="*/ 7877772 w 8636594"/>
              <a:gd name="connsiteY104" fmla="*/ 764970 h 6427305"/>
              <a:gd name="connsiteX105" fmla="*/ 7909458 w 8636594"/>
              <a:gd name="connsiteY105" fmla="*/ 726853 h 6427305"/>
              <a:gd name="connsiteX106" fmla="*/ 7941371 w 8636594"/>
              <a:gd name="connsiteY106" fmla="*/ 689010 h 6427305"/>
              <a:gd name="connsiteX107" fmla="*/ 7973518 w 8636594"/>
              <a:gd name="connsiteY107" fmla="*/ 651447 h 6427305"/>
              <a:gd name="connsiteX108" fmla="*/ 8005905 w 8636594"/>
              <a:gd name="connsiteY108" fmla="*/ 614171 h 6427305"/>
              <a:gd name="connsiteX109" fmla="*/ 8038538 w 8636594"/>
              <a:gd name="connsiteY109" fmla="*/ 577189 h 6427305"/>
              <a:gd name="connsiteX110" fmla="*/ 8071421 w 8636594"/>
              <a:gd name="connsiteY110" fmla="*/ 540507 h 6427305"/>
              <a:gd name="connsiteX111" fmla="*/ 8104563 w 8636594"/>
              <a:gd name="connsiteY111" fmla="*/ 504132 h 6427305"/>
              <a:gd name="connsiteX112" fmla="*/ 8137967 w 8636594"/>
              <a:gd name="connsiteY112" fmla="*/ 468072 h 6427305"/>
              <a:gd name="connsiteX113" fmla="*/ 8171641 w 8636594"/>
              <a:gd name="connsiteY113" fmla="*/ 432332 h 6427305"/>
              <a:gd name="connsiteX114" fmla="*/ 8205590 w 8636594"/>
              <a:gd name="connsiteY114" fmla="*/ 396920 h 6427305"/>
              <a:gd name="connsiteX115" fmla="*/ 8239820 w 8636594"/>
              <a:gd name="connsiteY115" fmla="*/ 361843 h 6427305"/>
              <a:gd name="connsiteX116" fmla="*/ 8274337 w 8636594"/>
              <a:gd name="connsiteY116" fmla="*/ 327107 h 6427305"/>
              <a:gd name="connsiteX117" fmla="*/ 8309147 w 8636594"/>
              <a:gd name="connsiteY117" fmla="*/ 292718 h 6427305"/>
              <a:gd name="connsiteX118" fmla="*/ 8344256 w 8636594"/>
              <a:gd name="connsiteY118" fmla="*/ 258685 h 6427305"/>
              <a:gd name="connsiteX119" fmla="*/ 8379669 w 8636594"/>
              <a:gd name="connsiteY119" fmla="*/ 225013 h 6427305"/>
              <a:gd name="connsiteX120" fmla="*/ 8415394 w 8636594"/>
              <a:gd name="connsiteY120" fmla="*/ 191709 h 6427305"/>
              <a:gd name="connsiteX121" fmla="*/ 8451434 w 8636594"/>
              <a:gd name="connsiteY121" fmla="*/ 158780 h 6427305"/>
              <a:gd name="connsiteX122" fmla="*/ 8487798 w 8636594"/>
              <a:gd name="connsiteY122" fmla="*/ 126233 h 6427305"/>
              <a:gd name="connsiteX123" fmla="*/ 8524489 w 8636594"/>
              <a:gd name="connsiteY123" fmla="*/ 94075 h 6427305"/>
              <a:gd name="connsiteX124" fmla="*/ 8561515 w 8636594"/>
              <a:gd name="connsiteY124" fmla="*/ 62312 h 6427305"/>
              <a:gd name="connsiteX125" fmla="*/ 8598881 w 8636594"/>
              <a:gd name="connsiteY125" fmla="*/ 30951 h 6427305"/>
              <a:gd name="connsiteX126" fmla="*/ 8636594 w 8636594"/>
              <a:gd name="connsiteY126" fmla="*/ 0 h 6427305"/>
              <a:gd name="connsiteX0" fmla="*/ 8636594 w 8636594"/>
              <a:gd name="connsiteY0" fmla="*/ 0 h 6411004"/>
              <a:gd name="connsiteX1" fmla="*/ 5293 w 8636594"/>
              <a:gd name="connsiteY1" fmla="*/ 0 h 6411004"/>
              <a:gd name="connsiteX2" fmla="*/ 0 w 8636594"/>
              <a:gd name="connsiteY2" fmla="*/ 5587843 h 6411004"/>
              <a:gd name="connsiteX3" fmla="*/ 1594033 w 8636594"/>
              <a:gd name="connsiteY3" fmla="*/ 5600057 h 6411004"/>
              <a:gd name="connsiteX4" fmla="*/ 1686068 w 8636594"/>
              <a:gd name="connsiteY4" fmla="*/ 5599745 h 6411004"/>
              <a:gd name="connsiteX5" fmla="*/ 2947923 w 8636594"/>
              <a:gd name="connsiteY5" fmla="*/ 6411004 h 6411004"/>
              <a:gd name="connsiteX6" fmla="*/ 2997775 w 8636594"/>
              <a:gd name="connsiteY6" fmla="*/ 6394316 h 6411004"/>
              <a:gd name="connsiteX7" fmla="*/ 3047052 w 8636594"/>
              <a:gd name="connsiteY7" fmla="*/ 6377243 h 6411004"/>
              <a:gd name="connsiteX8" fmla="*/ 3095759 w 8636594"/>
              <a:gd name="connsiteY8" fmla="*/ 6359791 h 6411004"/>
              <a:gd name="connsiteX9" fmla="*/ 3143903 w 8636594"/>
              <a:gd name="connsiteY9" fmla="*/ 6341961 h 6411004"/>
              <a:gd name="connsiteX10" fmla="*/ 3191491 w 8636594"/>
              <a:gd name="connsiteY10" fmla="*/ 6323757 h 6411004"/>
              <a:gd name="connsiteX11" fmla="*/ 3238528 w 8636594"/>
              <a:gd name="connsiteY11" fmla="*/ 6305184 h 6411004"/>
              <a:gd name="connsiteX12" fmla="*/ 3285021 w 8636594"/>
              <a:gd name="connsiteY12" fmla="*/ 6286245 h 6411004"/>
              <a:gd name="connsiteX13" fmla="*/ 3330977 w 8636594"/>
              <a:gd name="connsiteY13" fmla="*/ 6266942 h 6411004"/>
              <a:gd name="connsiteX14" fmla="*/ 3376401 w 8636594"/>
              <a:gd name="connsiteY14" fmla="*/ 6247281 h 6411004"/>
              <a:gd name="connsiteX15" fmla="*/ 3421300 w 8636594"/>
              <a:gd name="connsiteY15" fmla="*/ 6227263 h 6411004"/>
              <a:gd name="connsiteX16" fmla="*/ 3465680 w 8636594"/>
              <a:gd name="connsiteY16" fmla="*/ 6206893 h 6411004"/>
              <a:gd name="connsiteX17" fmla="*/ 3509548 w 8636594"/>
              <a:gd name="connsiteY17" fmla="*/ 6186174 h 6411004"/>
              <a:gd name="connsiteX18" fmla="*/ 3552910 w 8636594"/>
              <a:gd name="connsiteY18" fmla="*/ 6165110 h 6411004"/>
              <a:gd name="connsiteX19" fmla="*/ 3595773 w 8636594"/>
              <a:gd name="connsiteY19" fmla="*/ 6143704 h 6411004"/>
              <a:gd name="connsiteX20" fmla="*/ 3638142 w 8636594"/>
              <a:gd name="connsiteY20" fmla="*/ 6121960 h 6411004"/>
              <a:gd name="connsiteX21" fmla="*/ 3680024 w 8636594"/>
              <a:gd name="connsiteY21" fmla="*/ 6099881 h 6411004"/>
              <a:gd name="connsiteX22" fmla="*/ 3721426 w 8636594"/>
              <a:gd name="connsiteY22" fmla="*/ 6077471 h 6411004"/>
              <a:gd name="connsiteX23" fmla="*/ 3762353 w 8636594"/>
              <a:gd name="connsiteY23" fmla="*/ 6054733 h 6411004"/>
              <a:gd name="connsiteX24" fmla="*/ 3802812 w 8636594"/>
              <a:gd name="connsiteY24" fmla="*/ 6031671 h 6411004"/>
              <a:gd name="connsiteX25" fmla="*/ 3842810 w 8636594"/>
              <a:gd name="connsiteY25" fmla="*/ 6008288 h 6411004"/>
              <a:gd name="connsiteX26" fmla="*/ 3882352 w 8636594"/>
              <a:gd name="connsiteY26" fmla="*/ 5984588 h 6411004"/>
              <a:gd name="connsiteX27" fmla="*/ 3921445 w 8636594"/>
              <a:gd name="connsiteY27" fmla="*/ 5960574 h 6411004"/>
              <a:gd name="connsiteX28" fmla="*/ 3960096 w 8636594"/>
              <a:gd name="connsiteY28" fmla="*/ 5936250 h 6411004"/>
              <a:gd name="connsiteX29" fmla="*/ 3998311 w 8636594"/>
              <a:gd name="connsiteY29" fmla="*/ 5911619 h 6411004"/>
              <a:gd name="connsiteX30" fmla="*/ 4036095 w 8636594"/>
              <a:gd name="connsiteY30" fmla="*/ 5886685 h 6411004"/>
              <a:gd name="connsiteX31" fmla="*/ 4073456 w 8636594"/>
              <a:gd name="connsiteY31" fmla="*/ 5861452 h 6411004"/>
              <a:gd name="connsiteX32" fmla="*/ 4110400 w 8636594"/>
              <a:gd name="connsiteY32" fmla="*/ 5835922 h 6411004"/>
              <a:gd name="connsiteX33" fmla="*/ 4146933 w 8636594"/>
              <a:gd name="connsiteY33" fmla="*/ 5810100 h 6411004"/>
              <a:gd name="connsiteX34" fmla="*/ 4183061 w 8636594"/>
              <a:gd name="connsiteY34" fmla="*/ 5783988 h 6411004"/>
              <a:gd name="connsiteX35" fmla="*/ 4218791 w 8636594"/>
              <a:gd name="connsiteY35" fmla="*/ 5757591 h 6411004"/>
              <a:gd name="connsiteX36" fmla="*/ 4254129 w 8636594"/>
              <a:gd name="connsiteY36" fmla="*/ 5730912 h 6411004"/>
              <a:gd name="connsiteX37" fmla="*/ 4289081 w 8636594"/>
              <a:gd name="connsiteY37" fmla="*/ 5703955 h 6411004"/>
              <a:gd name="connsiteX38" fmla="*/ 4323654 w 8636594"/>
              <a:gd name="connsiteY38" fmla="*/ 5676722 h 6411004"/>
              <a:gd name="connsiteX39" fmla="*/ 4357854 w 8636594"/>
              <a:gd name="connsiteY39" fmla="*/ 5649218 h 6411004"/>
              <a:gd name="connsiteX40" fmla="*/ 4391688 w 8636594"/>
              <a:gd name="connsiteY40" fmla="*/ 5621446 h 6411004"/>
              <a:gd name="connsiteX41" fmla="*/ 4425162 w 8636594"/>
              <a:gd name="connsiteY41" fmla="*/ 5593409 h 6411004"/>
              <a:gd name="connsiteX42" fmla="*/ 4458281 w 8636594"/>
              <a:gd name="connsiteY42" fmla="*/ 5565111 h 6411004"/>
              <a:gd name="connsiteX43" fmla="*/ 4491053 w 8636594"/>
              <a:gd name="connsiteY43" fmla="*/ 5536556 h 6411004"/>
              <a:gd name="connsiteX44" fmla="*/ 4523484 w 8636594"/>
              <a:gd name="connsiteY44" fmla="*/ 5507747 h 6411004"/>
              <a:gd name="connsiteX45" fmla="*/ 4555580 w 8636594"/>
              <a:gd name="connsiteY45" fmla="*/ 5478687 h 6411004"/>
              <a:gd name="connsiteX46" fmla="*/ 4587347 w 8636594"/>
              <a:gd name="connsiteY46" fmla="*/ 5449380 h 6411004"/>
              <a:gd name="connsiteX47" fmla="*/ 4618793 w 8636594"/>
              <a:gd name="connsiteY47" fmla="*/ 5419830 h 6411004"/>
              <a:gd name="connsiteX48" fmla="*/ 4649922 w 8636594"/>
              <a:gd name="connsiteY48" fmla="*/ 5390040 h 6411004"/>
              <a:gd name="connsiteX49" fmla="*/ 4680742 w 8636594"/>
              <a:gd name="connsiteY49" fmla="*/ 5360014 h 6411004"/>
              <a:gd name="connsiteX50" fmla="*/ 4711259 w 8636594"/>
              <a:gd name="connsiteY50" fmla="*/ 5329755 h 6411004"/>
              <a:gd name="connsiteX51" fmla="*/ 4741478 w 8636594"/>
              <a:gd name="connsiteY51" fmla="*/ 5299266 h 6411004"/>
              <a:gd name="connsiteX52" fmla="*/ 4771408 w 8636594"/>
              <a:gd name="connsiteY52" fmla="*/ 5268551 h 6411004"/>
              <a:gd name="connsiteX53" fmla="*/ 4801053 w 8636594"/>
              <a:gd name="connsiteY53" fmla="*/ 5237614 h 6411004"/>
              <a:gd name="connsiteX54" fmla="*/ 4830420 w 8636594"/>
              <a:gd name="connsiteY54" fmla="*/ 5206458 h 6411004"/>
              <a:gd name="connsiteX55" fmla="*/ 4859516 w 8636594"/>
              <a:gd name="connsiteY55" fmla="*/ 5175087 h 6411004"/>
              <a:gd name="connsiteX56" fmla="*/ 4888347 w 8636594"/>
              <a:gd name="connsiteY56" fmla="*/ 5143504 h 6411004"/>
              <a:gd name="connsiteX57" fmla="*/ 4916919 w 8636594"/>
              <a:gd name="connsiteY57" fmla="*/ 5111713 h 6411004"/>
              <a:gd name="connsiteX58" fmla="*/ 4945238 w 8636594"/>
              <a:gd name="connsiteY58" fmla="*/ 5079717 h 6411004"/>
              <a:gd name="connsiteX59" fmla="*/ 4973311 w 8636594"/>
              <a:gd name="connsiteY59" fmla="*/ 5047519 h 6411004"/>
              <a:gd name="connsiteX60" fmla="*/ 5001145 w 8636594"/>
              <a:gd name="connsiteY60" fmla="*/ 5015124 h 6411004"/>
              <a:gd name="connsiteX61" fmla="*/ 5028745 w 8636594"/>
              <a:gd name="connsiteY61" fmla="*/ 4982535 h 6411004"/>
              <a:gd name="connsiteX62" fmla="*/ 5056117 w 8636594"/>
              <a:gd name="connsiteY62" fmla="*/ 4949755 h 6411004"/>
              <a:gd name="connsiteX63" fmla="*/ 5083269 w 8636594"/>
              <a:gd name="connsiteY63" fmla="*/ 4916787 h 6411004"/>
              <a:gd name="connsiteX64" fmla="*/ 5110207 w 8636594"/>
              <a:gd name="connsiteY64" fmla="*/ 4883636 h 6411004"/>
              <a:gd name="connsiteX65" fmla="*/ 5136937 w 8636594"/>
              <a:gd name="connsiteY65" fmla="*/ 4850305 h 6411004"/>
              <a:gd name="connsiteX66" fmla="*/ 5163464 w 8636594"/>
              <a:gd name="connsiteY66" fmla="*/ 4816797 h 6411004"/>
              <a:gd name="connsiteX67" fmla="*/ 5215940 w 8636594"/>
              <a:gd name="connsiteY67" fmla="*/ 4749265 h 6411004"/>
              <a:gd name="connsiteX68" fmla="*/ 5267684 w 8636594"/>
              <a:gd name="connsiteY68" fmla="*/ 4681068 h 6411004"/>
              <a:gd name="connsiteX69" fmla="*/ 5318748 w 8636594"/>
              <a:gd name="connsiteY69" fmla="*/ 4612234 h 6411004"/>
              <a:gd name="connsiteX70" fmla="*/ 5369182 w 8636594"/>
              <a:gd name="connsiteY70" fmla="*/ 4542793 h 6411004"/>
              <a:gd name="connsiteX71" fmla="*/ 5419038 w 8636594"/>
              <a:gd name="connsiteY71" fmla="*/ 4472771 h 6411004"/>
              <a:gd name="connsiteX72" fmla="*/ 5468365 w 8636594"/>
              <a:gd name="connsiteY72" fmla="*/ 4402196 h 6411004"/>
              <a:gd name="connsiteX73" fmla="*/ 5517215 w 8636594"/>
              <a:gd name="connsiteY73" fmla="*/ 4331098 h 6411004"/>
              <a:gd name="connsiteX74" fmla="*/ 5565637 w 8636594"/>
              <a:gd name="connsiteY74" fmla="*/ 4259503 h 6411004"/>
              <a:gd name="connsiteX75" fmla="*/ 5613684 w 8636594"/>
              <a:gd name="connsiteY75" fmla="*/ 4187441 h 6411004"/>
              <a:gd name="connsiteX76" fmla="*/ 5685160 w 8636594"/>
              <a:gd name="connsiteY76" fmla="*/ 4078531 h 6411004"/>
              <a:gd name="connsiteX77" fmla="*/ 5756074 w 8636594"/>
              <a:gd name="connsiteY77" fmla="*/ 3968727 h 6411004"/>
              <a:gd name="connsiteX78" fmla="*/ 5873483 w 8636594"/>
              <a:gd name="connsiteY78" fmla="*/ 3783989 h 6411004"/>
              <a:gd name="connsiteX79" fmla="*/ 6203209 w 8636594"/>
              <a:gd name="connsiteY79" fmla="*/ 3258640 h 6411004"/>
              <a:gd name="connsiteX80" fmla="*/ 6299430 w 8636594"/>
              <a:gd name="connsiteY80" fmla="*/ 3107321 h 6411004"/>
              <a:gd name="connsiteX81" fmla="*/ 6372650 w 8636594"/>
              <a:gd name="connsiteY81" fmla="*/ 2993735 h 6411004"/>
              <a:gd name="connsiteX82" fmla="*/ 6453197 w 8636594"/>
              <a:gd name="connsiteY82" fmla="*/ 2869788 h 6411004"/>
              <a:gd name="connsiteX83" fmla="*/ 6564167 w 8636594"/>
              <a:gd name="connsiteY83" fmla="*/ 2696807 h 6411004"/>
              <a:gd name="connsiteX84" fmla="*/ 6976233 w 8636594"/>
              <a:gd name="connsiteY84" fmla="*/ 2045274 h 6411004"/>
              <a:gd name="connsiteX85" fmla="*/ 7086755 w 8636594"/>
              <a:gd name="connsiteY85" fmla="*/ 1872743 h 6411004"/>
              <a:gd name="connsiteX86" fmla="*/ 7170279 w 8636594"/>
              <a:gd name="connsiteY86" fmla="*/ 1744202 h 6411004"/>
              <a:gd name="connsiteX87" fmla="*/ 7226351 w 8636594"/>
              <a:gd name="connsiteY87" fmla="*/ 1659017 h 6411004"/>
              <a:gd name="connsiteX88" fmla="*/ 7282789 w 8636594"/>
              <a:gd name="connsiteY88" fmla="*/ 1574303 h 6411004"/>
              <a:gd name="connsiteX89" fmla="*/ 7339643 w 8636594"/>
              <a:gd name="connsiteY89" fmla="*/ 1490113 h 6411004"/>
              <a:gd name="connsiteX90" fmla="*/ 7396957 w 8636594"/>
              <a:gd name="connsiteY90" fmla="*/ 1406503 h 6411004"/>
              <a:gd name="connsiteX91" fmla="*/ 7454781 w 8636594"/>
              <a:gd name="connsiteY91" fmla="*/ 1323526 h 6411004"/>
              <a:gd name="connsiteX92" fmla="*/ 7513161 w 8636594"/>
              <a:gd name="connsiteY92" fmla="*/ 1241237 h 6411004"/>
              <a:gd name="connsiteX93" fmla="*/ 7572144 w 8636594"/>
              <a:gd name="connsiteY93" fmla="*/ 1159689 h 6411004"/>
              <a:gd name="connsiteX94" fmla="*/ 7601877 w 8636594"/>
              <a:gd name="connsiteY94" fmla="*/ 1119210 h 6411004"/>
              <a:gd name="connsiteX95" fmla="*/ 7631779 w 8636594"/>
              <a:gd name="connsiteY95" fmla="*/ 1078937 h 6411004"/>
              <a:gd name="connsiteX96" fmla="*/ 7661855 w 8636594"/>
              <a:gd name="connsiteY96" fmla="*/ 1038876 h 6411004"/>
              <a:gd name="connsiteX97" fmla="*/ 7692111 w 8636594"/>
              <a:gd name="connsiteY97" fmla="*/ 999035 h 6411004"/>
              <a:gd name="connsiteX98" fmla="*/ 7722554 w 8636594"/>
              <a:gd name="connsiteY98" fmla="*/ 959419 h 6411004"/>
              <a:gd name="connsiteX99" fmla="*/ 7753190 w 8636594"/>
              <a:gd name="connsiteY99" fmla="*/ 920037 h 6411004"/>
              <a:gd name="connsiteX100" fmla="*/ 7784023 w 8636594"/>
              <a:gd name="connsiteY100" fmla="*/ 880894 h 6411004"/>
              <a:gd name="connsiteX101" fmla="*/ 7815061 w 8636594"/>
              <a:gd name="connsiteY101" fmla="*/ 841997 h 6411004"/>
              <a:gd name="connsiteX102" fmla="*/ 7846308 w 8636594"/>
              <a:gd name="connsiteY102" fmla="*/ 803354 h 6411004"/>
              <a:gd name="connsiteX103" fmla="*/ 7877772 w 8636594"/>
              <a:gd name="connsiteY103" fmla="*/ 764970 h 6411004"/>
              <a:gd name="connsiteX104" fmla="*/ 7909458 w 8636594"/>
              <a:gd name="connsiteY104" fmla="*/ 726853 h 6411004"/>
              <a:gd name="connsiteX105" fmla="*/ 7941371 w 8636594"/>
              <a:gd name="connsiteY105" fmla="*/ 689010 h 6411004"/>
              <a:gd name="connsiteX106" fmla="*/ 7973518 w 8636594"/>
              <a:gd name="connsiteY106" fmla="*/ 651447 h 6411004"/>
              <a:gd name="connsiteX107" fmla="*/ 8005905 w 8636594"/>
              <a:gd name="connsiteY107" fmla="*/ 614171 h 6411004"/>
              <a:gd name="connsiteX108" fmla="*/ 8038538 w 8636594"/>
              <a:gd name="connsiteY108" fmla="*/ 577189 h 6411004"/>
              <a:gd name="connsiteX109" fmla="*/ 8071421 w 8636594"/>
              <a:gd name="connsiteY109" fmla="*/ 540507 h 6411004"/>
              <a:gd name="connsiteX110" fmla="*/ 8104563 w 8636594"/>
              <a:gd name="connsiteY110" fmla="*/ 504132 h 6411004"/>
              <a:gd name="connsiteX111" fmla="*/ 8137967 w 8636594"/>
              <a:gd name="connsiteY111" fmla="*/ 468072 h 6411004"/>
              <a:gd name="connsiteX112" fmla="*/ 8171641 w 8636594"/>
              <a:gd name="connsiteY112" fmla="*/ 432332 h 6411004"/>
              <a:gd name="connsiteX113" fmla="*/ 8205590 w 8636594"/>
              <a:gd name="connsiteY113" fmla="*/ 396920 h 6411004"/>
              <a:gd name="connsiteX114" fmla="*/ 8239820 w 8636594"/>
              <a:gd name="connsiteY114" fmla="*/ 361843 h 6411004"/>
              <a:gd name="connsiteX115" fmla="*/ 8274337 w 8636594"/>
              <a:gd name="connsiteY115" fmla="*/ 327107 h 6411004"/>
              <a:gd name="connsiteX116" fmla="*/ 8309147 w 8636594"/>
              <a:gd name="connsiteY116" fmla="*/ 292718 h 6411004"/>
              <a:gd name="connsiteX117" fmla="*/ 8344256 w 8636594"/>
              <a:gd name="connsiteY117" fmla="*/ 258685 h 6411004"/>
              <a:gd name="connsiteX118" fmla="*/ 8379669 w 8636594"/>
              <a:gd name="connsiteY118" fmla="*/ 225013 h 6411004"/>
              <a:gd name="connsiteX119" fmla="*/ 8415394 w 8636594"/>
              <a:gd name="connsiteY119" fmla="*/ 191709 h 6411004"/>
              <a:gd name="connsiteX120" fmla="*/ 8451434 w 8636594"/>
              <a:gd name="connsiteY120" fmla="*/ 158780 h 6411004"/>
              <a:gd name="connsiteX121" fmla="*/ 8487798 w 8636594"/>
              <a:gd name="connsiteY121" fmla="*/ 126233 h 6411004"/>
              <a:gd name="connsiteX122" fmla="*/ 8524489 w 8636594"/>
              <a:gd name="connsiteY122" fmla="*/ 94075 h 6411004"/>
              <a:gd name="connsiteX123" fmla="*/ 8561515 w 8636594"/>
              <a:gd name="connsiteY123" fmla="*/ 62312 h 6411004"/>
              <a:gd name="connsiteX124" fmla="*/ 8598881 w 8636594"/>
              <a:gd name="connsiteY124" fmla="*/ 30951 h 6411004"/>
              <a:gd name="connsiteX125" fmla="*/ 8636594 w 8636594"/>
              <a:gd name="connsiteY125" fmla="*/ 0 h 6411004"/>
              <a:gd name="connsiteX0" fmla="*/ 8636594 w 8636594"/>
              <a:gd name="connsiteY0" fmla="*/ 0 h 6394316"/>
              <a:gd name="connsiteX1" fmla="*/ 5293 w 8636594"/>
              <a:gd name="connsiteY1" fmla="*/ 0 h 6394316"/>
              <a:gd name="connsiteX2" fmla="*/ 0 w 8636594"/>
              <a:gd name="connsiteY2" fmla="*/ 5587843 h 6394316"/>
              <a:gd name="connsiteX3" fmla="*/ 1594033 w 8636594"/>
              <a:gd name="connsiteY3" fmla="*/ 5600057 h 6394316"/>
              <a:gd name="connsiteX4" fmla="*/ 1686068 w 8636594"/>
              <a:gd name="connsiteY4" fmla="*/ 5599745 h 6394316"/>
              <a:gd name="connsiteX5" fmla="*/ 2997775 w 8636594"/>
              <a:gd name="connsiteY5" fmla="*/ 6394316 h 6394316"/>
              <a:gd name="connsiteX6" fmla="*/ 3047052 w 8636594"/>
              <a:gd name="connsiteY6" fmla="*/ 6377243 h 6394316"/>
              <a:gd name="connsiteX7" fmla="*/ 3095759 w 8636594"/>
              <a:gd name="connsiteY7" fmla="*/ 6359791 h 6394316"/>
              <a:gd name="connsiteX8" fmla="*/ 3143903 w 8636594"/>
              <a:gd name="connsiteY8" fmla="*/ 6341961 h 6394316"/>
              <a:gd name="connsiteX9" fmla="*/ 3191491 w 8636594"/>
              <a:gd name="connsiteY9" fmla="*/ 6323757 h 6394316"/>
              <a:gd name="connsiteX10" fmla="*/ 3238528 w 8636594"/>
              <a:gd name="connsiteY10" fmla="*/ 6305184 h 6394316"/>
              <a:gd name="connsiteX11" fmla="*/ 3285021 w 8636594"/>
              <a:gd name="connsiteY11" fmla="*/ 6286245 h 6394316"/>
              <a:gd name="connsiteX12" fmla="*/ 3330977 w 8636594"/>
              <a:gd name="connsiteY12" fmla="*/ 6266942 h 6394316"/>
              <a:gd name="connsiteX13" fmla="*/ 3376401 w 8636594"/>
              <a:gd name="connsiteY13" fmla="*/ 6247281 h 6394316"/>
              <a:gd name="connsiteX14" fmla="*/ 3421300 w 8636594"/>
              <a:gd name="connsiteY14" fmla="*/ 6227263 h 6394316"/>
              <a:gd name="connsiteX15" fmla="*/ 3465680 w 8636594"/>
              <a:gd name="connsiteY15" fmla="*/ 6206893 h 6394316"/>
              <a:gd name="connsiteX16" fmla="*/ 3509548 w 8636594"/>
              <a:gd name="connsiteY16" fmla="*/ 6186174 h 6394316"/>
              <a:gd name="connsiteX17" fmla="*/ 3552910 w 8636594"/>
              <a:gd name="connsiteY17" fmla="*/ 6165110 h 6394316"/>
              <a:gd name="connsiteX18" fmla="*/ 3595773 w 8636594"/>
              <a:gd name="connsiteY18" fmla="*/ 6143704 h 6394316"/>
              <a:gd name="connsiteX19" fmla="*/ 3638142 w 8636594"/>
              <a:gd name="connsiteY19" fmla="*/ 6121960 h 6394316"/>
              <a:gd name="connsiteX20" fmla="*/ 3680024 w 8636594"/>
              <a:gd name="connsiteY20" fmla="*/ 6099881 h 6394316"/>
              <a:gd name="connsiteX21" fmla="*/ 3721426 w 8636594"/>
              <a:gd name="connsiteY21" fmla="*/ 6077471 h 6394316"/>
              <a:gd name="connsiteX22" fmla="*/ 3762353 w 8636594"/>
              <a:gd name="connsiteY22" fmla="*/ 6054733 h 6394316"/>
              <a:gd name="connsiteX23" fmla="*/ 3802812 w 8636594"/>
              <a:gd name="connsiteY23" fmla="*/ 6031671 h 6394316"/>
              <a:gd name="connsiteX24" fmla="*/ 3842810 w 8636594"/>
              <a:gd name="connsiteY24" fmla="*/ 6008288 h 6394316"/>
              <a:gd name="connsiteX25" fmla="*/ 3882352 w 8636594"/>
              <a:gd name="connsiteY25" fmla="*/ 5984588 h 6394316"/>
              <a:gd name="connsiteX26" fmla="*/ 3921445 w 8636594"/>
              <a:gd name="connsiteY26" fmla="*/ 5960574 h 6394316"/>
              <a:gd name="connsiteX27" fmla="*/ 3960096 w 8636594"/>
              <a:gd name="connsiteY27" fmla="*/ 5936250 h 6394316"/>
              <a:gd name="connsiteX28" fmla="*/ 3998311 w 8636594"/>
              <a:gd name="connsiteY28" fmla="*/ 5911619 h 6394316"/>
              <a:gd name="connsiteX29" fmla="*/ 4036095 w 8636594"/>
              <a:gd name="connsiteY29" fmla="*/ 5886685 h 6394316"/>
              <a:gd name="connsiteX30" fmla="*/ 4073456 w 8636594"/>
              <a:gd name="connsiteY30" fmla="*/ 5861452 h 6394316"/>
              <a:gd name="connsiteX31" fmla="*/ 4110400 w 8636594"/>
              <a:gd name="connsiteY31" fmla="*/ 5835922 h 6394316"/>
              <a:gd name="connsiteX32" fmla="*/ 4146933 w 8636594"/>
              <a:gd name="connsiteY32" fmla="*/ 5810100 h 6394316"/>
              <a:gd name="connsiteX33" fmla="*/ 4183061 w 8636594"/>
              <a:gd name="connsiteY33" fmla="*/ 5783988 h 6394316"/>
              <a:gd name="connsiteX34" fmla="*/ 4218791 w 8636594"/>
              <a:gd name="connsiteY34" fmla="*/ 5757591 h 6394316"/>
              <a:gd name="connsiteX35" fmla="*/ 4254129 w 8636594"/>
              <a:gd name="connsiteY35" fmla="*/ 5730912 h 6394316"/>
              <a:gd name="connsiteX36" fmla="*/ 4289081 w 8636594"/>
              <a:gd name="connsiteY36" fmla="*/ 5703955 h 6394316"/>
              <a:gd name="connsiteX37" fmla="*/ 4323654 w 8636594"/>
              <a:gd name="connsiteY37" fmla="*/ 5676722 h 6394316"/>
              <a:gd name="connsiteX38" fmla="*/ 4357854 w 8636594"/>
              <a:gd name="connsiteY38" fmla="*/ 5649218 h 6394316"/>
              <a:gd name="connsiteX39" fmla="*/ 4391688 w 8636594"/>
              <a:gd name="connsiteY39" fmla="*/ 5621446 h 6394316"/>
              <a:gd name="connsiteX40" fmla="*/ 4425162 w 8636594"/>
              <a:gd name="connsiteY40" fmla="*/ 5593409 h 6394316"/>
              <a:gd name="connsiteX41" fmla="*/ 4458281 w 8636594"/>
              <a:gd name="connsiteY41" fmla="*/ 5565111 h 6394316"/>
              <a:gd name="connsiteX42" fmla="*/ 4491053 w 8636594"/>
              <a:gd name="connsiteY42" fmla="*/ 5536556 h 6394316"/>
              <a:gd name="connsiteX43" fmla="*/ 4523484 w 8636594"/>
              <a:gd name="connsiteY43" fmla="*/ 5507747 h 6394316"/>
              <a:gd name="connsiteX44" fmla="*/ 4555580 w 8636594"/>
              <a:gd name="connsiteY44" fmla="*/ 5478687 h 6394316"/>
              <a:gd name="connsiteX45" fmla="*/ 4587347 w 8636594"/>
              <a:gd name="connsiteY45" fmla="*/ 5449380 h 6394316"/>
              <a:gd name="connsiteX46" fmla="*/ 4618793 w 8636594"/>
              <a:gd name="connsiteY46" fmla="*/ 5419830 h 6394316"/>
              <a:gd name="connsiteX47" fmla="*/ 4649922 w 8636594"/>
              <a:gd name="connsiteY47" fmla="*/ 5390040 h 6394316"/>
              <a:gd name="connsiteX48" fmla="*/ 4680742 w 8636594"/>
              <a:gd name="connsiteY48" fmla="*/ 5360014 h 6394316"/>
              <a:gd name="connsiteX49" fmla="*/ 4711259 w 8636594"/>
              <a:gd name="connsiteY49" fmla="*/ 5329755 h 6394316"/>
              <a:gd name="connsiteX50" fmla="*/ 4741478 w 8636594"/>
              <a:gd name="connsiteY50" fmla="*/ 5299266 h 6394316"/>
              <a:gd name="connsiteX51" fmla="*/ 4771408 w 8636594"/>
              <a:gd name="connsiteY51" fmla="*/ 5268551 h 6394316"/>
              <a:gd name="connsiteX52" fmla="*/ 4801053 w 8636594"/>
              <a:gd name="connsiteY52" fmla="*/ 5237614 h 6394316"/>
              <a:gd name="connsiteX53" fmla="*/ 4830420 w 8636594"/>
              <a:gd name="connsiteY53" fmla="*/ 5206458 h 6394316"/>
              <a:gd name="connsiteX54" fmla="*/ 4859516 w 8636594"/>
              <a:gd name="connsiteY54" fmla="*/ 5175087 h 6394316"/>
              <a:gd name="connsiteX55" fmla="*/ 4888347 w 8636594"/>
              <a:gd name="connsiteY55" fmla="*/ 5143504 h 6394316"/>
              <a:gd name="connsiteX56" fmla="*/ 4916919 w 8636594"/>
              <a:gd name="connsiteY56" fmla="*/ 5111713 h 6394316"/>
              <a:gd name="connsiteX57" fmla="*/ 4945238 w 8636594"/>
              <a:gd name="connsiteY57" fmla="*/ 5079717 h 6394316"/>
              <a:gd name="connsiteX58" fmla="*/ 4973311 w 8636594"/>
              <a:gd name="connsiteY58" fmla="*/ 5047519 h 6394316"/>
              <a:gd name="connsiteX59" fmla="*/ 5001145 w 8636594"/>
              <a:gd name="connsiteY59" fmla="*/ 5015124 h 6394316"/>
              <a:gd name="connsiteX60" fmla="*/ 5028745 w 8636594"/>
              <a:gd name="connsiteY60" fmla="*/ 4982535 h 6394316"/>
              <a:gd name="connsiteX61" fmla="*/ 5056117 w 8636594"/>
              <a:gd name="connsiteY61" fmla="*/ 4949755 h 6394316"/>
              <a:gd name="connsiteX62" fmla="*/ 5083269 w 8636594"/>
              <a:gd name="connsiteY62" fmla="*/ 4916787 h 6394316"/>
              <a:gd name="connsiteX63" fmla="*/ 5110207 w 8636594"/>
              <a:gd name="connsiteY63" fmla="*/ 4883636 h 6394316"/>
              <a:gd name="connsiteX64" fmla="*/ 5136937 w 8636594"/>
              <a:gd name="connsiteY64" fmla="*/ 4850305 h 6394316"/>
              <a:gd name="connsiteX65" fmla="*/ 5163464 w 8636594"/>
              <a:gd name="connsiteY65" fmla="*/ 4816797 h 6394316"/>
              <a:gd name="connsiteX66" fmla="*/ 5215940 w 8636594"/>
              <a:gd name="connsiteY66" fmla="*/ 4749265 h 6394316"/>
              <a:gd name="connsiteX67" fmla="*/ 5267684 w 8636594"/>
              <a:gd name="connsiteY67" fmla="*/ 4681068 h 6394316"/>
              <a:gd name="connsiteX68" fmla="*/ 5318748 w 8636594"/>
              <a:gd name="connsiteY68" fmla="*/ 4612234 h 6394316"/>
              <a:gd name="connsiteX69" fmla="*/ 5369182 w 8636594"/>
              <a:gd name="connsiteY69" fmla="*/ 4542793 h 6394316"/>
              <a:gd name="connsiteX70" fmla="*/ 5419038 w 8636594"/>
              <a:gd name="connsiteY70" fmla="*/ 4472771 h 6394316"/>
              <a:gd name="connsiteX71" fmla="*/ 5468365 w 8636594"/>
              <a:gd name="connsiteY71" fmla="*/ 4402196 h 6394316"/>
              <a:gd name="connsiteX72" fmla="*/ 5517215 w 8636594"/>
              <a:gd name="connsiteY72" fmla="*/ 4331098 h 6394316"/>
              <a:gd name="connsiteX73" fmla="*/ 5565637 w 8636594"/>
              <a:gd name="connsiteY73" fmla="*/ 4259503 h 6394316"/>
              <a:gd name="connsiteX74" fmla="*/ 5613684 w 8636594"/>
              <a:gd name="connsiteY74" fmla="*/ 4187441 h 6394316"/>
              <a:gd name="connsiteX75" fmla="*/ 5685160 w 8636594"/>
              <a:gd name="connsiteY75" fmla="*/ 4078531 h 6394316"/>
              <a:gd name="connsiteX76" fmla="*/ 5756074 w 8636594"/>
              <a:gd name="connsiteY76" fmla="*/ 3968727 h 6394316"/>
              <a:gd name="connsiteX77" fmla="*/ 5873483 w 8636594"/>
              <a:gd name="connsiteY77" fmla="*/ 3783989 h 6394316"/>
              <a:gd name="connsiteX78" fmla="*/ 6203209 w 8636594"/>
              <a:gd name="connsiteY78" fmla="*/ 3258640 h 6394316"/>
              <a:gd name="connsiteX79" fmla="*/ 6299430 w 8636594"/>
              <a:gd name="connsiteY79" fmla="*/ 3107321 h 6394316"/>
              <a:gd name="connsiteX80" fmla="*/ 6372650 w 8636594"/>
              <a:gd name="connsiteY80" fmla="*/ 2993735 h 6394316"/>
              <a:gd name="connsiteX81" fmla="*/ 6453197 w 8636594"/>
              <a:gd name="connsiteY81" fmla="*/ 2869788 h 6394316"/>
              <a:gd name="connsiteX82" fmla="*/ 6564167 w 8636594"/>
              <a:gd name="connsiteY82" fmla="*/ 2696807 h 6394316"/>
              <a:gd name="connsiteX83" fmla="*/ 6976233 w 8636594"/>
              <a:gd name="connsiteY83" fmla="*/ 2045274 h 6394316"/>
              <a:gd name="connsiteX84" fmla="*/ 7086755 w 8636594"/>
              <a:gd name="connsiteY84" fmla="*/ 1872743 h 6394316"/>
              <a:gd name="connsiteX85" fmla="*/ 7170279 w 8636594"/>
              <a:gd name="connsiteY85" fmla="*/ 1744202 h 6394316"/>
              <a:gd name="connsiteX86" fmla="*/ 7226351 w 8636594"/>
              <a:gd name="connsiteY86" fmla="*/ 1659017 h 6394316"/>
              <a:gd name="connsiteX87" fmla="*/ 7282789 w 8636594"/>
              <a:gd name="connsiteY87" fmla="*/ 1574303 h 6394316"/>
              <a:gd name="connsiteX88" fmla="*/ 7339643 w 8636594"/>
              <a:gd name="connsiteY88" fmla="*/ 1490113 h 6394316"/>
              <a:gd name="connsiteX89" fmla="*/ 7396957 w 8636594"/>
              <a:gd name="connsiteY89" fmla="*/ 1406503 h 6394316"/>
              <a:gd name="connsiteX90" fmla="*/ 7454781 w 8636594"/>
              <a:gd name="connsiteY90" fmla="*/ 1323526 h 6394316"/>
              <a:gd name="connsiteX91" fmla="*/ 7513161 w 8636594"/>
              <a:gd name="connsiteY91" fmla="*/ 1241237 h 6394316"/>
              <a:gd name="connsiteX92" fmla="*/ 7572144 w 8636594"/>
              <a:gd name="connsiteY92" fmla="*/ 1159689 h 6394316"/>
              <a:gd name="connsiteX93" fmla="*/ 7601877 w 8636594"/>
              <a:gd name="connsiteY93" fmla="*/ 1119210 h 6394316"/>
              <a:gd name="connsiteX94" fmla="*/ 7631779 w 8636594"/>
              <a:gd name="connsiteY94" fmla="*/ 1078937 h 6394316"/>
              <a:gd name="connsiteX95" fmla="*/ 7661855 w 8636594"/>
              <a:gd name="connsiteY95" fmla="*/ 1038876 h 6394316"/>
              <a:gd name="connsiteX96" fmla="*/ 7692111 w 8636594"/>
              <a:gd name="connsiteY96" fmla="*/ 999035 h 6394316"/>
              <a:gd name="connsiteX97" fmla="*/ 7722554 w 8636594"/>
              <a:gd name="connsiteY97" fmla="*/ 959419 h 6394316"/>
              <a:gd name="connsiteX98" fmla="*/ 7753190 w 8636594"/>
              <a:gd name="connsiteY98" fmla="*/ 920037 h 6394316"/>
              <a:gd name="connsiteX99" fmla="*/ 7784023 w 8636594"/>
              <a:gd name="connsiteY99" fmla="*/ 880894 h 6394316"/>
              <a:gd name="connsiteX100" fmla="*/ 7815061 w 8636594"/>
              <a:gd name="connsiteY100" fmla="*/ 841997 h 6394316"/>
              <a:gd name="connsiteX101" fmla="*/ 7846308 w 8636594"/>
              <a:gd name="connsiteY101" fmla="*/ 803354 h 6394316"/>
              <a:gd name="connsiteX102" fmla="*/ 7877772 w 8636594"/>
              <a:gd name="connsiteY102" fmla="*/ 764970 h 6394316"/>
              <a:gd name="connsiteX103" fmla="*/ 7909458 w 8636594"/>
              <a:gd name="connsiteY103" fmla="*/ 726853 h 6394316"/>
              <a:gd name="connsiteX104" fmla="*/ 7941371 w 8636594"/>
              <a:gd name="connsiteY104" fmla="*/ 689010 h 6394316"/>
              <a:gd name="connsiteX105" fmla="*/ 7973518 w 8636594"/>
              <a:gd name="connsiteY105" fmla="*/ 651447 h 6394316"/>
              <a:gd name="connsiteX106" fmla="*/ 8005905 w 8636594"/>
              <a:gd name="connsiteY106" fmla="*/ 614171 h 6394316"/>
              <a:gd name="connsiteX107" fmla="*/ 8038538 w 8636594"/>
              <a:gd name="connsiteY107" fmla="*/ 577189 h 6394316"/>
              <a:gd name="connsiteX108" fmla="*/ 8071421 w 8636594"/>
              <a:gd name="connsiteY108" fmla="*/ 540507 h 6394316"/>
              <a:gd name="connsiteX109" fmla="*/ 8104563 w 8636594"/>
              <a:gd name="connsiteY109" fmla="*/ 504132 h 6394316"/>
              <a:gd name="connsiteX110" fmla="*/ 8137967 w 8636594"/>
              <a:gd name="connsiteY110" fmla="*/ 468072 h 6394316"/>
              <a:gd name="connsiteX111" fmla="*/ 8171641 w 8636594"/>
              <a:gd name="connsiteY111" fmla="*/ 432332 h 6394316"/>
              <a:gd name="connsiteX112" fmla="*/ 8205590 w 8636594"/>
              <a:gd name="connsiteY112" fmla="*/ 396920 h 6394316"/>
              <a:gd name="connsiteX113" fmla="*/ 8239820 w 8636594"/>
              <a:gd name="connsiteY113" fmla="*/ 361843 h 6394316"/>
              <a:gd name="connsiteX114" fmla="*/ 8274337 w 8636594"/>
              <a:gd name="connsiteY114" fmla="*/ 327107 h 6394316"/>
              <a:gd name="connsiteX115" fmla="*/ 8309147 w 8636594"/>
              <a:gd name="connsiteY115" fmla="*/ 292718 h 6394316"/>
              <a:gd name="connsiteX116" fmla="*/ 8344256 w 8636594"/>
              <a:gd name="connsiteY116" fmla="*/ 258685 h 6394316"/>
              <a:gd name="connsiteX117" fmla="*/ 8379669 w 8636594"/>
              <a:gd name="connsiteY117" fmla="*/ 225013 h 6394316"/>
              <a:gd name="connsiteX118" fmla="*/ 8415394 w 8636594"/>
              <a:gd name="connsiteY118" fmla="*/ 191709 h 6394316"/>
              <a:gd name="connsiteX119" fmla="*/ 8451434 w 8636594"/>
              <a:gd name="connsiteY119" fmla="*/ 158780 h 6394316"/>
              <a:gd name="connsiteX120" fmla="*/ 8487798 w 8636594"/>
              <a:gd name="connsiteY120" fmla="*/ 126233 h 6394316"/>
              <a:gd name="connsiteX121" fmla="*/ 8524489 w 8636594"/>
              <a:gd name="connsiteY121" fmla="*/ 94075 h 6394316"/>
              <a:gd name="connsiteX122" fmla="*/ 8561515 w 8636594"/>
              <a:gd name="connsiteY122" fmla="*/ 62312 h 6394316"/>
              <a:gd name="connsiteX123" fmla="*/ 8598881 w 8636594"/>
              <a:gd name="connsiteY123" fmla="*/ 30951 h 6394316"/>
              <a:gd name="connsiteX124" fmla="*/ 8636594 w 8636594"/>
              <a:gd name="connsiteY124" fmla="*/ 0 h 6394316"/>
              <a:gd name="connsiteX0" fmla="*/ 8636594 w 8636594"/>
              <a:gd name="connsiteY0" fmla="*/ 0 h 6377243"/>
              <a:gd name="connsiteX1" fmla="*/ 5293 w 8636594"/>
              <a:gd name="connsiteY1" fmla="*/ 0 h 6377243"/>
              <a:gd name="connsiteX2" fmla="*/ 0 w 8636594"/>
              <a:gd name="connsiteY2" fmla="*/ 5587843 h 6377243"/>
              <a:gd name="connsiteX3" fmla="*/ 1594033 w 8636594"/>
              <a:gd name="connsiteY3" fmla="*/ 5600057 h 6377243"/>
              <a:gd name="connsiteX4" fmla="*/ 1686068 w 8636594"/>
              <a:gd name="connsiteY4" fmla="*/ 5599745 h 6377243"/>
              <a:gd name="connsiteX5" fmla="*/ 3047052 w 8636594"/>
              <a:gd name="connsiteY5" fmla="*/ 6377243 h 6377243"/>
              <a:gd name="connsiteX6" fmla="*/ 3095759 w 8636594"/>
              <a:gd name="connsiteY6" fmla="*/ 6359791 h 6377243"/>
              <a:gd name="connsiteX7" fmla="*/ 3143903 w 8636594"/>
              <a:gd name="connsiteY7" fmla="*/ 6341961 h 6377243"/>
              <a:gd name="connsiteX8" fmla="*/ 3191491 w 8636594"/>
              <a:gd name="connsiteY8" fmla="*/ 6323757 h 6377243"/>
              <a:gd name="connsiteX9" fmla="*/ 3238528 w 8636594"/>
              <a:gd name="connsiteY9" fmla="*/ 6305184 h 6377243"/>
              <a:gd name="connsiteX10" fmla="*/ 3285021 w 8636594"/>
              <a:gd name="connsiteY10" fmla="*/ 6286245 h 6377243"/>
              <a:gd name="connsiteX11" fmla="*/ 3330977 w 8636594"/>
              <a:gd name="connsiteY11" fmla="*/ 6266942 h 6377243"/>
              <a:gd name="connsiteX12" fmla="*/ 3376401 w 8636594"/>
              <a:gd name="connsiteY12" fmla="*/ 6247281 h 6377243"/>
              <a:gd name="connsiteX13" fmla="*/ 3421300 w 8636594"/>
              <a:gd name="connsiteY13" fmla="*/ 6227263 h 6377243"/>
              <a:gd name="connsiteX14" fmla="*/ 3465680 w 8636594"/>
              <a:gd name="connsiteY14" fmla="*/ 6206893 h 6377243"/>
              <a:gd name="connsiteX15" fmla="*/ 3509548 w 8636594"/>
              <a:gd name="connsiteY15" fmla="*/ 6186174 h 6377243"/>
              <a:gd name="connsiteX16" fmla="*/ 3552910 w 8636594"/>
              <a:gd name="connsiteY16" fmla="*/ 6165110 h 6377243"/>
              <a:gd name="connsiteX17" fmla="*/ 3595773 w 8636594"/>
              <a:gd name="connsiteY17" fmla="*/ 6143704 h 6377243"/>
              <a:gd name="connsiteX18" fmla="*/ 3638142 w 8636594"/>
              <a:gd name="connsiteY18" fmla="*/ 6121960 h 6377243"/>
              <a:gd name="connsiteX19" fmla="*/ 3680024 w 8636594"/>
              <a:gd name="connsiteY19" fmla="*/ 6099881 h 6377243"/>
              <a:gd name="connsiteX20" fmla="*/ 3721426 w 8636594"/>
              <a:gd name="connsiteY20" fmla="*/ 6077471 h 6377243"/>
              <a:gd name="connsiteX21" fmla="*/ 3762353 w 8636594"/>
              <a:gd name="connsiteY21" fmla="*/ 6054733 h 6377243"/>
              <a:gd name="connsiteX22" fmla="*/ 3802812 w 8636594"/>
              <a:gd name="connsiteY22" fmla="*/ 6031671 h 6377243"/>
              <a:gd name="connsiteX23" fmla="*/ 3842810 w 8636594"/>
              <a:gd name="connsiteY23" fmla="*/ 6008288 h 6377243"/>
              <a:gd name="connsiteX24" fmla="*/ 3882352 w 8636594"/>
              <a:gd name="connsiteY24" fmla="*/ 5984588 h 6377243"/>
              <a:gd name="connsiteX25" fmla="*/ 3921445 w 8636594"/>
              <a:gd name="connsiteY25" fmla="*/ 5960574 h 6377243"/>
              <a:gd name="connsiteX26" fmla="*/ 3960096 w 8636594"/>
              <a:gd name="connsiteY26" fmla="*/ 5936250 h 6377243"/>
              <a:gd name="connsiteX27" fmla="*/ 3998311 w 8636594"/>
              <a:gd name="connsiteY27" fmla="*/ 5911619 h 6377243"/>
              <a:gd name="connsiteX28" fmla="*/ 4036095 w 8636594"/>
              <a:gd name="connsiteY28" fmla="*/ 5886685 h 6377243"/>
              <a:gd name="connsiteX29" fmla="*/ 4073456 w 8636594"/>
              <a:gd name="connsiteY29" fmla="*/ 5861452 h 6377243"/>
              <a:gd name="connsiteX30" fmla="*/ 4110400 w 8636594"/>
              <a:gd name="connsiteY30" fmla="*/ 5835922 h 6377243"/>
              <a:gd name="connsiteX31" fmla="*/ 4146933 w 8636594"/>
              <a:gd name="connsiteY31" fmla="*/ 5810100 h 6377243"/>
              <a:gd name="connsiteX32" fmla="*/ 4183061 w 8636594"/>
              <a:gd name="connsiteY32" fmla="*/ 5783988 h 6377243"/>
              <a:gd name="connsiteX33" fmla="*/ 4218791 w 8636594"/>
              <a:gd name="connsiteY33" fmla="*/ 5757591 h 6377243"/>
              <a:gd name="connsiteX34" fmla="*/ 4254129 w 8636594"/>
              <a:gd name="connsiteY34" fmla="*/ 5730912 h 6377243"/>
              <a:gd name="connsiteX35" fmla="*/ 4289081 w 8636594"/>
              <a:gd name="connsiteY35" fmla="*/ 5703955 h 6377243"/>
              <a:gd name="connsiteX36" fmla="*/ 4323654 w 8636594"/>
              <a:gd name="connsiteY36" fmla="*/ 5676722 h 6377243"/>
              <a:gd name="connsiteX37" fmla="*/ 4357854 w 8636594"/>
              <a:gd name="connsiteY37" fmla="*/ 5649218 h 6377243"/>
              <a:gd name="connsiteX38" fmla="*/ 4391688 w 8636594"/>
              <a:gd name="connsiteY38" fmla="*/ 5621446 h 6377243"/>
              <a:gd name="connsiteX39" fmla="*/ 4425162 w 8636594"/>
              <a:gd name="connsiteY39" fmla="*/ 5593409 h 6377243"/>
              <a:gd name="connsiteX40" fmla="*/ 4458281 w 8636594"/>
              <a:gd name="connsiteY40" fmla="*/ 5565111 h 6377243"/>
              <a:gd name="connsiteX41" fmla="*/ 4491053 w 8636594"/>
              <a:gd name="connsiteY41" fmla="*/ 5536556 h 6377243"/>
              <a:gd name="connsiteX42" fmla="*/ 4523484 w 8636594"/>
              <a:gd name="connsiteY42" fmla="*/ 5507747 h 6377243"/>
              <a:gd name="connsiteX43" fmla="*/ 4555580 w 8636594"/>
              <a:gd name="connsiteY43" fmla="*/ 5478687 h 6377243"/>
              <a:gd name="connsiteX44" fmla="*/ 4587347 w 8636594"/>
              <a:gd name="connsiteY44" fmla="*/ 5449380 h 6377243"/>
              <a:gd name="connsiteX45" fmla="*/ 4618793 w 8636594"/>
              <a:gd name="connsiteY45" fmla="*/ 5419830 h 6377243"/>
              <a:gd name="connsiteX46" fmla="*/ 4649922 w 8636594"/>
              <a:gd name="connsiteY46" fmla="*/ 5390040 h 6377243"/>
              <a:gd name="connsiteX47" fmla="*/ 4680742 w 8636594"/>
              <a:gd name="connsiteY47" fmla="*/ 5360014 h 6377243"/>
              <a:gd name="connsiteX48" fmla="*/ 4711259 w 8636594"/>
              <a:gd name="connsiteY48" fmla="*/ 5329755 h 6377243"/>
              <a:gd name="connsiteX49" fmla="*/ 4741478 w 8636594"/>
              <a:gd name="connsiteY49" fmla="*/ 5299266 h 6377243"/>
              <a:gd name="connsiteX50" fmla="*/ 4771408 w 8636594"/>
              <a:gd name="connsiteY50" fmla="*/ 5268551 h 6377243"/>
              <a:gd name="connsiteX51" fmla="*/ 4801053 w 8636594"/>
              <a:gd name="connsiteY51" fmla="*/ 5237614 h 6377243"/>
              <a:gd name="connsiteX52" fmla="*/ 4830420 w 8636594"/>
              <a:gd name="connsiteY52" fmla="*/ 5206458 h 6377243"/>
              <a:gd name="connsiteX53" fmla="*/ 4859516 w 8636594"/>
              <a:gd name="connsiteY53" fmla="*/ 5175087 h 6377243"/>
              <a:gd name="connsiteX54" fmla="*/ 4888347 w 8636594"/>
              <a:gd name="connsiteY54" fmla="*/ 5143504 h 6377243"/>
              <a:gd name="connsiteX55" fmla="*/ 4916919 w 8636594"/>
              <a:gd name="connsiteY55" fmla="*/ 5111713 h 6377243"/>
              <a:gd name="connsiteX56" fmla="*/ 4945238 w 8636594"/>
              <a:gd name="connsiteY56" fmla="*/ 5079717 h 6377243"/>
              <a:gd name="connsiteX57" fmla="*/ 4973311 w 8636594"/>
              <a:gd name="connsiteY57" fmla="*/ 5047519 h 6377243"/>
              <a:gd name="connsiteX58" fmla="*/ 5001145 w 8636594"/>
              <a:gd name="connsiteY58" fmla="*/ 5015124 h 6377243"/>
              <a:gd name="connsiteX59" fmla="*/ 5028745 w 8636594"/>
              <a:gd name="connsiteY59" fmla="*/ 4982535 h 6377243"/>
              <a:gd name="connsiteX60" fmla="*/ 5056117 w 8636594"/>
              <a:gd name="connsiteY60" fmla="*/ 4949755 h 6377243"/>
              <a:gd name="connsiteX61" fmla="*/ 5083269 w 8636594"/>
              <a:gd name="connsiteY61" fmla="*/ 4916787 h 6377243"/>
              <a:gd name="connsiteX62" fmla="*/ 5110207 w 8636594"/>
              <a:gd name="connsiteY62" fmla="*/ 4883636 h 6377243"/>
              <a:gd name="connsiteX63" fmla="*/ 5136937 w 8636594"/>
              <a:gd name="connsiteY63" fmla="*/ 4850305 h 6377243"/>
              <a:gd name="connsiteX64" fmla="*/ 5163464 w 8636594"/>
              <a:gd name="connsiteY64" fmla="*/ 4816797 h 6377243"/>
              <a:gd name="connsiteX65" fmla="*/ 5215940 w 8636594"/>
              <a:gd name="connsiteY65" fmla="*/ 4749265 h 6377243"/>
              <a:gd name="connsiteX66" fmla="*/ 5267684 w 8636594"/>
              <a:gd name="connsiteY66" fmla="*/ 4681068 h 6377243"/>
              <a:gd name="connsiteX67" fmla="*/ 5318748 w 8636594"/>
              <a:gd name="connsiteY67" fmla="*/ 4612234 h 6377243"/>
              <a:gd name="connsiteX68" fmla="*/ 5369182 w 8636594"/>
              <a:gd name="connsiteY68" fmla="*/ 4542793 h 6377243"/>
              <a:gd name="connsiteX69" fmla="*/ 5419038 w 8636594"/>
              <a:gd name="connsiteY69" fmla="*/ 4472771 h 6377243"/>
              <a:gd name="connsiteX70" fmla="*/ 5468365 w 8636594"/>
              <a:gd name="connsiteY70" fmla="*/ 4402196 h 6377243"/>
              <a:gd name="connsiteX71" fmla="*/ 5517215 w 8636594"/>
              <a:gd name="connsiteY71" fmla="*/ 4331098 h 6377243"/>
              <a:gd name="connsiteX72" fmla="*/ 5565637 w 8636594"/>
              <a:gd name="connsiteY72" fmla="*/ 4259503 h 6377243"/>
              <a:gd name="connsiteX73" fmla="*/ 5613684 w 8636594"/>
              <a:gd name="connsiteY73" fmla="*/ 4187441 h 6377243"/>
              <a:gd name="connsiteX74" fmla="*/ 5685160 w 8636594"/>
              <a:gd name="connsiteY74" fmla="*/ 4078531 h 6377243"/>
              <a:gd name="connsiteX75" fmla="*/ 5756074 w 8636594"/>
              <a:gd name="connsiteY75" fmla="*/ 3968727 h 6377243"/>
              <a:gd name="connsiteX76" fmla="*/ 5873483 w 8636594"/>
              <a:gd name="connsiteY76" fmla="*/ 3783989 h 6377243"/>
              <a:gd name="connsiteX77" fmla="*/ 6203209 w 8636594"/>
              <a:gd name="connsiteY77" fmla="*/ 3258640 h 6377243"/>
              <a:gd name="connsiteX78" fmla="*/ 6299430 w 8636594"/>
              <a:gd name="connsiteY78" fmla="*/ 3107321 h 6377243"/>
              <a:gd name="connsiteX79" fmla="*/ 6372650 w 8636594"/>
              <a:gd name="connsiteY79" fmla="*/ 2993735 h 6377243"/>
              <a:gd name="connsiteX80" fmla="*/ 6453197 w 8636594"/>
              <a:gd name="connsiteY80" fmla="*/ 2869788 h 6377243"/>
              <a:gd name="connsiteX81" fmla="*/ 6564167 w 8636594"/>
              <a:gd name="connsiteY81" fmla="*/ 2696807 h 6377243"/>
              <a:gd name="connsiteX82" fmla="*/ 6976233 w 8636594"/>
              <a:gd name="connsiteY82" fmla="*/ 2045274 h 6377243"/>
              <a:gd name="connsiteX83" fmla="*/ 7086755 w 8636594"/>
              <a:gd name="connsiteY83" fmla="*/ 1872743 h 6377243"/>
              <a:gd name="connsiteX84" fmla="*/ 7170279 w 8636594"/>
              <a:gd name="connsiteY84" fmla="*/ 1744202 h 6377243"/>
              <a:gd name="connsiteX85" fmla="*/ 7226351 w 8636594"/>
              <a:gd name="connsiteY85" fmla="*/ 1659017 h 6377243"/>
              <a:gd name="connsiteX86" fmla="*/ 7282789 w 8636594"/>
              <a:gd name="connsiteY86" fmla="*/ 1574303 h 6377243"/>
              <a:gd name="connsiteX87" fmla="*/ 7339643 w 8636594"/>
              <a:gd name="connsiteY87" fmla="*/ 1490113 h 6377243"/>
              <a:gd name="connsiteX88" fmla="*/ 7396957 w 8636594"/>
              <a:gd name="connsiteY88" fmla="*/ 1406503 h 6377243"/>
              <a:gd name="connsiteX89" fmla="*/ 7454781 w 8636594"/>
              <a:gd name="connsiteY89" fmla="*/ 1323526 h 6377243"/>
              <a:gd name="connsiteX90" fmla="*/ 7513161 w 8636594"/>
              <a:gd name="connsiteY90" fmla="*/ 1241237 h 6377243"/>
              <a:gd name="connsiteX91" fmla="*/ 7572144 w 8636594"/>
              <a:gd name="connsiteY91" fmla="*/ 1159689 h 6377243"/>
              <a:gd name="connsiteX92" fmla="*/ 7601877 w 8636594"/>
              <a:gd name="connsiteY92" fmla="*/ 1119210 h 6377243"/>
              <a:gd name="connsiteX93" fmla="*/ 7631779 w 8636594"/>
              <a:gd name="connsiteY93" fmla="*/ 1078937 h 6377243"/>
              <a:gd name="connsiteX94" fmla="*/ 7661855 w 8636594"/>
              <a:gd name="connsiteY94" fmla="*/ 1038876 h 6377243"/>
              <a:gd name="connsiteX95" fmla="*/ 7692111 w 8636594"/>
              <a:gd name="connsiteY95" fmla="*/ 999035 h 6377243"/>
              <a:gd name="connsiteX96" fmla="*/ 7722554 w 8636594"/>
              <a:gd name="connsiteY96" fmla="*/ 959419 h 6377243"/>
              <a:gd name="connsiteX97" fmla="*/ 7753190 w 8636594"/>
              <a:gd name="connsiteY97" fmla="*/ 920037 h 6377243"/>
              <a:gd name="connsiteX98" fmla="*/ 7784023 w 8636594"/>
              <a:gd name="connsiteY98" fmla="*/ 880894 h 6377243"/>
              <a:gd name="connsiteX99" fmla="*/ 7815061 w 8636594"/>
              <a:gd name="connsiteY99" fmla="*/ 841997 h 6377243"/>
              <a:gd name="connsiteX100" fmla="*/ 7846308 w 8636594"/>
              <a:gd name="connsiteY100" fmla="*/ 803354 h 6377243"/>
              <a:gd name="connsiteX101" fmla="*/ 7877772 w 8636594"/>
              <a:gd name="connsiteY101" fmla="*/ 764970 h 6377243"/>
              <a:gd name="connsiteX102" fmla="*/ 7909458 w 8636594"/>
              <a:gd name="connsiteY102" fmla="*/ 726853 h 6377243"/>
              <a:gd name="connsiteX103" fmla="*/ 7941371 w 8636594"/>
              <a:gd name="connsiteY103" fmla="*/ 689010 h 6377243"/>
              <a:gd name="connsiteX104" fmla="*/ 7973518 w 8636594"/>
              <a:gd name="connsiteY104" fmla="*/ 651447 h 6377243"/>
              <a:gd name="connsiteX105" fmla="*/ 8005905 w 8636594"/>
              <a:gd name="connsiteY105" fmla="*/ 614171 h 6377243"/>
              <a:gd name="connsiteX106" fmla="*/ 8038538 w 8636594"/>
              <a:gd name="connsiteY106" fmla="*/ 577189 h 6377243"/>
              <a:gd name="connsiteX107" fmla="*/ 8071421 w 8636594"/>
              <a:gd name="connsiteY107" fmla="*/ 540507 h 6377243"/>
              <a:gd name="connsiteX108" fmla="*/ 8104563 w 8636594"/>
              <a:gd name="connsiteY108" fmla="*/ 504132 h 6377243"/>
              <a:gd name="connsiteX109" fmla="*/ 8137967 w 8636594"/>
              <a:gd name="connsiteY109" fmla="*/ 468072 h 6377243"/>
              <a:gd name="connsiteX110" fmla="*/ 8171641 w 8636594"/>
              <a:gd name="connsiteY110" fmla="*/ 432332 h 6377243"/>
              <a:gd name="connsiteX111" fmla="*/ 8205590 w 8636594"/>
              <a:gd name="connsiteY111" fmla="*/ 396920 h 6377243"/>
              <a:gd name="connsiteX112" fmla="*/ 8239820 w 8636594"/>
              <a:gd name="connsiteY112" fmla="*/ 361843 h 6377243"/>
              <a:gd name="connsiteX113" fmla="*/ 8274337 w 8636594"/>
              <a:gd name="connsiteY113" fmla="*/ 327107 h 6377243"/>
              <a:gd name="connsiteX114" fmla="*/ 8309147 w 8636594"/>
              <a:gd name="connsiteY114" fmla="*/ 292718 h 6377243"/>
              <a:gd name="connsiteX115" fmla="*/ 8344256 w 8636594"/>
              <a:gd name="connsiteY115" fmla="*/ 258685 h 6377243"/>
              <a:gd name="connsiteX116" fmla="*/ 8379669 w 8636594"/>
              <a:gd name="connsiteY116" fmla="*/ 225013 h 6377243"/>
              <a:gd name="connsiteX117" fmla="*/ 8415394 w 8636594"/>
              <a:gd name="connsiteY117" fmla="*/ 191709 h 6377243"/>
              <a:gd name="connsiteX118" fmla="*/ 8451434 w 8636594"/>
              <a:gd name="connsiteY118" fmla="*/ 158780 h 6377243"/>
              <a:gd name="connsiteX119" fmla="*/ 8487798 w 8636594"/>
              <a:gd name="connsiteY119" fmla="*/ 126233 h 6377243"/>
              <a:gd name="connsiteX120" fmla="*/ 8524489 w 8636594"/>
              <a:gd name="connsiteY120" fmla="*/ 94075 h 6377243"/>
              <a:gd name="connsiteX121" fmla="*/ 8561515 w 8636594"/>
              <a:gd name="connsiteY121" fmla="*/ 62312 h 6377243"/>
              <a:gd name="connsiteX122" fmla="*/ 8598881 w 8636594"/>
              <a:gd name="connsiteY122" fmla="*/ 30951 h 6377243"/>
              <a:gd name="connsiteX123" fmla="*/ 8636594 w 8636594"/>
              <a:gd name="connsiteY123" fmla="*/ 0 h 6377243"/>
              <a:gd name="connsiteX0" fmla="*/ 8636594 w 8636594"/>
              <a:gd name="connsiteY0" fmla="*/ 0 h 6359791"/>
              <a:gd name="connsiteX1" fmla="*/ 5293 w 8636594"/>
              <a:gd name="connsiteY1" fmla="*/ 0 h 6359791"/>
              <a:gd name="connsiteX2" fmla="*/ 0 w 8636594"/>
              <a:gd name="connsiteY2" fmla="*/ 5587843 h 6359791"/>
              <a:gd name="connsiteX3" fmla="*/ 1594033 w 8636594"/>
              <a:gd name="connsiteY3" fmla="*/ 5600057 h 6359791"/>
              <a:gd name="connsiteX4" fmla="*/ 1686068 w 8636594"/>
              <a:gd name="connsiteY4" fmla="*/ 5599745 h 6359791"/>
              <a:gd name="connsiteX5" fmla="*/ 3095759 w 8636594"/>
              <a:gd name="connsiteY5" fmla="*/ 6359791 h 6359791"/>
              <a:gd name="connsiteX6" fmla="*/ 3143903 w 8636594"/>
              <a:gd name="connsiteY6" fmla="*/ 6341961 h 6359791"/>
              <a:gd name="connsiteX7" fmla="*/ 3191491 w 8636594"/>
              <a:gd name="connsiteY7" fmla="*/ 6323757 h 6359791"/>
              <a:gd name="connsiteX8" fmla="*/ 3238528 w 8636594"/>
              <a:gd name="connsiteY8" fmla="*/ 6305184 h 6359791"/>
              <a:gd name="connsiteX9" fmla="*/ 3285021 w 8636594"/>
              <a:gd name="connsiteY9" fmla="*/ 6286245 h 6359791"/>
              <a:gd name="connsiteX10" fmla="*/ 3330977 w 8636594"/>
              <a:gd name="connsiteY10" fmla="*/ 6266942 h 6359791"/>
              <a:gd name="connsiteX11" fmla="*/ 3376401 w 8636594"/>
              <a:gd name="connsiteY11" fmla="*/ 6247281 h 6359791"/>
              <a:gd name="connsiteX12" fmla="*/ 3421300 w 8636594"/>
              <a:gd name="connsiteY12" fmla="*/ 6227263 h 6359791"/>
              <a:gd name="connsiteX13" fmla="*/ 3465680 w 8636594"/>
              <a:gd name="connsiteY13" fmla="*/ 6206893 h 6359791"/>
              <a:gd name="connsiteX14" fmla="*/ 3509548 w 8636594"/>
              <a:gd name="connsiteY14" fmla="*/ 6186174 h 6359791"/>
              <a:gd name="connsiteX15" fmla="*/ 3552910 w 8636594"/>
              <a:gd name="connsiteY15" fmla="*/ 6165110 h 6359791"/>
              <a:gd name="connsiteX16" fmla="*/ 3595773 w 8636594"/>
              <a:gd name="connsiteY16" fmla="*/ 6143704 h 6359791"/>
              <a:gd name="connsiteX17" fmla="*/ 3638142 w 8636594"/>
              <a:gd name="connsiteY17" fmla="*/ 6121960 h 6359791"/>
              <a:gd name="connsiteX18" fmla="*/ 3680024 w 8636594"/>
              <a:gd name="connsiteY18" fmla="*/ 6099881 h 6359791"/>
              <a:gd name="connsiteX19" fmla="*/ 3721426 w 8636594"/>
              <a:gd name="connsiteY19" fmla="*/ 6077471 h 6359791"/>
              <a:gd name="connsiteX20" fmla="*/ 3762353 w 8636594"/>
              <a:gd name="connsiteY20" fmla="*/ 6054733 h 6359791"/>
              <a:gd name="connsiteX21" fmla="*/ 3802812 w 8636594"/>
              <a:gd name="connsiteY21" fmla="*/ 6031671 h 6359791"/>
              <a:gd name="connsiteX22" fmla="*/ 3842810 w 8636594"/>
              <a:gd name="connsiteY22" fmla="*/ 6008288 h 6359791"/>
              <a:gd name="connsiteX23" fmla="*/ 3882352 w 8636594"/>
              <a:gd name="connsiteY23" fmla="*/ 5984588 h 6359791"/>
              <a:gd name="connsiteX24" fmla="*/ 3921445 w 8636594"/>
              <a:gd name="connsiteY24" fmla="*/ 5960574 h 6359791"/>
              <a:gd name="connsiteX25" fmla="*/ 3960096 w 8636594"/>
              <a:gd name="connsiteY25" fmla="*/ 5936250 h 6359791"/>
              <a:gd name="connsiteX26" fmla="*/ 3998311 w 8636594"/>
              <a:gd name="connsiteY26" fmla="*/ 5911619 h 6359791"/>
              <a:gd name="connsiteX27" fmla="*/ 4036095 w 8636594"/>
              <a:gd name="connsiteY27" fmla="*/ 5886685 h 6359791"/>
              <a:gd name="connsiteX28" fmla="*/ 4073456 w 8636594"/>
              <a:gd name="connsiteY28" fmla="*/ 5861452 h 6359791"/>
              <a:gd name="connsiteX29" fmla="*/ 4110400 w 8636594"/>
              <a:gd name="connsiteY29" fmla="*/ 5835922 h 6359791"/>
              <a:gd name="connsiteX30" fmla="*/ 4146933 w 8636594"/>
              <a:gd name="connsiteY30" fmla="*/ 5810100 h 6359791"/>
              <a:gd name="connsiteX31" fmla="*/ 4183061 w 8636594"/>
              <a:gd name="connsiteY31" fmla="*/ 5783988 h 6359791"/>
              <a:gd name="connsiteX32" fmla="*/ 4218791 w 8636594"/>
              <a:gd name="connsiteY32" fmla="*/ 5757591 h 6359791"/>
              <a:gd name="connsiteX33" fmla="*/ 4254129 w 8636594"/>
              <a:gd name="connsiteY33" fmla="*/ 5730912 h 6359791"/>
              <a:gd name="connsiteX34" fmla="*/ 4289081 w 8636594"/>
              <a:gd name="connsiteY34" fmla="*/ 5703955 h 6359791"/>
              <a:gd name="connsiteX35" fmla="*/ 4323654 w 8636594"/>
              <a:gd name="connsiteY35" fmla="*/ 5676722 h 6359791"/>
              <a:gd name="connsiteX36" fmla="*/ 4357854 w 8636594"/>
              <a:gd name="connsiteY36" fmla="*/ 5649218 h 6359791"/>
              <a:gd name="connsiteX37" fmla="*/ 4391688 w 8636594"/>
              <a:gd name="connsiteY37" fmla="*/ 5621446 h 6359791"/>
              <a:gd name="connsiteX38" fmla="*/ 4425162 w 8636594"/>
              <a:gd name="connsiteY38" fmla="*/ 5593409 h 6359791"/>
              <a:gd name="connsiteX39" fmla="*/ 4458281 w 8636594"/>
              <a:gd name="connsiteY39" fmla="*/ 5565111 h 6359791"/>
              <a:gd name="connsiteX40" fmla="*/ 4491053 w 8636594"/>
              <a:gd name="connsiteY40" fmla="*/ 5536556 h 6359791"/>
              <a:gd name="connsiteX41" fmla="*/ 4523484 w 8636594"/>
              <a:gd name="connsiteY41" fmla="*/ 5507747 h 6359791"/>
              <a:gd name="connsiteX42" fmla="*/ 4555580 w 8636594"/>
              <a:gd name="connsiteY42" fmla="*/ 5478687 h 6359791"/>
              <a:gd name="connsiteX43" fmla="*/ 4587347 w 8636594"/>
              <a:gd name="connsiteY43" fmla="*/ 5449380 h 6359791"/>
              <a:gd name="connsiteX44" fmla="*/ 4618793 w 8636594"/>
              <a:gd name="connsiteY44" fmla="*/ 5419830 h 6359791"/>
              <a:gd name="connsiteX45" fmla="*/ 4649922 w 8636594"/>
              <a:gd name="connsiteY45" fmla="*/ 5390040 h 6359791"/>
              <a:gd name="connsiteX46" fmla="*/ 4680742 w 8636594"/>
              <a:gd name="connsiteY46" fmla="*/ 5360014 h 6359791"/>
              <a:gd name="connsiteX47" fmla="*/ 4711259 w 8636594"/>
              <a:gd name="connsiteY47" fmla="*/ 5329755 h 6359791"/>
              <a:gd name="connsiteX48" fmla="*/ 4741478 w 8636594"/>
              <a:gd name="connsiteY48" fmla="*/ 5299266 h 6359791"/>
              <a:gd name="connsiteX49" fmla="*/ 4771408 w 8636594"/>
              <a:gd name="connsiteY49" fmla="*/ 5268551 h 6359791"/>
              <a:gd name="connsiteX50" fmla="*/ 4801053 w 8636594"/>
              <a:gd name="connsiteY50" fmla="*/ 5237614 h 6359791"/>
              <a:gd name="connsiteX51" fmla="*/ 4830420 w 8636594"/>
              <a:gd name="connsiteY51" fmla="*/ 5206458 h 6359791"/>
              <a:gd name="connsiteX52" fmla="*/ 4859516 w 8636594"/>
              <a:gd name="connsiteY52" fmla="*/ 5175087 h 6359791"/>
              <a:gd name="connsiteX53" fmla="*/ 4888347 w 8636594"/>
              <a:gd name="connsiteY53" fmla="*/ 5143504 h 6359791"/>
              <a:gd name="connsiteX54" fmla="*/ 4916919 w 8636594"/>
              <a:gd name="connsiteY54" fmla="*/ 5111713 h 6359791"/>
              <a:gd name="connsiteX55" fmla="*/ 4945238 w 8636594"/>
              <a:gd name="connsiteY55" fmla="*/ 5079717 h 6359791"/>
              <a:gd name="connsiteX56" fmla="*/ 4973311 w 8636594"/>
              <a:gd name="connsiteY56" fmla="*/ 5047519 h 6359791"/>
              <a:gd name="connsiteX57" fmla="*/ 5001145 w 8636594"/>
              <a:gd name="connsiteY57" fmla="*/ 5015124 h 6359791"/>
              <a:gd name="connsiteX58" fmla="*/ 5028745 w 8636594"/>
              <a:gd name="connsiteY58" fmla="*/ 4982535 h 6359791"/>
              <a:gd name="connsiteX59" fmla="*/ 5056117 w 8636594"/>
              <a:gd name="connsiteY59" fmla="*/ 4949755 h 6359791"/>
              <a:gd name="connsiteX60" fmla="*/ 5083269 w 8636594"/>
              <a:gd name="connsiteY60" fmla="*/ 4916787 h 6359791"/>
              <a:gd name="connsiteX61" fmla="*/ 5110207 w 8636594"/>
              <a:gd name="connsiteY61" fmla="*/ 4883636 h 6359791"/>
              <a:gd name="connsiteX62" fmla="*/ 5136937 w 8636594"/>
              <a:gd name="connsiteY62" fmla="*/ 4850305 h 6359791"/>
              <a:gd name="connsiteX63" fmla="*/ 5163464 w 8636594"/>
              <a:gd name="connsiteY63" fmla="*/ 4816797 h 6359791"/>
              <a:gd name="connsiteX64" fmla="*/ 5215940 w 8636594"/>
              <a:gd name="connsiteY64" fmla="*/ 4749265 h 6359791"/>
              <a:gd name="connsiteX65" fmla="*/ 5267684 w 8636594"/>
              <a:gd name="connsiteY65" fmla="*/ 4681068 h 6359791"/>
              <a:gd name="connsiteX66" fmla="*/ 5318748 w 8636594"/>
              <a:gd name="connsiteY66" fmla="*/ 4612234 h 6359791"/>
              <a:gd name="connsiteX67" fmla="*/ 5369182 w 8636594"/>
              <a:gd name="connsiteY67" fmla="*/ 4542793 h 6359791"/>
              <a:gd name="connsiteX68" fmla="*/ 5419038 w 8636594"/>
              <a:gd name="connsiteY68" fmla="*/ 4472771 h 6359791"/>
              <a:gd name="connsiteX69" fmla="*/ 5468365 w 8636594"/>
              <a:gd name="connsiteY69" fmla="*/ 4402196 h 6359791"/>
              <a:gd name="connsiteX70" fmla="*/ 5517215 w 8636594"/>
              <a:gd name="connsiteY70" fmla="*/ 4331098 h 6359791"/>
              <a:gd name="connsiteX71" fmla="*/ 5565637 w 8636594"/>
              <a:gd name="connsiteY71" fmla="*/ 4259503 h 6359791"/>
              <a:gd name="connsiteX72" fmla="*/ 5613684 w 8636594"/>
              <a:gd name="connsiteY72" fmla="*/ 4187441 h 6359791"/>
              <a:gd name="connsiteX73" fmla="*/ 5685160 w 8636594"/>
              <a:gd name="connsiteY73" fmla="*/ 4078531 h 6359791"/>
              <a:gd name="connsiteX74" fmla="*/ 5756074 w 8636594"/>
              <a:gd name="connsiteY74" fmla="*/ 3968727 h 6359791"/>
              <a:gd name="connsiteX75" fmla="*/ 5873483 w 8636594"/>
              <a:gd name="connsiteY75" fmla="*/ 3783989 h 6359791"/>
              <a:gd name="connsiteX76" fmla="*/ 6203209 w 8636594"/>
              <a:gd name="connsiteY76" fmla="*/ 3258640 h 6359791"/>
              <a:gd name="connsiteX77" fmla="*/ 6299430 w 8636594"/>
              <a:gd name="connsiteY77" fmla="*/ 3107321 h 6359791"/>
              <a:gd name="connsiteX78" fmla="*/ 6372650 w 8636594"/>
              <a:gd name="connsiteY78" fmla="*/ 2993735 h 6359791"/>
              <a:gd name="connsiteX79" fmla="*/ 6453197 w 8636594"/>
              <a:gd name="connsiteY79" fmla="*/ 2869788 h 6359791"/>
              <a:gd name="connsiteX80" fmla="*/ 6564167 w 8636594"/>
              <a:gd name="connsiteY80" fmla="*/ 2696807 h 6359791"/>
              <a:gd name="connsiteX81" fmla="*/ 6976233 w 8636594"/>
              <a:gd name="connsiteY81" fmla="*/ 2045274 h 6359791"/>
              <a:gd name="connsiteX82" fmla="*/ 7086755 w 8636594"/>
              <a:gd name="connsiteY82" fmla="*/ 1872743 h 6359791"/>
              <a:gd name="connsiteX83" fmla="*/ 7170279 w 8636594"/>
              <a:gd name="connsiteY83" fmla="*/ 1744202 h 6359791"/>
              <a:gd name="connsiteX84" fmla="*/ 7226351 w 8636594"/>
              <a:gd name="connsiteY84" fmla="*/ 1659017 h 6359791"/>
              <a:gd name="connsiteX85" fmla="*/ 7282789 w 8636594"/>
              <a:gd name="connsiteY85" fmla="*/ 1574303 h 6359791"/>
              <a:gd name="connsiteX86" fmla="*/ 7339643 w 8636594"/>
              <a:gd name="connsiteY86" fmla="*/ 1490113 h 6359791"/>
              <a:gd name="connsiteX87" fmla="*/ 7396957 w 8636594"/>
              <a:gd name="connsiteY87" fmla="*/ 1406503 h 6359791"/>
              <a:gd name="connsiteX88" fmla="*/ 7454781 w 8636594"/>
              <a:gd name="connsiteY88" fmla="*/ 1323526 h 6359791"/>
              <a:gd name="connsiteX89" fmla="*/ 7513161 w 8636594"/>
              <a:gd name="connsiteY89" fmla="*/ 1241237 h 6359791"/>
              <a:gd name="connsiteX90" fmla="*/ 7572144 w 8636594"/>
              <a:gd name="connsiteY90" fmla="*/ 1159689 h 6359791"/>
              <a:gd name="connsiteX91" fmla="*/ 7601877 w 8636594"/>
              <a:gd name="connsiteY91" fmla="*/ 1119210 h 6359791"/>
              <a:gd name="connsiteX92" fmla="*/ 7631779 w 8636594"/>
              <a:gd name="connsiteY92" fmla="*/ 1078937 h 6359791"/>
              <a:gd name="connsiteX93" fmla="*/ 7661855 w 8636594"/>
              <a:gd name="connsiteY93" fmla="*/ 1038876 h 6359791"/>
              <a:gd name="connsiteX94" fmla="*/ 7692111 w 8636594"/>
              <a:gd name="connsiteY94" fmla="*/ 999035 h 6359791"/>
              <a:gd name="connsiteX95" fmla="*/ 7722554 w 8636594"/>
              <a:gd name="connsiteY95" fmla="*/ 959419 h 6359791"/>
              <a:gd name="connsiteX96" fmla="*/ 7753190 w 8636594"/>
              <a:gd name="connsiteY96" fmla="*/ 920037 h 6359791"/>
              <a:gd name="connsiteX97" fmla="*/ 7784023 w 8636594"/>
              <a:gd name="connsiteY97" fmla="*/ 880894 h 6359791"/>
              <a:gd name="connsiteX98" fmla="*/ 7815061 w 8636594"/>
              <a:gd name="connsiteY98" fmla="*/ 841997 h 6359791"/>
              <a:gd name="connsiteX99" fmla="*/ 7846308 w 8636594"/>
              <a:gd name="connsiteY99" fmla="*/ 803354 h 6359791"/>
              <a:gd name="connsiteX100" fmla="*/ 7877772 w 8636594"/>
              <a:gd name="connsiteY100" fmla="*/ 764970 h 6359791"/>
              <a:gd name="connsiteX101" fmla="*/ 7909458 w 8636594"/>
              <a:gd name="connsiteY101" fmla="*/ 726853 h 6359791"/>
              <a:gd name="connsiteX102" fmla="*/ 7941371 w 8636594"/>
              <a:gd name="connsiteY102" fmla="*/ 689010 h 6359791"/>
              <a:gd name="connsiteX103" fmla="*/ 7973518 w 8636594"/>
              <a:gd name="connsiteY103" fmla="*/ 651447 h 6359791"/>
              <a:gd name="connsiteX104" fmla="*/ 8005905 w 8636594"/>
              <a:gd name="connsiteY104" fmla="*/ 614171 h 6359791"/>
              <a:gd name="connsiteX105" fmla="*/ 8038538 w 8636594"/>
              <a:gd name="connsiteY105" fmla="*/ 577189 h 6359791"/>
              <a:gd name="connsiteX106" fmla="*/ 8071421 w 8636594"/>
              <a:gd name="connsiteY106" fmla="*/ 540507 h 6359791"/>
              <a:gd name="connsiteX107" fmla="*/ 8104563 w 8636594"/>
              <a:gd name="connsiteY107" fmla="*/ 504132 h 6359791"/>
              <a:gd name="connsiteX108" fmla="*/ 8137967 w 8636594"/>
              <a:gd name="connsiteY108" fmla="*/ 468072 h 6359791"/>
              <a:gd name="connsiteX109" fmla="*/ 8171641 w 8636594"/>
              <a:gd name="connsiteY109" fmla="*/ 432332 h 6359791"/>
              <a:gd name="connsiteX110" fmla="*/ 8205590 w 8636594"/>
              <a:gd name="connsiteY110" fmla="*/ 396920 h 6359791"/>
              <a:gd name="connsiteX111" fmla="*/ 8239820 w 8636594"/>
              <a:gd name="connsiteY111" fmla="*/ 361843 h 6359791"/>
              <a:gd name="connsiteX112" fmla="*/ 8274337 w 8636594"/>
              <a:gd name="connsiteY112" fmla="*/ 327107 h 6359791"/>
              <a:gd name="connsiteX113" fmla="*/ 8309147 w 8636594"/>
              <a:gd name="connsiteY113" fmla="*/ 292718 h 6359791"/>
              <a:gd name="connsiteX114" fmla="*/ 8344256 w 8636594"/>
              <a:gd name="connsiteY114" fmla="*/ 258685 h 6359791"/>
              <a:gd name="connsiteX115" fmla="*/ 8379669 w 8636594"/>
              <a:gd name="connsiteY115" fmla="*/ 225013 h 6359791"/>
              <a:gd name="connsiteX116" fmla="*/ 8415394 w 8636594"/>
              <a:gd name="connsiteY116" fmla="*/ 191709 h 6359791"/>
              <a:gd name="connsiteX117" fmla="*/ 8451434 w 8636594"/>
              <a:gd name="connsiteY117" fmla="*/ 158780 h 6359791"/>
              <a:gd name="connsiteX118" fmla="*/ 8487798 w 8636594"/>
              <a:gd name="connsiteY118" fmla="*/ 126233 h 6359791"/>
              <a:gd name="connsiteX119" fmla="*/ 8524489 w 8636594"/>
              <a:gd name="connsiteY119" fmla="*/ 94075 h 6359791"/>
              <a:gd name="connsiteX120" fmla="*/ 8561515 w 8636594"/>
              <a:gd name="connsiteY120" fmla="*/ 62312 h 6359791"/>
              <a:gd name="connsiteX121" fmla="*/ 8598881 w 8636594"/>
              <a:gd name="connsiteY121" fmla="*/ 30951 h 6359791"/>
              <a:gd name="connsiteX122" fmla="*/ 8636594 w 8636594"/>
              <a:gd name="connsiteY122" fmla="*/ 0 h 6359791"/>
              <a:gd name="connsiteX0" fmla="*/ 8636594 w 8636594"/>
              <a:gd name="connsiteY0" fmla="*/ 0 h 6341961"/>
              <a:gd name="connsiteX1" fmla="*/ 5293 w 8636594"/>
              <a:gd name="connsiteY1" fmla="*/ 0 h 6341961"/>
              <a:gd name="connsiteX2" fmla="*/ 0 w 8636594"/>
              <a:gd name="connsiteY2" fmla="*/ 5587843 h 6341961"/>
              <a:gd name="connsiteX3" fmla="*/ 1594033 w 8636594"/>
              <a:gd name="connsiteY3" fmla="*/ 5600057 h 6341961"/>
              <a:gd name="connsiteX4" fmla="*/ 1686068 w 8636594"/>
              <a:gd name="connsiteY4" fmla="*/ 5599745 h 6341961"/>
              <a:gd name="connsiteX5" fmla="*/ 3143903 w 8636594"/>
              <a:gd name="connsiteY5" fmla="*/ 6341961 h 6341961"/>
              <a:gd name="connsiteX6" fmla="*/ 3191491 w 8636594"/>
              <a:gd name="connsiteY6" fmla="*/ 6323757 h 6341961"/>
              <a:gd name="connsiteX7" fmla="*/ 3238528 w 8636594"/>
              <a:gd name="connsiteY7" fmla="*/ 6305184 h 6341961"/>
              <a:gd name="connsiteX8" fmla="*/ 3285021 w 8636594"/>
              <a:gd name="connsiteY8" fmla="*/ 6286245 h 6341961"/>
              <a:gd name="connsiteX9" fmla="*/ 3330977 w 8636594"/>
              <a:gd name="connsiteY9" fmla="*/ 6266942 h 6341961"/>
              <a:gd name="connsiteX10" fmla="*/ 3376401 w 8636594"/>
              <a:gd name="connsiteY10" fmla="*/ 6247281 h 6341961"/>
              <a:gd name="connsiteX11" fmla="*/ 3421300 w 8636594"/>
              <a:gd name="connsiteY11" fmla="*/ 6227263 h 6341961"/>
              <a:gd name="connsiteX12" fmla="*/ 3465680 w 8636594"/>
              <a:gd name="connsiteY12" fmla="*/ 6206893 h 6341961"/>
              <a:gd name="connsiteX13" fmla="*/ 3509548 w 8636594"/>
              <a:gd name="connsiteY13" fmla="*/ 6186174 h 6341961"/>
              <a:gd name="connsiteX14" fmla="*/ 3552910 w 8636594"/>
              <a:gd name="connsiteY14" fmla="*/ 6165110 h 6341961"/>
              <a:gd name="connsiteX15" fmla="*/ 3595773 w 8636594"/>
              <a:gd name="connsiteY15" fmla="*/ 6143704 h 6341961"/>
              <a:gd name="connsiteX16" fmla="*/ 3638142 w 8636594"/>
              <a:gd name="connsiteY16" fmla="*/ 6121960 h 6341961"/>
              <a:gd name="connsiteX17" fmla="*/ 3680024 w 8636594"/>
              <a:gd name="connsiteY17" fmla="*/ 6099881 h 6341961"/>
              <a:gd name="connsiteX18" fmla="*/ 3721426 w 8636594"/>
              <a:gd name="connsiteY18" fmla="*/ 6077471 h 6341961"/>
              <a:gd name="connsiteX19" fmla="*/ 3762353 w 8636594"/>
              <a:gd name="connsiteY19" fmla="*/ 6054733 h 6341961"/>
              <a:gd name="connsiteX20" fmla="*/ 3802812 w 8636594"/>
              <a:gd name="connsiteY20" fmla="*/ 6031671 h 6341961"/>
              <a:gd name="connsiteX21" fmla="*/ 3842810 w 8636594"/>
              <a:gd name="connsiteY21" fmla="*/ 6008288 h 6341961"/>
              <a:gd name="connsiteX22" fmla="*/ 3882352 w 8636594"/>
              <a:gd name="connsiteY22" fmla="*/ 5984588 h 6341961"/>
              <a:gd name="connsiteX23" fmla="*/ 3921445 w 8636594"/>
              <a:gd name="connsiteY23" fmla="*/ 5960574 h 6341961"/>
              <a:gd name="connsiteX24" fmla="*/ 3960096 w 8636594"/>
              <a:gd name="connsiteY24" fmla="*/ 5936250 h 6341961"/>
              <a:gd name="connsiteX25" fmla="*/ 3998311 w 8636594"/>
              <a:gd name="connsiteY25" fmla="*/ 5911619 h 6341961"/>
              <a:gd name="connsiteX26" fmla="*/ 4036095 w 8636594"/>
              <a:gd name="connsiteY26" fmla="*/ 5886685 h 6341961"/>
              <a:gd name="connsiteX27" fmla="*/ 4073456 w 8636594"/>
              <a:gd name="connsiteY27" fmla="*/ 5861452 h 6341961"/>
              <a:gd name="connsiteX28" fmla="*/ 4110400 w 8636594"/>
              <a:gd name="connsiteY28" fmla="*/ 5835922 h 6341961"/>
              <a:gd name="connsiteX29" fmla="*/ 4146933 w 8636594"/>
              <a:gd name="connsiteY29" fmla="*/ 5810100 h 6341961"/>
              <a:gd name="connsiteX30" fmla="*/ 4183061 w 8636594"/>
              <a:gd name="connsiteY30" fmla="*/ 5783988 h 6341961"/>
              <a:gd name="connsiteX31" fmla="*/ 4218791 w 8636594"/>
              <a:gd name="connsiteY31" fmla="*/ 5757591 h 6341961"/>
              <a:gd name="connsiteX32" fmla="*/ 4254129 w 8636594"/>
              <a:gd name="connsiteY32" fmla="*/ 5730912 h 6341961"/>
              <a:gd name="connsiteX33" fmla="*/ 4289081 w 8636594"/>
              <a:gd name="connsiteY33" fmla="*/ 5703955 h 6341961"/>
              <a:gd name="connsiteX34" fmla="*/ 4323654 w 8636594"/>
              <a:gd name="connsiteY34" fmla="*/ 5676722 h 6341961"/>
              <a:gd name="connsiteX35" fmla="*/ 4357854 w 8636594"/>
              <a:gd name="connsiteY35" fmla="*/ 5649218 h 6341961"/>
              <a:gd name="connsiteX36" fmla="*/ 4391688 w 8636594"/>
              <a:gd name="connsiteY36" fmla="*/ 5621446 h 6341961"/>
              <a:gd name="connsiteX37" fmla="*/ 4425162 w 8636594"/>
              <a:gd name="connsiteY37" fmla="*/ 5593409 h 6341961"/>
              <a:gd name="connsiteX38" fmla="*/ 4458281 w 8636594"/>
              <a:gd name="connsiteY38" fmla="*/ 5565111 h 6341961"/>
              <a:gd name="connsiteX39" fmla="*/ 4491053 w 8636594"/>
              <a:gd name="connsiteY39" fmla="*/ 5536556 h 6341961"/>
              <a:gd name="connsiteX40" fmla="*/ 4523484 w 8636594"/>
              <a:gd name="connsiteY40" fmla="*/ 5507747 h 6341961"/>
              <a:gd name="connsiteX41" fmla="*/ 4555580 w 8636594"/>
              <a:gd name="connsiteY41" fmla="*/ 5478687 h 6341961"/>
              <a:gd name="connsiteX42" fmla="*/ 4587347 w 8636594"/>
              <a:gd name="connsiteY42" fmla="*/ 5449380 h 6341961"/>
              <a:gd name="connsiteX43" fmla="*/ 4618793 w 8636594"/>
              <a:gd name="connsiteY43" fmla="*/ 5419830 h 6341961"/>
              <a:gd name="connsiteX44" fmla="*/ 4649922 w 8636594"/>
              <a:gd name="connsiteY44" fmla="*/ 5390040 h 6341961"/>
              <a:gd name="connsiteX45" fmla="*/ 4680742 w 8636594"/>
              <a:gd name="connsiteY45" fmla="*/ 5360014 h 6341961"/>
              <a:gd name="connsiteX46" fmla="*/ 4711259 w 8636594"/>
              <a:gd name="connsiteY46" fmla="*/ 5329755 h 6341961"/>
              <a:gd name="connsiteX47" fmla="*/ 4741478 w 8636594"/>
              <a:gd name="connsiteY47" fmla="*/ 5299266 h 6341961"/>
              <a:gd name="connsiteX48" fmla="*/ 4771408 w 8636594"/>
              <a:gd name="connsiteY48" fmla="*/ 5268551 h 6341961"/>
              <a:gd name="connsiteX49" fmla="*/ 4801053 w 8636594"/>
              <a:gd name="connsiteY49" fmla="*/ 5237614 h 6341961"/>
              <a:gd name="connsiteX50" fmla="*/ 4830420 w 8636594"/>
              <a:gd name="connsiteY50" fmla="*/ 5206458 h 6341961"/>
              <a:gd name="connsiteX51" fmla="*/ 4859516 w 8636594"/>
              <a:gd name="connsiteY51" fmla="*/ 5175087 h 6341961"/>
              <a:gd name="connsiteX52" fmla="*/ 4888347 w 8636594"/>
              <a:gd name="connsiteY52" fmla="*/ 5143504 h 6341961"/>
              <a:gd name="connsiteX53" fmla="*/ 4916919 w 8636594"/>
              <a:gd name="connsiteY53" fmla="*/ 5111713 h 6341961"/>
              <a:gd name="connsiteX54" fmla="*/ 4945238 w 8636594"/>
              <a:gd name="connsiteY54" fmla="*/ 5079717 h 6341961"/>
              <a:gd name="connsiteX55" fmla="*/ 4973311 w 8636594"/>
              <a:gd name="connsiteY55" fmla="*/ 5047519 h 6341961"/>
              <a:gd name="connsiteX56" fmla="*/ 5001145 w 8636594"/>
              <a:gd name="connsiteY56" fmla="*/ 5015124 h 6341961"/>
              <a:gd name="connsiteX57" fmla="*/ 5028745 w 8636594"/>
              <a:gd name="connsiteY57" fmla="*/ 4982535 h 6341961"/>
              <a:gd name="connsiteX58" fmla="*/ 5056117 w 8636594"/>
              <a:gd name="connsiteY58" fmla="*/ 4949755 h 6341961"/>
              <a:gd name="connsiteX59" fmla="*/ 5083269 w 8636594"/>
              <a:gd name="connsiteY59" fmla="*/ 4916787 h 6341961"/>
              <a:gd name="connsiteX60" fmla="*/ 5110207 w 8636594"/>
              <a:gd name="connsiteY60" fmla="*/ 4883636 h 6341961"/>
              <a:gd name="connsiteX61" fmla="*/ 5136937 w 8636594"/>
              <a:gd name="connsiteY61" fmla="*/ 4850305 h 6341961"/>
              <a:gd name="connsiteX62" fmla="*/ 5163464 w 8636594"/>
              <a:gd name="connsiteY62" fmla="*/ 4816797 h 6341961"/>
              <a:gd name="connsiteX63" fmla="*/ 5215940 w 8636594"/>
              <a:gd name="connsiteY63" fmla="*/ 4749265 h 6341961"/>
              <a:gd name="connsiteX64" fmla="*/ 5267684 w 8636594"/>
              <a:gd name="connsiteY64" fmla="*/ 4681068 h 6341961"/>
              <a:gd name="connsiteX65" fmla="*/ 5318748 w 8636594"/>
              <a:gd name="connsiteY65" fmla="*/ 4612234 h 6341961"/>
              <a:gd name="connsiteX66" fmla="*/ 5369182 w 8636594"/>
              <a:gd name="connsiteY66" fmla="*/ 4542793 h 6341961"/>
              <a:gd name="connsiteX67" fmla="*/ 5419038 w 8636594"/>
              <a:gd name="connsiteY67" fmla="*/ 4472771 h 6341961"/>
              <a:gd name="connsiteX68" fmla="*/ 5468365 w 8636594"/>
              <a:gd name="connsiteY68" fmla="*/ 4402196 h 6341961"/>
              <a:gd name="connsiteX69" fmla="*/ 5517215 w 8636594"/>
              <a:gd name="connsiteY69" fmla="*/ 4331098 h 6341961"/>
              <a:gd name="connsiteX70" fmla="*/ 5565637 w 8636594"/>
              <a:gd name="connsiteY70" fmla="*/ 4259503 h 6341961"/>
              <a:gd name="connsiteX71" fmla="*/ 5613684 w 8636594"/>
              <a:gd name="connsiteY71" fmla="*/ 4187441 h 6341961"/>
              <a:gd name="connsiteX72" fmla="*/ 5685160 w 8636594"/>
              <a:gd name="connsiteY72" fmla="*/ 4078531 h 6341961"/>
              <a:gd name="connsiteX73" fmla="*/ 5756074 w 8636594"/>
              <a:gd name="connsiteY73" fmla="*/ 3968727 h 6341961"/>
              <a:gd name="connsiteX74" fmla="*/ 5873483 w 8636594"/>
              <a:gd name="connsiteY74" fmla="*/ 3783989 h 6341961"/>
              <a:gd name="connsiteX75" fmla="*/ 6203209 w 8636594"/>
              <a:gd name="connsiteY75" fmla="*/ 3258640 h 6341961"/>
              <a:gd name="connsiteX76" fmla="*/ 6299430 w 8636594"/>
              <a:gd name="connsiteY76" fmla="*/ 3107321 h 6341961"/>
              <a:gd name="connsiteX77" fmla="*/ 6372650 w 8636594"/>
              <a:gd name="connsiteY77" fmla="*/ 2993735 h 6341961"/>
              <a:gd name="connsiteX78" fmla="*/ 6453197 w 8636594"/>
              <a:gd name="connsiteY78" fmla="*/ 2869788 h 6341961"/>
              <a:gd name="connsiteX79" fmla="*/ 6564167 w 8636594"/>
              <a:gd name="connsiteY79" fmla="*/ 2696807 h 6341961"/>
              <a:gd name="connsiteX80" fmla="*/ 6976233 w 8636594"/>
              <a:gd name="connsiteY80" fmla="*/ 2045274 h 6341961"/>
              <a:gd name="connsiteX81" fmla="*/ 7086755 w 8636594"/>
              <a:gd name="connsiteY81" fmla="*/ 1872743 h 6341961"/>
              <a:gd name="connsiteX82" fmla="*/ 7170279 w 8636594"/>
              <a:gd name="connsiteY82" fmla="*/ 1744202 h 6341961"/>
              <a:gd name="connsiteX83" fmla="*/ 7226351 w 8636594"/>
              <a:gd name="connsiteY83" fmla="*/ 1659017 h 6341961"/>
              <a:gd name="connsiteX84" fmla="*/ 7282789 w 8636594"/>
              <a:gd name="connsiteY84" fmla="*/ 1574303 h 6341961"/>
              <a:gd name="connsiteX85" fmla="*/ 7339643 w 8636594"/>
              <a:gd name="connsiteY85" fmla="*/ 1490113 h 6341961"/>
              <a:gd name="connsiteX86" fmla="*/ 7396957 w 8636594"/>
              <a:gd name="connsiteY86" fmla="*/ 1406503 h 6341961"/>
              <a:gd name="connsiteX87" fmla="*/ 7454781 w 8636594"/>
              <a:gd name="connsiteY87" fmla="*/ 1323526 h 6341961"/>
              <a:gd name="connsiteX88" fmla="*/ 7513161 w 8636594"/>
              <a:gd name="connsiteY88" fmla="*/ 1241237 h 6341961"/>
              <a:gd name="connsiteX89" fmla="*/ 7572144 w 8636594"/>
              <a:gd name="connsiteY89" fmla="*/ 1159689 h 6341961"/>
              <a:gd name="connsiteX90" fmla="*/ 7601877 w 8636594"/>
              <a:gd name="connsiteY90" fmla="*/ 1119210 h 6341961"/>
              <a:gd name="connsiteX91" fmla="*/ 7631779 w 8636594"/>
              <a:gd name="connsiteY91" fmla="*/ 1078937 h 6341961"/>
              <a:gd name="connsiteX92" fmla="*/ 7661855 w 8636594"/>
              <a:gd name="connsiteY92" fmla="*/ 1038876 h 6341961"/>
              <a:gd name="connsiteX93" fmla="*/ 7692111 w 8636594"/>
              <a:gd name="connsiteY93" fmla="*/ 999035 h 6341961"/>
              <a:gd name="connsiteX94" fmla="*/ 7722554 w 8636594"/>
              <a:gd name="connsiteY94" fmla="*/ 959419 h 6341961"/>
              <a:gd name="connsiteX95" fmla="*/ 7753190 w 8636594"/>
              <a:gd name="connsiteY95" fmla="*/ 920037 h 6341961"/>
              <a:gd name="connsiteX96" fmla="*/ 7784023 w 8636594"/>
              <a:gd name="connsiteY96" fmla="*/ 880894 h 6341961"/>
              <a:gd name="connsiteX97" fmla="*/ 7815061 w 8636594"/>
              <a:gd name="connsiteY97" fmla="*/ 841997 h 6341961"/>
              <a:gd name="connsiteX98" fmla="*/ 7846308 w 8636594"/>
              <a:gd name="connsiteY98" fmla="*/ 803354 h 6341961"/>
              <a:gd name="connsiteX99" fmla="*/ 7877772 w 8636594"/>
              <a:gd name="connsiteY99" fmla="*/ 764970 h 6341961"/>
              <a:gd name="connsiteX100" fmla="*/ 7909458 w 8636594"/>
              <a:gd name="connsiteY100" fmla="*/ 726853 h 6341961"/>
              <a:gd name="connsiteX101" fmla="*/ 7941371 w 8636594"/>
              <a:gd name="connsiteY101" fmla="*/ 689010 h 6341961"/>
              <a:gd name="connsiteX102" fmla="*/ 7973518 w 8636594"/>
              <a:gd name="connsiteY102" fmla="*/ 651447 h 6341961"/>
              <a:gd name="connsiteX103" fmla="*/ 8005905 w 8636594"/>
              <a:gd name="connsiteY103" fmla="*/ 614171 h 6341961"/>
              <a:gd name="connsiteX104" fmla="*/ 8038538 w 8636594"/>
              <a:gd name="connsiteY104" fmla="*/ 577189 h 6341961"/>
              <a:gd name="connsiteX105" fmla="*/ 8071421 w 8636594"/>
              <a:gd name="connsiteY105" fmla="*/ 540507 h 6341961"/>
              <a:gd name="connsiteX106" fmla="*/ 8104563 w 8636594"/>
              <a:gd name="connsiteY106" fmla="*/ 504132 h 6341961"/>
              <a:gd name="connsiteX107" fmla="*/ 8137967 w 8636594"/>
              <a:gd name="connsiteY107" fmla="*/ 468072 h 6341961"/>
              <a:gd name="connsiteX108" fmla="*/ 8171641 w 8636594"/>
              <a:gd name="connsiteY108" fmla="*/ 432332 h 6341961"/>
              <a:gd name="connsiteX109" fmla="*/ 8205590 w 8636594"/>
              <a:gd name="connsiteY109" fmla="*/ 396920 h 6341961"/>
              <a:gd name="connsiteX110" fmla="*/ 8239820 w 8636594"/>
              <a:gd name="connsiteY110" fmla="*/ 361843 h 6341961"/>
              <a:gd name="connsiteX111" fmla="*/ 8274337 w 8636594"/>
              <a:gd name="connsiteY111" fmla="*/ 327107 h 6341961"/>
              <a:gd name="connsiteX112" fmla="*/ 8309147 w 8636594"/>
              <a:gd name="connsiteY112" fmla="*/ 292718 h 6341961"/>
              <a:gd name="connsiteX113" fmla="*/ 8344256 w 8636594"/>
              <a:gd name="connsiteY113" fmla="*/ 258685 h 6341961"/>
              <a:gd name="connsiteX114" fmla="*/ 8379669 w 8636594"/>
              <a:gd name="connsiteY114" fmla="*/ 225013 h 6341961"/>
              <a:gd name="connsiteX115" fmla="*/ 8415394 w 8636594"/>
              <a:gd name="connsiteY115" fmla="*/ 191709 h 6341961"/>
              <a:gd name="connsiteX116" fmla="*/ 8451434 w 8636594"/>
              <a:gd name="connsiteY116" fmla="*/ 158780 h 6341961"/>
              <a:gd name="connsiteX117" fmla="*/ 8487798 w 8636594"/>
              <a:gd name="connsiteY117" fmla="*/ 126233 h 6341961"/>
              <a:gd name="connsiteX118" fmla="*/ 8524489 w 8636594"/>
              <a:gd name="connsiteY118" fmla="*/ 94075 h 6341961"/>
              <a:gd name="connsiteX119" fmla="*/ 8561515 w 8636594"/>
              <a:gd name="connsiteY119" fmla="*/ 62312 h 6341961"/>
              <a:gd name="connsiteX120" fmla="*/ 8598881 w 8636594"/>
              <a:gd name="connsiteY120" fmla="*/ 30951 h 6341961"/>
              <a:gd name="connsiteX121" fmla="*/ 8636594 w 8636594"/>
              <a:gd name="connsiteY121" fmla="*/ 0 h 6341961"/>
              <a:gd name="connsiteX0" fmla="*/ 8636594 w 8636594"/>
              <a:gd name="connsiteY0" fmla="*/ 0 h 6323757"/>
              <a:gd name="connsiteX1" fmla="*/ 5293 w 8636594"/>
              <a:gd name="connsiteY1" fmla="*/ 0 h 6323757"/>
              <a:gd name="connsiteX2" fmla="*/ 0 w 8636594"/>
              <a:gd name="connsiteY2" fmla="*/ 5587843 h 6323757"/>
              <a:gd name="connsiteX3" fmla="*/ 1594033 w 8636594"/>
              <a:gd name="connsiteY3" fmla="*/ 5600057 h 6323757"/>
              <a:gd name="connsiteX4" fmla="*/ 1686068 w 8636594"/>
              <a:gd name="connsiteY4" fmla="*/ 5599745 h 6323757"/>
              <a:gd name="connsiteX5" fmla="*/ 3191491 w 8636594"/>
              <a:gd name="connsiteY5" fmla="*/ 6323757 h 6323757"/>
              <a:gd name="connsiteX6" fmla="*/ 3238528 w 8636594"/>
              <a:gd name="connsiteY6" fmla="*/ 6305184 h 6323757"/>
              <a:gd name="connsiteX7" fmla="*/ 3285021 w 8636594"/>
              <a:gd name="connsiteY7" fmla="*/ 6286245 h 6323757"/>
              <a:gd name="connsiteX8" fmla="*/ 3330977 w 8636594"/>
              <a:gd name="connsiteY8" fmla="*/ 6266942 h 6323757"/>
              <a:gd name="connsiteX9" fmla="*/ 3376401 w 8636594"/>
              <a:gd name="connsiteY9" fmla="*/ 6247281 h 6323757"/>
              <a:gd name="connsiteX10" fmla="*/ 3421300 w 8636594"/>
              <a:gd name="connsiteY10" fmla="*/ 6227263 h 6323757"/>
              <a:gd name="connsiteX11" fmla="*/ 3465680 w 8636594"/>
              <a:gd name="connsiteY11" fmla="*/ 6206893 h 6323757"/>
              <a:gd name="connsiteX12" fmla="*/ 3509548 w 8636594"/>
              <a:gd name="connsiteY12" fmla="*/ 6186174 h 6323757"/>
              <a:gd name="connsiteX13" fmla="*/ 3552910 w 8636594"/>
              <a:gd name="connsiteY13" fmla="*/ 6165110 h 6323757"/>
              <a:gd name="connsiteX14" fmla="*/ 3595773 w 8636594"/>
              <a:gd name="connsiteY14" fmla="*/ 6143704 h 6323757"/>
              <a:gd name="connsiteX15" fmla="*/ 3638142 w 8636594"/>
              <a:gd name="connsiteY15" fmla="*/ 6121960 h 6323757"/>
              <a:gd name="connsiteX16" fmla="*/ 3680024 w 8636594"/>
              <a:gd name="connsiteY16" fmla="*/ 6099881 h 6323757"/>
              <a:gd name="connsiteX17" fmla="*/ 3721426 w 8636594"/>
              <a:gd name="connsiteY17" fmla="*/ 6077471 h 6323757"/>
              <a:gd name="connsiteX18" fmla="*/ 3762353 w 8636594"/>
              <a:gd name="connsiteY18" fmla="*/ 6054733 h 6323757"/>
              <a:gd name="connsiteX19" fmla="*/ 3802812 w 8636594"/>
              <a:gd name="connsiteY19" fmla="*/ 6031671 h 6323757"/>
              <a:gd name="connsiteX20" fmla="*/ 3842810 w 8636594"/>
              <a:gd name="connsiteY20" fmla="*/ 6008288 h 6323757"/>
              <a:gd name="connsiteX21" fmla="*/ 3882352 w 8636594"/>
              <a:gd name="connsiteY21" fmla="*/ 5984588 h 6323757"/>
              <a:gd name="connsiteX22" fmla="*/ 3921445 w 8636594"/>
              <a:gd name="connsiteY22" fmla="*/ 5960574 h 6323757"/>
              <a:gd name="connsiteX23" fmla="*/ 3960096 w 8636594"/>
              <a:gd name="connsiteY23" fmla="*/ 5936250 h 6323757"/>
              <a:gd name="connsiteX24" fmla="*/ 3998311 w 8636594"/>
              <a:gd name="connsiteY24" fmla="*/ 5911619 h 6323757"/>
              <a:gd name="connsiteX25" fmla="*/ 4036095 w 8636594"/>
              <a:gd name="connsiteY25" fmla="*/ 5886685 h 6323757"/>
              <a:gd name="connsiteX26" fmla="*/ 4073456 w 8636594"/>
              <a:gd name="connsiteY26" fmla="*/ 5861452 h 6323757"/>
              <a:gd name="connsiteX27" fmla="*/ 4110400 w 8636594"/>
              <a:gd name="connsiteY27" fmla="*/ 5835922 h 6323757"/>
              <a:gd name="connsiteX28" fmla="*/ 4146933 w 8636594"/>
              <a:gd name="connsiteY28" fmla="*/ 5810100 h 6323757"/>
              <a:gd name="connsiteX29" fmla="*/ 4183061 w 8636594"/>
              <a:gd name="connsiteY29" fmla="*/ 5783988 h 6323757"/>
              <a:gd name="connsiteX30" fmla="*/ 4218791 w 8636594"/>
              <a:gd name="connsiteY30" fmla="*/ 5757591 h 6323757"/>
              <a:gd name="connsiteX31" fmla="*/ 4254129 w 8636594"/>
              <a:gd name="connsiteY31" fmla="*/ 5730912 h 6323757"/>
              <a:gd name="connsiteX32" fmla="*/ 4289081 w 8636594"/>
              <a:gd name="connsiteY32" fmla="*/ 5703955 h 6323757"/>
              <a:gd name="connsiteX33" fmla="*/ 4323654 w 8636594"/>
              <a:gd name="connsiteY33" fmla="*/ 5676722 h 6323757"/>
              <a:gd name="connsiteX34" fmla="*/ 4357854 w 8636594"/>
              <a:gd name="connsiteY34" fmla="*/ 5649218 h 6323757"/>
              <a:gd name="connsiteX35" fmla="*/ 4391688 w 8636594"/>
              <a:gd name="connsiteY35" fmla="*/ 5621446 h 6323757"/>
              <a:gd name="connsiteX36" fmla="*/ 4425162 w 8636594"/>
              <a:gd name="connsiteY36" fmla="*/ 5593409 h 6323757"/>
              <a:gd name="connsiteX37" fmla="*/ 4458281 w 8636594"/>
              <a:gd name="connsiteY37" fmla="*/ 5565111 h 6323757"/>
              <a:gd name="connsiteX38" fmla="*/ 4491053 w 8636594"/>
              <a:gd name="connsiteY38" fmla="*/ 5536556 h 6323757"/>
              <a:gd name="connsiteX39" fmla="*/ 4523484 w 8636594"/>
              <a:gd name="connsiteY39" fmla="*/ 5507747 h 6323757"/>
              <a:gd name="connsiteX40" fmla="*/ 4555580 w 8636594"/>
              <a:gd name="connsiteY40" fmla="*/ 5478687 h 6323757"/>
              <a:gd name="connsiteX41" fmla="*/ 4587347 w 8636594"/>
              <a:gd name="connsiteY41" fmla="*/ 5449380 h 6323757"/>
              <a:gd name="connsiteX42" fmla="*/ 4618793 w 8636594"/>
              <a:gd name="connsiteY42" fmla="*/ 5419830 h 6323757"/>
              <a:gd name="connsiteX43" fmla="*/ 4649922 w 8636594"/>
              <a:gd name="connsiteY43" fmla="*/ 5390040 h 6323757"/>
              <a:gd name="connsiteX44" fmla="*/ 4680742 w 8636594"/>
              <a:gd name="connsiteY44" fmla="*/ 5360014 h 6323757"/>
              <a:gd name="connsiteX45" fmla="*/ 4711259 w 8636594"/>
              <a:gd name="connsiteY45" fmla="*/ 5329755 h 6323757"/>
              <a:gd name="connsiteX46" fmla="*/ 4741478 w 8636594"/>
              <a:gd name="connsiteY46" fmla="*/ 5299266 h 6323757"/>
              <a:gd name="connsiteX47" fmla="*/ 4771408 w 8636594"/>
              <a:gd name="connsiteY47" fmla="*/ 5268551 h 6323757"/>
              <a:gd name="connsiteX48" fmla="*/ 4801053 w 8636594"/>
              <a:gd name="connsiteY48" fmla="*/ 5237614 h 6323757"/>
              <a:gd name="connsiteX49" fmla="*/ 4830420 w 8636594"/>
              <a:gd name="connsiteY49" fmla="*/ 5206458 h 6323757"/>
              <a:gd name="connsiteX50" fmla="*/ 4859516 w 8636594"/>
              <a:gd name="connsiteY50" fmla="*/ 5175087 h 6323757"/>
              <a:gd name="connsiteX51" fmla="*/ 4888347 w 8636594"/>
              <a:gd name="connsiteY51" fmla="*/ 5143504 h 6323757"/>
              <a:gd name="connsiteX52" fmla="*/ 4916919 w 8636594"/>
              <a:gd name="connsiteY52" fmla="*/ 5111713 h 6323757"/>
              <a:gd name="connsiteX53" fmla="*/ 4945238 w 8636594"/>
              <a:gd name="connsiteY53" fmla="*/ 5079717 h 6323757"/>
              <a:gd name="connsiteX54" fmla="*/ 4973311 w 8636594"/>
              <a:gd name="connsiteY54" fmla="*/ 5047519 h 6323757"/>
              <a:gd name="connsiteX55" fmla="*/ 5001145 w 8636594"/>
              <a:gd name="connsiteY55" fmla="*/ 5015124 h 6323757"/>
              <a:gd name="connsiteX56" fmla="*/ 5028745 w 8636594"/>
              <a:gd name="connsiteY56" fmla="*/ 4982535 h 6323757"/>
              <a:gd name="connsiteX57" fmla="*/ 5056117 w 8636594"/>
              <a:gd name="connsiteY57" fmla="*/ 4949755 h 6323757"/>
              <a:gd name="connsiteX58" fmla="*/ 5083269 w 8636594"/>
              <a:gd name="connsiteY58" fmla="*/ 4916787 h 6323757"/>
              <a:gd name="connsiteX59" fmla="*/ 5110207 w 8636594"/>
              <a:gd name="connsiteY59" fmla="*/ 4883636 h 6323757"/>
              <a:gd name="connsiteX60" fmla="*/ 5136937 w 8636594"/>
              <a:gd name="connsiteY60" fmla="*/ 4850305 h 6323757"/>
              <a:gd name="connsiteX61" fmla="*/ 5163464 w 8636594"/>
              <a:gd name="connsiteY61" fmla="*/ 4816797 h 6323757"/>
              <a:gd name="connsiteX62" fmla="*/ 5215940 w 8636594"/>
              <a:gd name="connsiteY62" fmla="*/ 4749265 h 6323757"/>
              <a:gd name="connsiteX63" fmla="*/ 5267684 w 8636594"/>
              <a:gd name="connsiteY63" fmla="*/ 4681068 h 6323757"/>
              <a:gd name="connsiteX64" fmla="*/ 5318748 w 8636594"/>
              <a:gd name="connsiteY64" fmla="*/ 4612234 h 6323757"/>
              <a:gd name="connsiteX65" fmla="*/ 5369182 w 8636594"/>
              <a:gd name="connsiteY65" fmla="*/ 4542793 h 6323757"/>
              <a:gd name="connsiteX66" fmla="*/ 5419038 w 8636594"/>
              <a:gd name="connsiteY66" fmla="*/ 4472771 h 6323757"/>
              <a:gd name="connsiteX67" fmla="*/ 5468365 w 8636594"/>
              <a:gd name="connsiteY67" fmla="*/ 4402196 h 6323757"/>
              <a:gd name="connsiteX68" fmla="*/ 5517215 w 8636594"/>
              <a:gd name="connsiteY68" fmla="*/ 4331098 h 6323757"/>
              <a:gd name="connsiteX69" fmla="*/ 5565637 w 8636594"/>
              <a:gd name="connsiteY69" fmla="*/ 4259503 h 6323757"/>
              <a:gd name="connsiteX70" fmla="*/ 5613684 w 8636594"/>
              <a:gd name="connsiteY70" fmla="*/ 4187441 h 6323757"/>
              <a:gd name="connsiteX71" fmla="*/ 5685160 w 8636594"/>
              <a:gd name="connsiteY71" fmla="*/ 4078531 h 6323757"/>
              <a:gd name="connsiteX72" fmla="*/ 5756074 w 8636594"/>
              <a:gd name="connsiteY72" fmla="*/ 3968727 h 6323757"/>
              <a:gd name="connsiteX73" fmla="*/ 5873483 w 8636594"/>
              <a:gd name="connsiteY73" fmla="*/ 3783989 h 6323757"/>
              <a:gd name="connsiteX74" fmla="*/ 6203209 w 8636594"/>
              <a:gd name="connsiteY74" fmla="*/ 3258640 h 6323757"/>
              <a:gd name="connsiteX75" fmla="*/ 6299430 w 8636594"/>
              <a:gd name="connsiteY75" fmla="*/ 3107321 h 6323757"/>
              <a:gd name="connsiteX76" fmla="*/ 6372650 w 8636594"/>
              <a:gd name="connsiteY76" fmla="*/ 2993735 h 6323757"/>
              <a:gd name="connsiteX77" fmla="*/ 6453197 w 8636594"/>
              <a:gd name="connsiteY77" fmla="*/ 2869788 h 6323757"/>
              <a:gd name="connsiteX78" fmla="*/ 6564167 w 8636594"/>
              <a:gd name="connsiteY78" fmla="*/ 2696807 h 6323757"/>
              <a:gd name="connsiteX79" fmla="*/ 6976233 w 8636594"/>
              <a:gd name="connsiteY79" fmla="*/ 2045274 h 6323757"/>
              <a:gd name="connsiteX80" fmla="*/ 7086755 w 8636594"/>
              <a:gd name="connsiteY80" fmla="*/ 1872743 h 6323757"/>
              <a:gd name="connsiteX81" fmla="*/ 7170279 w 8636594"/>
              <a:gd name="connsiteY81" fmla="*/ 1744202 h 6323757"/>
              <a:gd name="connsiteX82" fmla="*/ 7226351 w 8636594"/>
              <a:gd name="connsiteY82" fmla="*/ 1659017 h 6323757"/>
              <a:gd name="connsiteX83" fmla="*/ 7282789 w 8636594"/>
              <a:gd name="connsiteY83" fmla="*/ 1574303 h 6323757"/>
              <a:gd name="connsiteX84" fmla="*/ 7339643 w 8636594"/>
              <a:gd name="connsiteY84" fmla="*/ 1490113 h 6323757"/>
              <a:gd name="connsiteX85" fmla="*/ 7396957 w 8636594"/>
              <a:gd name="connsiteY85" fmla="*/ 1406503 h 6323757"/>
              <a:gd name="connsiteX86" fmla="*/ 7454781 w 8636594"/>
              <a:gd name="connsiteY86" fmla="*/ 1323526 h 6323757"/>
              <a:gd name="connsiteX87" fmla="*/ 7513161 w 8636594"/>
              <a:gd name="connsiteY87" fmla="*/ 1241237 h 6323757"/>
              <a:gd name="connsiteX88" fmla="*/ 7572144 w 8636594"/>
              <a:gd name="connsiteY88" fmla="*/ 1159689 h 6323757"/>
              <a:gd name="connsiteX89" fmla="*/ 7601877 w 8636594"/>
              <a:gd name="connsiteY89" fmla="*/ 1119210 h 6323757"/>
              <a:gd name="connsiteX90" fmla="*/ 7631779 w 8636594"/>
              <a:gd name="connsiteY90" fmla="*/ 1078937 h 6323757"/>
              <a:gd name="connsiteX91" fmla="*/ 7661855 w 8636594"/>
              <a:gd name="connsiteY91" fmla="*/ 1038876 h 6323757"/>
              <a:gd name="connsiteX92" fmla="*/ 7692111 w 8636594"/>
              <a:gd name="connsiteY92" fmla="*/ 999035 h 6323757"/>
              <a:gd name="connsiteX93" fmla="*/ 7722554 w 8636594"/>
              <a:gd name="connsiteY93" fmla="*/ 959419 h 6323757"/>
              <a:gd name="connsiteX94" fmla="*/ 7753190 w 8636594"/>
              <a:gd name="connsiteY94" fmla="*/ 920037 h 6323757"/>
              <a:gd name="connsiteX95" fmla="*/ 7784023 w 8636594"/>
              <a:gd name="connsiteY95" fmla="*/ 880894 h 6323757"/>
              <a:gd name="connsiteX96" fmla="*/ 7815061 w 8636594"/>
              <a:gd name="connsiteY96" fmla="*/ 841997 h 6323757"/>
              <a:gd name="connsiteX97" fmla="*/ 7846308 w 8636594"/>
              <a:gd name="connsiteY97" fmla="*/ 803354 h 6323757"/>
              <a:gd name="connsiteX98" fmla="*/ 7877772 w 8636594"/>
              <a:gd name="connsiteY98" fmla="*/ 764970 h 6323757"/>
              <a:gd name="connsiteX99" fmla="*/ 7909458 w 8636594"/>
              <a:gd name="connsiteY99" fmla="*/ 726853 h 6323757"/>
              <a:gd name="connsiteX100" fmla="*/ 7941371 w 8636594"/>
              <a:gd name="connsiteY100" fmla="*/ 689010 h 6323757"/>
              <a:gd name="connsiteX101" fmla="*/ 7973518 w 8636594"/>
              <a:gd name="connsiteY101" fmla="*/ 651447 h 6323757"/>
              <a:gd name="connsiteX102" fmla="*/ 8005905 w 8636594"/>
              <a:gd name="connsiteY102" fmla="*/ 614171 h 6323757"/>
              <a:gd name="connsiteX103" fmla="*/ 8038538 w 8636594"/>
              <a:gd name="connsiteY103" fmla="*/ 577189 h 6323757"/>
              <a:gd name="connsiteX104" fmla="*/ 8071421 w 8636594"/>
              <a:gd name="connsiteY104" fmla="*/ 540507 h 6323757"/>
              <a:gd name="connsiteX105" fmla="*/ 8104563 w 8636594"/>
              <a:gd name="connsiteY105" fmla="*/ 504132 h 6323757"/>
              <a:gd name="connsiteX106" fmla="*/ 8137967 w 8636594"/>
              <a:gd name="connsiteY106" fmla="*/ 468072 h 6323757"/>
              <a:gd name="connsiteX107" fmla="*/ 8171641 w 8636594"/>
              <a:gd name="connsiteY107" fmla="*/ 432332 h 6323757"/>
              <a:gd name="connsiteX108" fmla="*/ 8205590 w 8636594"/>
              <a:gd name="connsiteY108" fmla="*/ 396920 h 6323757"/>
              <a:gd name="connsiteX109" fmla="*/ 8239820 w 8636594"/>
              <a:gd name="connsiteY109" fmla="*/ 361843 h 6323757"/>
              <a:gd name="connsiteX110" fmla="*/ 8274337 w 8636594"/>
              <a:gd name="connsiteY110" fmla="*/ 327107 h 6323757"/>
              <a:gd name="connsiteX111" fmla="*/ 8309147 w 8636594"/>
              <a:gd name="connsiteY111" fmla="*/ 292718 h 6323757"/>
              <a:gd name="connsiteX112" fmla="*/ 8344256 w 8636594"/>
              <a:gd name="connsiteY112" fmla="*/ 258685 h 6323757"/>
              <a:gd name="connsiteX113" fmla="*/ 8379669 w 8636594"/>
              <a:gd name="connsiteY113" fmla="*/ 225013 h 6323757"/>
              <a:gd name="connsiteX114" fmla="*/ 8415394 w 8636594"/>
              <a:gd name="connsiteY114" fmla="*/ 191709 h 6323757"/>
              <a:gd name="connsiteX115" fmla="*/ 8451434 w 8636594"/>
              <a:gd name="connsiteY115" fmla="*/ 158780 h 6323757"/>
              <a:gd name="connsiteX116" fmla="*/ 8487798 w 8636594"/>
              <a:gd name="connsiteY116" fmla="*/ 126233 h 6323757"/>
              <a:gd name="connsiteX117" fmla="*/ 8524489 w 8636594"/>
              <a:gd name="connsiteY117" fmla="*/ 94075 h 6323757"/>
              <a:gd name="connsiteX118" fmla="*/ 8561515 w 8636594"/>
              <a:gd name="connsiteY118" fmla="*/ 62312 h 6323757"/>
              <a:gd name="connsiteX119" fmla="*/ 8598881 w 8636594"/>
              <a:gd name="connsiteY119" fmla="*/ 30951 h 6323757"/>
              <a:gd name="connsiteX120" fmla="*/ 8636594 w 8636594"/>
              <a:gd name="connsiteY120" fmla="*/ 0 h 6323757"/>
              <a:gd name="connsiteX0" fmla="*/ 8636594 w 8636594"/>
              <a:gd name="connsiteY0" fmla="*/ 0 h 6305184"/>
              <a:gd name="connsiteX1" fmla="*/ 5293 w 8636594"/>
              <a:gd name="connsiteY1" fmla="*/ 0 h 6305184"/>
              <a:gd name="connsiteX2" fmla="*/ 0 w 8636594"/>
              <a:gd name="connsiteY2" fmla="*/ 5587843 h 6305184"/>
              <a:gd name="connsiteX3" fmla="*/ 1594033 w 8636594"/>
              <a:gd name="connsiteY3" fmla="*/ 5600057 h 6305184"/>
              <a:gd name="connsiteX4" fmla="*/ 1686068 w 8636594"/>
              <a:gd name="connsiteY4" fmla="*/ 5599745 h 6305184"/>
              <a:gd name="connsiteX5" fmla="*/ 3238528 w 8636594"/>
              <a:gd name="connsiteY5" fmla="*/ 6305184 h 6305184"/>
              <a:gd name="connsiteX6" fmla="*/ 3285021 w 8636594"/>
              <a:gd name="connsiteY6" fmla="*/ 6286245 h 6305184"/>
              <a:gd name="connsiteX7" fmla="*/ 3330977 w 8636594"/>
              <a:gd name="connsiteY7" fmla="*/ 6266942 h 6305184"/>
              <a:gd name="connsiteX8" fmla="*/ 3376401 w 8636594"/>
              <a:gd name="connsiteY8" fmla="*/ 6247281 h 6305184"/>
              <a:gd name="connsiteX9" fmla="*/ 3421300 w 8636594"/>
              <a:gd name="connsiteY9" fmla="*/ 6227263 h 6305184"/>
              <a:gd name="connsiteX10" fmla="*/ 3465680 w 8636594"/>
              <a:gd name="connsiteY10" fmla="*/ 6206893 h 6305184"/>
              <a:gd name="connsiteX11" fmla="*/ 3509548 w 8636594"/>
              <a:gd name="connsiteY11" fmla="*/ 6186174 h 6305184"/>
              <a:gd name="connsiteX12" fmla="*/ 3552910 w 8636594"/>
              <a:gd name="connsiteY12" fmla="*/ 6165110 h 6305184"/>
              <a:gd name="connsiteX13" fmla="*/ 3595773 w 8636594"/>
              <a:gd name="connsiteY13" fmla="*/ 6143704 h 6305184"/>
              <a:gd name="connsiteX14" fmla="*/ 3638142 w 8636594"/>
              <a:gd name="connsiteY14" fmla="*/ 6121960 h 6305184"/>
              <a:gd name="connsiteX15" fmla="*/ 3680024 w 8636594"/>
              <a:gd name="connsiteY15" fmla="*/ 6099881 h 6305184"/>
              <a:gd name="connsiteX16" fmla="*/ 3721426 w 8636594"/>
              <a:gd name="connsiteY16" fmla="*/ 6077471 h 6305184"/>
              <a:gd name="connsiteX17" fmla="*/ 3762353 w 8636594"/>
              <a:gd name="connsiteY17" fmla="*/ 6054733 h 6305184"/>
              <a:gd name="connsiteX18" fmla="*/ 3802812 w 8636594"/>
              <a:gd name="connsiteY18" fmla="*/ 6031671 h 6305184"/>
              <a:gd name="connsiteX19" fmla="*/ 3842810 w 8636594"/>
              <a:gd name="connsiteY19" fmla="*/ 6008288 h 6305184"/>
              <a:gd name="connsiteX20" fmla="*/ 3882352 w 8636594"/>
              <a:gd name="connsiteY20" fmla="*/ 5984588 h 6305184"/>
              <a:gd name="connsiteX21" fmla="*/ 3921445 w 8636594"/>
              <a:gd name="connsiteY21" fmla="*/ 5960574 h 6305184"/>
              <a:gd name="connsiteX22" fmla="*/ 3960096 w 8636594"/>
              <a:gd name="connsiteY22" fmla="*/ 5936250 h 6305184"/>
              <a:gd name="connsiteX23" fmla="*/ 3998311 w 8636594"/>
              <a:gd name="connsiteY23" fmla="*/ 5911619 h 6305184"/>
              <a:gd name="connsiteX24" fmla="*/ 4036095 w 8636594"/>
              <a:gd name="connsiteY24" fmla="*/ 5886685 h 6305184"/>
              <a:gd name="connsiteX25" fmla="*/ 4073456 w 8636594"/>
              <a:gd name="connsiteY25" fmla="*/ 5861452 h 6305184"/>
              <a:gd name="connsiteX26" fmla="*/ 4110400 w 8636594"/>
              <a:gd name="connsiteY26" fmla="*/ 5835922 h 6305184"/>
              <a:gd name="connsiteX27" fmla="*/ 4146933 w 8636594"/>
              <a:gd name="connsiteY27" fmla="*/ 5810100 h 6305184"/>
              <a:gd name="connsiteX28" fmla="*/ 4183061 w 8636594"/>
              <a:gd name="connsiteY28" fmla="*/ 5783988 h 6305184"/>
              <a:gd name="connsiteX29" fmla="*/ 4218791 w 8636594"/>
              <a:gd name="connsiteY29" fmla="*/ 5757591 h 6305184"/>
              <a:gd name="connsiteX30" fmla="*/ 4254129 w 8636594"/>
              <a:gd name="connsiteY30" fmla="*/ 5730912 h 6305184"/>
              <a:gd name="connsiteX31" fmla="*/ 4289081 w 8636594"/>
              <a:gd name="connsiteY31" fmla="*/ 5703955 h 6305184"/>
              <a:gd name="connsiteX32" fmla="*/ 4323654 w 8636594"/>
              <a:gd name="connsiteY32" fmla="*/ 5676722 h 6305184"/>
              <a:gd name="connsiteX33" fmla="*/ 4357854 w 8636594"/>
              <a:gd name="connsiteY33" fmla="*/ 5649218 h 6305184"/>
              <a:gd name="connsiteX34" fmla="*/ 4391688 w 8636594"/>
              <a:gd name="connsiteY34" fmla="*/ 5621446 h 6305184"/>
              <a:gd name="connsiteX35" fmla="*/ 4425162 w 8636594"/>
              <a:gd name="connsiteY35" fmla="*/ 5593409 h 6305184"/>
              <a:gd name="connsiteX36" fmla="*/ 4458281 w 8636594"/>
              <a:gd name="connsiteY36" fmla="*/ 5565111 h 6305184"/>
              <a:gd name="connsiteX37" fmla="*/ 4491053 w 8636594"/>
              <a:gd name="connsiteY37" fmla="*/ 5536556 h 6305184"/>
              <a:gd name="connsiteX38" fmla="*/ 4523484 w 8636594"/>
              <a:gd name="connsiteY38" fmla="*/ 5507747 h 6305184"/>
              <a:gd name="connsiteX39" fmla="*/ 4555580 w 8636594"/>
              <a:gd name="connsiteY39" fmla="*/ 5478687 h 6305184"/>
              <a:gd name="connsiteX40" fmla="*/ 4587347 w 8636594"/>
              <a:gd name="connsiteY40" fmla="*/ 5449380 h 6305184"/>
              <a:gd name="connsiteX41" fmla="*/ 4618793 w 8636594"/>
              <a:gd name="connsiteY41" fmla="*/ 5419830 h 6305184"/>
              <a:gd name="connsiteX42" fmla="*/ 4649922 w 8636594"/>
              <a:gd name="connsiteY42" fmla="*/ 5390040 h 6305184"/>
              <a:gd name="connsiteX43" fmla="*/ 4680742 w 8636594"/>
              <a:gd name="connsiteY43" fmla="*/ 5360014 h 6305184"/>
              <a:gd name="connsiteX44" fmla="*/ 4711259 w 8636594"/>
              <a:gd name="connsiteY44" fmla="*/ 5329755 h 6305184"/>
              <a:gd name="connsiteX45" fmla="*/ 4741478 w 8636594"/>
              <a:gd name="connsiteY45" fmla="*/ 5299266 h 6305184"/>
              <a:gd name="connsiteX46" fmla="*/ 4771408 w 8636594"/>
              <a:gd name="connsiteY46" fmla="*/ 5268551 h 6305184"/>
              <a:gd name="connsiteX47" fmla="*/ 4801053 w 8636594"/>
              <a:gd name="connsiteY47" fmla="*/ 5237614 h 6305184"/>
              <a:gd name="connsiteX48" fmla="*/ 4830420 w 8636594"/>
              <a:gd name="connsiteY48" fmla="*/ 5206458 h 6305184"/>
              <a:gd name="connsiteX49" fmla="*/ 4859516 w 8636594"/>
              <a:gd name="connsiteY49" fmla="*/ 5175087 h 6305184"/>
              <a:gd name="connsiteX50" fmla="*/ 4888347 w 8636594"/>
              <a:gd name="connsiteY50" fmla="*/ 5143504 h 6305184"/>
              <a:gd name="connsiteX51" fmla="*/ 4916919 w 8636594"/>
              <a:gd name="connsiteY51" fmla="*/ 5111713 h 6305184"/>
              <a:gd name="connsiteX52" fmla="*/ 4945238 w 8636594"/>
              <a:gd name="connsiteY52" fmla="*/ 5079717 h 6305184"/>
              <a:gd name="connsiteX53" fmla="*/ 4973311 w 8636594"/>
              <a:gd name="connsiteY53" fmla="*/ 5047519 h 6305184"/>
              <a:gd name="connsiteX54" fmla="*/ 5001145 w 8636594"/>
              <a:gd name="connsiteY54" fmla="*/ 5015124 h 6305184"/>
              <a:gd name="connsiteX55" fmla="*/ 5028745 w 8636594"/>
              <a:gd name="connsiteY55" fmla="*/ 4982535 h 6305184"/>
              <a:gd name="connsiteX56" fmla="*/ 5056117 w 8636594"/>
              <a:gd name="connsiteY56" fmla="*/ 4949755 h 6305184"/>
              <a:gd name="connsiteX57" fmla="*/ 5083269 w 8636594"/>
              <a:gd name="connsiteY57" fmla="*/ 4916787 h 6305184"/>
              <a:gd name="connsiteX58" fmla="*/ 5110207 w 8636594"/>
              <a:gd name="connsiteY58" fmla="*/ 4883636 h 6305184"/>
              <a:gd name="connsiteX59" fmla="*/ 5136937 w 8636594"/>
              <a:gd name="connsiteY59" fmla="*/ 4850305 h 6305184"/>
              <a:gd name="connsiteX60" fmla="*/ 5163464 w 8636594"/>
              <a:gd name="connsiteY60" fmla="*/ 4816797 h 6305184"/>
              <a:gd name="connsiteX61" fmla="*/ 5215940 w 8636594"/>
              <a:gd name="connsiteY61" fmla="*/ 4749265 h 6305184"/>
              <a:gd name="connsiteX62" fmla="*/ 5267684 w 8636594"/>
              <a:gd name="connsiteY62" fmla="*/ 4681068 h 6305184"/>
              <a:gd name="connsiteX63" fmla="*/ 5318748 w 8636594"/>
              <a:gd name="connsiteY63" fmla="*/ 4612234 h 6305184"/>
              <a:gd name="connsiteX64" fmla="*/ 5369182 w 8636594"/>
              <a:gd name="connsiteY64" fmla="*/ 4542793 h 6305184"/>
              <a:gd name="connsiteX65" fmla="*/ 5419038 w 8636594"/>
              <a:gd name="connsiteY65" fmla="*/ 4472771 h 6305184"/>
              <a:gd name="connsiteX66" fmla="*/ 5468365 w 8636594"/>
              <a:gd name="connsiteY66" fmla="*/ 4402196 h 6305184"/>
              <a:gd name="connsiteX67" fmla="*/ 5517215 w 8636594"/>
              <a:gd name="connsiteY67" fmla="*/ 4331098 h 6305184"/>
              <a:gd name="connsiteX68" fmla="*/ 5565637 w 8636594"/>
              <a:gd name="connsiteY68" fmla="*/ 4259503 h 6305184"/>
              <a:gd name="connsiteX69" fmla="*/ 5613684 w 8636594"/>
              <a:gd name="connsiteY69" fmla="*/ 4187441 h 6305184"/>
              <a:gd name="connsiteX70" fmla="*/ 5685160 w 8636594"/>
              <a:gd name="connsiteY70" fmla="*/ 4078531 h 6305184"/>
              <a:gd name="connsiteX71" fmla="*/ 5756074 w 8636594"/>
              <a:gd name="connsiteY71" fmla="*/ 3968727 h 6305184"/>
              <a:gd name="connsiteX72" fmla="*/ 5873483 w 8636594"/>
              <a:gd name="connsiteY72" fmla="*/ 3783989 h 6305184"/>
              <a:gd name="connsiteX73" fmla="*/ 6203209 w 8636594"/>
              <a:gd name="connsiteY73" fmla="*/ 3258640 h 6305184"/>
              <a:gd name="connsiteX74" fmla="*/ 6299430 w 8636594"/>
              <a:gd name="connsiteY74" fmla="*/ 3107321 h 6305184"/>
              <a:gd name="connsiteX75" fmla="*/ 6372650 w 8636594"/>
              <a:gd name="connsiteY75" fmla="*/ 2993735 h 6305184"/>
              <a:gd name="connsiteX76" fmla="*/ 6453197 w 8636594"/>
              <a:gd name="connsiteY76" fmla="*/ 2869788 h 6305184"/>
              <a:gd name="connsiteX77" fmla="*/ 6564167 w 8636594"/>
              <a:gd name="connsiteY77" fmla="*/ 2696807 h 6305184"/>
              <a:gd name="connsiteX78" fmla="*/ 6976233 w 8636594"/>
              <a:gd name="connsiteY78" fmla="*/ 2045274 h 6305184"/>
              <a:gd name="connsiteX79" fmla="*/ 7086755 w 8636594"/>
              <a:gd name="connsiteY79" fmla="*/ 1872743 h 6305184"/>
              <a:gd name="connsiteX80" fmla="*/ 7170279 w 8636594"/>
              <a:gd name="connsiteY80" fmla="*/ 1744202 h 6305184"/>
              <a:gd name="connsiteX81" fmla="*/ 7226351 w 8636594"/>
              <a:gd name="connsiteY81" fmla="*/ 1659017 h 6305184"/>
              <a:gd name="connsiteX82" fmla="*/ 7282789 w 8636594"/>
              <a:gd name="connsiteY82" fmla="*/ 1574303 h 6305184"/>
              <a:gd name="connsiteX83" fmla="*/ 7339643 w 8636594"/>
              <a:gd name="connsiteY83" fmla="*/ 1490113 h 6305184"/>
              <a:gd name="connsiteX84" fmla="*/ 7396957 w 8636594"/>
              <a:gd name="connsiteY84" fmla="*/ 1406503 h 6305184"/>
              <a:gd name="connsiteX85" fmla="*/ 7454781 w 8636594"/>
              <a:gd name="connsiteY85" fmla="*/ 1323526 h 6305184"/>
              <a:gd name="connsiteX86" fmla="*/ 7513161 w 8636594"/>
              <a:gd name="connsiteY86" fmla="*/ 1241237 h 6305184"/>
              <a:gd name="connsiteX87" fmla="*/ 7572144 w 8636594"/>
              <a:gd name="connsiteY87" fmla="*/ 1159689 h 6305184"/>
              <a:gd name="connsiteX88" fmla="*/ 7601877 w 8636594"/>
              <a:gd name="connsiteY88" fmla="*/ 1119210 h 6305184"/>
              <a:gd name="connsiteX89" fmla="*/ 7631779 w 8636594"/>
              <a:gd name="connsiteY89" fmla="*/ 1078937 h 6305184"/>
              <a:gd name="connsiteX90" fmla="*/ 7661855 w 8636594"/>
              <a:gd name="connsiteY90" fmla="*/ 1038876 h 6305184"/>
              <a:gd name="connsiteX91" fmla="*/ 7692111 w 8636594"/>
              <a:gd name="connsiteY91" fmla="*/ 999035 h 6305184"/>
              <a:gd name="connsiteX92" fmla="*/ 7722554 w 8636594"/>
              <a:gd name="connsiteY92" fmla="*/ 959419 h 6305184"/>
              <a:gd name="connsiteX93" fmla="*/ 7753190 w 8636594"/>
              <a:gd name="connsiteY93" fmla="*/ 920037 h 6305184"/>
              <a:gd name="connsiteX94" fmla="*/ 7784023 w 8636594"/>
              <a:gd name="connsiteY94" fmla="*/ 880894 h 6305184"/>
              <a:gd name="connsiteX95" fmla="*/ 7815061 w 8636594"/>
              <a:gd name="connsiteY95" fmla="*/ 841997 h 6305184"/>
              <a:gd name="connsiteX96" fmla="*/ 7846308 w 8636594"/>
              <a:gd name="connsiteY96" fmla="*/ 803354 h 6305184"/>
              <a:gd name="connsiteX97" fmla="*/ 7877772 w 8636594"/>
              <a:gd name="connsiteY97" fmla="*/ 764970 h 6305184"/>
              <a:gd name="connsiteX98" fmla="*/ 7909458 w 8636594"/>
              <a:gd name="connsiteY98" fmla="*/ 726853 h 6305184"/>
              <a:gd name="connsiteX99" fmla="*/ 7941371 w 8636594"/>
              <a:gd name="connsiteY99" fmla="*/ 689010 h 6305184"/>
              <a:gd name="connsiteX100" fmla="*/ 7973518 w 8636594"/>
              <a:gd name="connsiteY100" fmla="*/ 651447 h 6305184"/>
              <a:gd name="connsiteX101" fmla="*/ 8005905 w 8636594"/>
              <a:gd name="connsiteY101" fmla="*/ 614171 h 6305184"/>
              <a:gd name="connsiteX102" fmla="*/ 8038538 w 8636594"/>
              <a:gd name="connsiteY102" fmla="*/ 577189 h 6305184"/>
              <a:gd name="connsiteX103" fmla="*/ 8071421 w 8636594"/>
              <a:gd name="connsiteY103" fmla="*/ 540507 h 6305184"/>
              <a:gd name="connsiteX104" fmla="*/ 8104563 w 8636594"/>
              <a:gd name="connsiteY104" fmla="*/ 504132 h 6305184"/>
              <a:gd name="connsiteX105" fmla="*/ 8137967 w 8636594"/>
              <a:gd name="connsiteY105" fmla="*/ 468072 h 6305184"/>
              <a:gd name="connsiteX106" fmla="*/ 8171641 w 8636594"/>
              <a:gd name="connsiteY106" fmla="*/ 432332 h 6305184"/>
              <a:gd name="connsiteX107" fmla="*/ 8205590 w 8636594"/>
              <a:gd name="connsiteY107" fmla="*/ 396920 h 6305184"/>
              <a:gd name="connsiteX108" fmla="*/ 8239820 w 8636594"/>
              <a:gd name="connsiteY108" fmla="*/ 361843 h 6305184"/>
              <a:gd name="connsiteX109" fmla="*/ 8274337 w 8636594"/>
              <a:gd name="connsiteY109" fmla="*/ 327107 h 6305184"/>
              <a:gd name="connsiteX110" fmla="*/ 8309147 w 8636594"/>
              <a:gd name="connsiteY110" fmla="*/ 292718 h 6305184"/>
              <a:gd name="connsiteX111" fmla="*/ 8344256 w 8636594"/>
              <a:gd name="connsiteY111" fmla="*/ 258685 h 6305184"/>
              <a:gd name="connsiteX112" fmla="*/ 8379669 w 8636594"/>
              <a:gd name="connsiteY112" fmla="*/ 225013 h 6305184"/>
              <a:gd name="connsiteX113" fmla="*/ 8415394 w 8636594"/>
              <a:gd name="connsiteY113" fmla="*/ 191709 h 6305184"/>
              <a:gd name="connsiteX114" fmla="*/ 8451434 w 8636594"/>
              <a:gd name="connsiteY114" fmla="*/ 158780 h 6305184"/>
              <a:gd name="connsiteX115" fmla="*/ 8487798 w 8636594"/>
              <a:gd name="connsiteY115" fmla="*/ 126233 h 6305184"/>
              <a:gd name="connsiteX116" fmla="*/ 8524489 w 8636594"/>
              <a:gd name="connsiteY116" fmla="*/ 94075 h 6305184"/>
              <a:gd name="connsiteX117" fmla="*/ 8561515 w 8636594"/>
              <a:gd name="connsiteY117" fmla="*/ 62312 h 6305184"/>
              <a:gd name="connsiteX118" fmla="*/ 8598881 w 8636594"/>
              <a:gd name="connsiteY118" fmla="*/ 30951 h 6305184"/>
              <a:gd name="connsiteX119" fmla="*/ 8636594 w 8636594"/>
              <a:gd name="connsiteY119" fmla="*/ 0 h 6305184"/>
              <a:gd name="connsiteX0" fmla="*/ 8636594 w 8636594"/>
              <a:gd name="connsiteY0" fmla="*/ 0 h 6286245"/>
              <a:gd name="connsiteX1" fmla="*/ 5293 w 8636594"/>
              <a:gd name="connsiteY1" fmla="*/ 0 h 6286245"/>
              <a:gd name="connsiteX2" fmla="*/ 0 w 8636594"/>
              <a:gd name="connsiteY2" fmla="*/ 5587843 h 6286245"/>
              <a:gd name="connsiteX3" fmla="*/ 1594033 w 8636594"/>
              <a:gd name="connsiteY3" fmla="*/ 5600057 h 6286245"/>
              <a:gd name="connsiteX4" fmla="*/ 1686068 w 8636594"/>
              <a:gd name="connsiteY4" fmla="*/ 5599745 h 6286245"/>
              <a:gd name="connsiteX5" fmla="*/ 3285021 w 8636594"/>
              <a:gd name="connsiteY5" fmla="*/ 6286245 h 6286245"/>
              <a:gd name="connsiteX6" fmla="*/ 3330977 w 8636594"/>
              <a:gd name="connsiteY6" fmla="*/ 6266942 h 6286245"/>
              <a:gd name="connsiteX7" fmla="*/ 3376401 w 8636594"/>
              <a:gd name="connsiteY7" fmla="*/ 6247281 h 6286245"/>
              <a:gd name="connsiteX8" fmla="*/ 3421300 w 8636594"/>
              <a:gd name="connsiteY8" fmla="*/ 6227263 h 6286245"/>
              <a:gd name="connsiteX9" fmla="*/ 3465680 w 8636594"/>
              <a:gd name="connsiteY9" fmla="*/ 6206893 h 6286245"/>
              <a:gd name="connsiteX10" fmla="*/ 3509548 w 8636594"/>
              <a:gd name="connsiteY10" fmla="*/ 6186174 h 6286245"/>
              <a:gd name="connsiteX11" fmla="*/ 3552910 w 8636594"/>
              <a:gd name="connsiteY11" fmla="*/ 6165110 h 6286245"/>
              <a:gd name="connsiteX12" fmla="*/ 3595773 w 8636594"/>
              <a:gd name="connsiteY12" fmla="*/ 6143704 h 6286245"/>
              <a:gd name="connsiteX13" fmla="*/ 3638142 w 8636594"/>
              <a:gd name="connsiteY13" fmla="*/ 6121960 h 6286245"/>
              <a:gd name="connsiteX14" fmla="*/ 3680024 w 8636594"/>
              <a:gd name="connsiteY14" fmla="*/ 6099881 h 6286245"/>
              <a:gd name="connsiteX15" fmla="*/ 3721426 w 8636594"/>
              <a:gd name="connsiteY15" fmla="*/ 6077471 h 6286245"/>
              <a:gd name="connsiteX16" fmla="*/ 3762353 w 8636594"/>
              <a:gd name="connsiteY16" fmla="*/ 6054733 h 6286245"/>
              <a:gd name="connsiteX17" fmla="*/ 3802812 w 8636594"/>
              <a:gd name="connsiteY17" fmla="*/ 6031671 h 6286245"/>
              <a:gd name="connsiteX18" fmla="*/ 3842810 w 8636594"/>
              <a:gd name="connsiteY18" fmla="*/ 6008288 h 6286245"/>
              <a:gd name="connsiteX19" fmla="*/ 3882352 w 8636594"/>
              <a:gd name="connsiteY19" fmla="*/ 5984588 h 6286245"/>
              <a:gd name="connsiteX20" fmla="*/ 3921445 w 8636594"/>
              <a:gd name="connsiteY20" fmla="*/ 5960574 h 6286245"/>
              <a:gd name="connsiteX21" fmla="*/ 3960096 w 8636594"/>
              <a:gd name="connsiteY21" fmla="*/ 5936250 h 6286245"/>
              <a:gd name="connsiteX22" fmla="*/ 3998311 w 8636594"/>
              <a:gd name="connsiteY22" fmla="*/ 5911619 h 6286245"/>
              <a:gd name="connsiteX23" fmla="*/ 4036095 w 8636594"/>
              <a:gd name="connsiteY23" fmla="*/ 5886685 h 6286245"/>
              <a:gd name="connsiteX24" fmla="*/ 4073456 w 8636594"/>
              <a:gd name="connsiteY24" fmla="*/ 5861452 h 6286245"/>
              <a:gd name="connsiteX25" fmla="*/ 4110400 w 8636594"/>
              <a:gd name="connsiteY25" fmla="*/ 5835922 h 6286245"/>
              <a:gd name="connsiteX26" fmla="*/ 4146933 w 8636594"/>
              <a:gd name="connsiteY26" fmla="*/ 5810100 h 6286245"/>
              <a:gd name="connsiteX27" fmla="*/ 4183061 w 8636594"/>
              <a:gd name="connsiteY27" fmla="*/ 5783988 h 6286245"/>
              <a:gd name="connsiteX28" fmla="*/ 4218791 w 8636594"/>
              <a:gd name="connsiteY28" fmla="*/ 5757591 h 6286245"/>
              <a:gd name="connsiteX29" fmla="*/ 4254129 w 8636594"/>
              <a:gd name="connsiteY29" fmla="*/ 5730912 h 6286245"/>
              <a:gd name="connsiteX30" fmla="*/ 4289081 w 8636594"/>
              <a:gd name="connsiteY30" fmla="*/ 5703955 h 6286245"/>
              <a:gd name="connsiteX31" fmla="*/ 4323654 w 8636594"/>
              <a:gd name="connsiteY31" fmla="*/ 5676722 h 6286245"/>
              <a:gd name="connsiteX32" fmla="*/ 4357854 w 8636594"/>
              <a:gd name="connsiteY32" fmla="*/ 5649218 h 6286245"/>
              <a:gd name="connsiteX33" fmla="*/ 4391688 w 8636594"/>
              <a:gd name="connsiteY33" fmla="*/ 5621446 h 6286245"/>
              <a:gd name="connsiteX34" fmla="*/ 4425162 w 8636594"/>
              <a:gd name="connsiteY34" fmla="*/ 5593409 h 6286245"/>
              <a:gd name="connsiteX35" fmla="*/ 4458281 w 8636594"/>
              <a:gd name="connsiteY35" fmla="*/ 5565111 h 6286245"/>
              <a:gd name="connsiteX36" fmla="*/ 4491053 w 8636594"/>
              <a:gd name="connsiteY36" fmla="*/ 5536556 h 6286245"/>
              <a:gd name="connsiteX37" fmla="*/ 4523484 w 8636594"/>
              <a:gd name="connsiteY37" fmla="*/ 5507747 h 6286245"/>
              <a:gd name="connsiteX38" fmla="*/ 4555580 w 8636594"/>
              <a:gd name="connsiteY38" fmla="*/ 5478687 h 6286245"/>
              <a:gd name="connsiteX39" fmla="*/ 4587347 w 8636594"/>
              <a:gd name="connsiteY39" fmla="*/ 5449380 h 6286245"/>
              <a:gd name="connsiteX40" fmla="*/ 4618793 w 8636594"/>
              <a:gd name="connsiteY40" fmla="*/ 5419830 h 6286245"/>
              <a:gd name="connsiteX41" fmla="*/ 4649922 w 8636594"/>
              <a:gd name="connsiteY41" fmla="*/ 5390040 h 6286245"/>
              <a:gd name="connsiteX42" fmla="*/ 4680742 w 8636594"/>
              <a:gd name="connsiteY42" fmla="*/ 5360014 h 6286245"/>
              <a:gd name="connsiteX43" fmla="*/ 4711259 w 8636594"/>
              <a:gd name="connsiteY43" fmla="*/ 5329755 h 6286245"/>
              <a:gd name="connsiteX44" fmla="*/ 4741478 w 8636594"/>
              <a:gd name="connsiteY44" fmla="*/ 5299266 h 6286245"/>
              <a:gd name="connsiteX45" fmla="*/ 4771408 w 8636594"/>
              <a:gd name="connsiteY45" fmla="*/ 5268551 h 6286245"/>
              <a:gd name="connsiteX46" fmla="*/ 4801053 w 8636594"/>
              <a:gd name="connsiteY46" fmla="*/ 5237614 h 6286245"/>
              <a:gd name="connsiteX47" fmla="*/ 4830420 w 8636594"/>
              <a:gd name="connsiteY47" fmla="*/ 5206458 h 6286245"/>
              <a:gd name="connsiteX48" fmla="*/ 4859516 w 8636594"/>
              <a:gd name="connsiteY48" fmla="*/ 5175087 h 6286245"/>
              <a:gd name="connsiteX49" fmla="*/ 4888347 w 8636594"/>
              <a:gd name="connsiteY49" fmla="*/ 5143504 h 6286245"/>
              <a:gd name="connsiteX50" fmla="*/ 4916919 w 8636594"/>
              <a:gd name="connsiteY50" fmla="*/ 5111713 h 6286245"/>
              <a:gd name="connsiteX51" fmla="*/ 4945238 w 8636594"/>
              <a:gd name="connsiteY51" fmla="*/ 5079717 h 6286245"/>
              <a:gd name="connsiteX52" fmla="*/ 4973311 w 8636594"/>
              <a:gd name="connsiteY52" fmla="*/ 5047519 h 6286245"/>
              <a:gd name="connsiteX53" fmla="*/ 5001145 w 8636594"/>
              <a:gd name="connsiteY53" fmla="*/ 5015124 h 6286245"/>
              <a:gd name="connsiteX54" fmla="*/ 5028745 w 8636594"/>
              <a:gd name="connsiteY54" fmla="*/ 4982535 h 6286245"/>
              <a:gd name="connsiteX55" fmla="*/ 5056117 w 8636594"/>
              <a:gd name="connsiteY55" fmla="*/ 4949755 h 6286245"/>
              <a:gd name="connsiteX56" fmla="*/ 5083269 w 8636594"/>
              <a:gd name="connsiteY56" fmla="*/ 4916787 h 6286245"/>
              <a:gd name="connsiteX57" fmla="*/ 5110207 w 8636594"/>
              <a:gd name="connsiteY57" fmla="*/ 4883636 h 6286245"/>
              <a:gd name="connsiteX58" fmla="*/ 5136937 w 8636594"/>
              <a:gd name="connsiteY58" fmla="*/ 4850305 h 6286245"/>
              <a:gd name="connsiteX59" fmla="*/ 5163464 w 8636594"/>
              <a:gd name="connsiteY59" fmla="*/ 4816797 h 6286245"/>
              <a:gd name="connsiteX60" fmla="*/ 5215940 w 8636594"/>
              <a:gd name="connsiteY60" fmla="*/ 4749265 h 6286245"/>
              <a:gd name="connsiteX61" fmla="*/ 5267684 w 8636594"/>
              <a:gd name="connsiteY61" fmla="*/ 4681068 h 6286245"/>
              <a:gd name="connsiteX62" fmla="*/ 5318748 w 8636594"/>
              <a:gd name="connsiteY62" fmla="*/ 4612234 h 6286245"/>
              <a:gd name="connsiteX63" fmla="*/ 5369182 w 8636594"/>
              <a:gd name="connsiteY63" fmla="*/ 4542793 h 6286245"/>
              <a:gd name="connsiteX64" fmla="*/ 5419038 w 8636594"/>
              <a:gd name="connsiteY64" fmla="*/ 4472771 h 6286245"/>
              <a:gd name="connsiteX65" fmla="*/ 5468365 w 8636594"/>
              <a:gd name="connsiteY65" fmla="*/ 4402196 h 6286245"/>
              <a:gd name="connsiteX66" fmla="*/ 5517215 w 8636594"/>
              <a:gd name="connsiteY66" fmla="*/ 4331098 h 6286245"/>
              <a:gd name="connsiteX67" fmla="*/ 5565637 w 8636594"/>
              <a:gd name="connsiteY67" fmla="*/ 4259503 h 6286245"/>
              <a:gd name="connsiteX68" fmla="*/ 5613684 w 8636594"/>
              <a:gd name="connsiteY68" fmla="*/ 4187441 h 6286245"/>
              <a:gd name="connsiteX69" fmla="*/ 5685160 w 8636594"/>
              <a:gd name="connsiteY69" fmla="*/ 4078531 h 6286245"/>
              <a:gd name="connsiteX70" fmla="*/ 5756074 w 8636594"/>
              <a:gd name="connsiteY70" fmla="*/ 3968727 h 6286245"/>
              <a:gd name="connsiteX71" fmla="*/ 5873483 w 8636594"/>
              <a:gd name="connsiteY71" fmla="*/ 3783989 h 6286245"/>
              <a:gd name="connsiteX72" fmla="*/ 6203209 w 8636594"/>
              <a:gd name="connsiteY72" fmla="*/ 3258640 h 6286245"/>
              <a:gd name="connsiteX73" fmla="*/ 6299430 w 8636594"/>
              <a:gd name="connsiteY73" fmla="*/ 3107321 h 6286245"/>
              <a:gd name="connsiteX74" fmla="*/ 6372650 w 8636594"/>
              <a:gd name="connsiteY74" fmla="*/ 2993735 h 6286245"/>
              <a:gd name="connsiteX75" fmla="*/ 6453197 w 8636594"/>
              <a:gd name="connsiteY75" fmla="*/ 2869788 h 6286245"/>
              <a:gd name="connsiteX76" fmla="*/ 6564167 w 8636594"/>
              <a:gd name="connsiteY76" fmla="*/ 2696807 h 6286245"/>
              <a:gd name="connsiteX77" fmla="*/ 6976233 w 8636594"/>
              <a:gd name="connsiteY77" fmla="*/ 2045274 h 6286245"/>
              <a:gd name="connsiteX78" fmla="*/ 7086755 w 8636594"/>
              <a:gd name="connsiteY78" fmla="*/ 1872743 h 6286245"/>
              <a:gd name="connsiteX79" fmla="*/ 7170279 w 8636594"/>
              <a:gd name="connsiteY79" fmla="*/ 1744202 h 6286245"/>
              <a:gd name="connsiteX80" fmla="*/ 7226351 w 8636594"/>
              <a:gd name="connsiteY80" fmla="*/ 1659017 h 6286245"/>
              <a:gd name="connsiteX81" fmla="*/ 7282789 w 8636594"/>
              <a:gd name="connsiteY81" fmla="*/ 1574303 h 6286245"/>
              <a:gd name="connsiteX82" fmla="*/ 7339643 w 8636594"/>
              <a:gd name="connsiteY82" fmla="*/ 1490113 h 6286245"/>
              <a:gd name="connsiteX83" fmla="*/ 7396957 w 8636594"/>
              <a:gd name="connsiteY83" fmla="*/ 1406503 h 6286245"/>
              <a:gd name="connsiteX84" fmla="*/ 7454781 w 8636594"/>
              <a:gd name="connsiteY84" fmla="*/ 1323526 h 6286245"/>
              <a:gd name="connsiteX85" fmla="*/ 7513161 w 8636594"/>
              <a:gd name="connsiteY85" fmla="*/ 1241237 h 6286245"/>
              <a:gd name="connsiteX86" fmla="*/ 7572144 w 8636594"/>
              <a:gd name="connsiteY86" fmla="*/ 1159689 h 6286245"/>
              <a:gd name="connsiteX87" fmla="*/ 7601877 w 8636594"/>
              <a:gd name="connsiteY87" fmla="*/ 1119210 h 6286245"/>
              <a:gd name="connsiteX88" fmla="*/ 7631779 w 8636594"/>
              <a:gd name="connsiteY88" fmla="*/ 1078937 h 6286245"/>
              <a:gd name="connsiteX89" fmla="*/ 7661855 w 8636594"/>
              <a:gd name="connsiteY89" fmla="*/ 1038876 h 6286245"/>
              <a:gd name="connsiteX90" fmla="*/ 7692111 w 8636594"/>
              <a:gd name="connsiteY90" fmla="*/ 999035 h 6286245"/>
              <a:gd name="connsiteX91" fmla="*/ 7722554 w 8636594"/>
              <a:gd name="connsiteY91" fmla="*/ 959419 h 6286245"/>
              <a:gd name="connsiteX92" fmla="*/ 7753190 w 8636594"/>
              <a:gd name="connsiteY92" fmla="*/ 920037 h 6286245"/>
              <a:gd name="connsiteX93" fmla="*/ 7784023 w 8636594"/>
              <a:gd name="connsiteY93" fmla="*/ 880894 h 6286245"/>
              <a:gd name="connsiteX94" fmla="*/ 7815061 w 8636594"/>
              <a:gd name="connsiteY94" fmla="*/ 841997 h 6286245"/>
              <a:gd name="connsiteX95" fmla="*/ 7846308 w 8636594"/>
              <a:gd name="connsiteY95" fmla="*/ 803354 h 6286245"/>
              <a:gd name="connsiteX96" fmla="*/ 7877772 w 8636594"/>
              <a:gd name="connsiteY96" fmla="*/ 764970 h 6286245"/>
              <a:gd name="connsiteX97" fmla="*/ 7909458 w 8636594"/>
              <a:gd name="connsiteY97" fmla="*/ 726853 h 6286245"/>
              <a:gd name="connsiteX98" fmla="*/ 7941371 w 8636594"/>
              <a:gd name="connsiteY98" fmla="*/ 689010 h 6286245"/>
              <a:gd name="connsiteX99" fmla="*/ 7973518 w 8636594"/>
              <a:gd name="connsiteY99" fmla="*/ 651447 h 6286245"/>
              <a:gd name="connsiteX100" fmla="*/ 8005905 w 8636594"/>
              <a:gd name="connsiteY100" fmla="*/ 614171 h 6286245"/>
              <a:gd name="connsiteX101" fmla="*/ 8038538 w 8636594"/>
              <a:gd name="connsiteY101" fmla="*/ 577189 h 6286245"/>
              <a:gd name="connsiteX102" fmla="*/ 8071421 w 8636594"/>
              <a:gd name="connsiteY102" fmla="*/ 540507 h 6286245"/>
              <a:gd name="connsiteX103" fmla="*/ 8104563 w 8636594"/>
              <a:gd name="connsiteY103" fmla="*/ 504132 h 6286245"/>
              <a:gd name="connsiteX104" fmla="*/ 8137967 w 8636594"/>
              <a:gd name="connsiteY104" fmla="*/ 468072 h 6286245"/>
              <a:gd name="connsiteX105" fmla="*/ 8171641 w 8636594"/>
              <a:gd name="connsiteY105" fmla="*/ 432332 h 6286245"/>
              <a:gd name="connsiteX106" fmla="*/ 8205590 w 8636594"/>
              <a:gd name="connsiteY106" fmla="*/ 396920 h 6286245"/>
              <a:gd name="connsiteX107" fmla="*/ 8239820 w 8636594"/>
              <a:gd name="connsiteY107" fmla="*/ 361843 h 6286245"/>
              <a:gd name="connsiteX108" fmla="*/ 8274337 w 8636594"/>
              <a:gd name="connsiteY108" fmla="*/ 327107 h 6286245"/>
              <a:gd name="connsiteX109" fmla="*/ 8309147 w 8636594"/>
              <a:gd name="connsiteY109" fmla="*/ 292718 h 6286245"/>
              <a:gd name="connsiteX110" fmla="*/ 8344256 w 8636594"/>
              <a:gd name="connsiteY110" fmla="*/ 258685 h 6286245"/>
              <a:gd name="connsiteX111" fmla="*/ 8379669 w 8636594"/>
              <a:gd name="connsiteY111" fmla="*/ 225013 h 6286245"/>
              <a:gd name="connsiteX112" fmla="*/ 8415394 w 8636594"/>
              <a:gd name="connsiteY112" fmla="*/ 191709 h 6286245"/>
              <a:gd name="connsiteX113" fmla="*/ 8451434 w 8636594"/>
              <a:gd name="connsiteY113" fmla="*/ 158780 h 6286245"/>
              <a:gd name="connsiteX114" fmla="*/ 8487798 w 8636594"/>
              <a:gd name="connsiteY114" fmla="*/ 126233 h 6286245"/>
              <a:gd name="connsiteX115" fmla="*/ 8524489 w 8636594"/>
              <a:gd name="connsiteY115" fmla="*/ 94075 h 6286245"/>
              <a:gd name="connsiteX116" fmla="*/ 8561515 w 8636594"/>
              <a:gd name="connsiteY116" fmla="*/ 62312 h 6286245"/>
              <a:gd name="connsiteX117" fmla="*/ 8598881 w 8636594"/>
              <a:gd name="connsiteY117" fmla="*/ 30951 h 6286245"/>
              <a:gd name="connsiteX118" fmla="*/ 8636594 w 8636594"/>
              <a:gd name="connsiteY118" fmla="*/ 0 h 6286245"/>
              <a:gd name="connsiteX0" fmla="*/ 8636594 w 8636594"/>
              <a:gd name="connsiteY0" fmla="*/ 0 h 6266942"/>
              <a:gd name="connsiteX1" fmla="*/ 5293 w 8636594"/>
              <a:gd name="connsiteY1" fmla="*/ 0 h 6266942"/>
              <a:gd name="connsiteX2" fmla="*/ 0 w 8636594"/>
              <a:gd name="connsiteY2" fmla="*/ 5587843 h 6266942"/>
              <a:gd name="connsiteX3" fmla="*/ 1594033 w 8636594"/>
              <a:gd name="connsiteY3" fmla="*/ 5600057 h 6266942"/>
              <a:gd name="connsiteX4" fmla="*/ 1686068 w 8636594"/>
              <a:gd name="connsiteY4" fmla="*/ 5599745 h 6266942"/>
              <a:gd name="connsiteX5" fmla="*/ 3330977 w 8636594"/>
              <a:gd name="connsiteY5" fmla="*/ 6266942 h 6266942"/>
              <a:gd name="connsiteX6" fmla="*/ 3376401 w 8636594"/>
              <a:gd name="connsiteY6" fmla="*/ 6247281 h 6266942"/>
              <a:gd name="connsiteX7" fmla="*/ 3421300 w 8636594"/>
              <a:gd name="connsiteY7" fmla="*/ 6227263 h 6266942"/>
              <a:gd name="connsiteX8" fmla="*/ 3465680 w 8636594"/>
              <a:gd name="connsiteY8" fmla="*/ 6206893 h 6266942"/>
              <a:gd name="connsiteX9" fmla="*/ 3509548 w 8636594"/>
              <a:gd name="connsiteY9" fmla="*/ 6186174 h 6266942"/>
              <a:gd name="connsiteX10" fmla="*/ 3552910 w 8636594"/>
              <a:gd name="connsiteY10" fmla="*/ 6165110 h 6266942"/>
              <a:gd name="connsiteX11" fmla="*/ 3595773 w 8636594"/>
              <a:gd name="connsiteY11" fmla="*/ 6143704 h 6266942"/>
              <a:gd name="connsiteX12" fmla="*/ 3638142 w 8636594"/>
              <a:gd name="connsiteY12" fmla="*/ 6121960 h 6266942"/>
              <a:gd name="connsiteX13" fmla="*/ 3680024 w 8636594"/>
              <a:gd name="connsiteY13" fmla="*/ 6099881 h 6266942"/>
              <a:gd name="connsiteX14" fmla="*/ 3721426 w 8636594"/>
              <a:gd name="connsiteY14" fmla="*/ 6077471 h 6266942"/>
              <a:gd name="connsiteX15" fmla="*/ 3762353 w 8636594"/>
              <a:gd name="connsiteY15" fmla="*/ 6054733 h 6266942"/>
              <a:gd name="connsiteX16" fmla="*/ 3802812 w 8636594"/>
              <a:gd name="connsiteY16" fmla="*/ 6031671 h 6266942"/>
              <a:gd name="connsiteX17" fmla="*/ 3842810 w 8636594"/>
              <a:gd name="connsiteY17" fmla="*/ 6008288 h 6266942"/>
              <a:gd name="connsiteX18" fmla="*/ 3882352 w 8636594"/>
              <a:gd name="connsiteY18" fmla="*/ 5984588 h 6266942"/>
              <a:gd name="connsiteX19" fmla="*/ 3921445 w 8636594"/>
              <a:gd name="connsiteY19" fmla="*/ 5960574 h 6266942"/>
              <a:gd name="connsiteX20" fmla="*/ 3960096 w 8636594"/>
              <a:gd name="connsiteY20" fmla="*/ 5936250 h 6266942"/>
              <a:gd name="connsiteX21" fmla="*/ 3998311 w 8636594"/>
              <a:gd name="connsiteY21" fmla="*/ 5911619 h 6266942"/>
              <a:gd name="connsiteX22" fmla="*/ 4036095 w 8636594"/>
              <a:gd name="connsiteY22" fmla="*/ 5886685 h 6266942"/>
              <a:gd name="connsiteX23" fmla="*/ 4073456 w 8636594"/>
              <a:gd name="connsiteY23" fmla="*/ 5861452 h 6266942"/>
              <a:gd name="connsiteX24" fmla="*/ 4110400 w 8636594"/>
              <a:gd name="connsiteY24" fmla="*/ 5835922 h 6266942"/>
              <a:gd name="connsiteX25" fmla="*/ 4146933 w 8636594"/>
              <a:gd name="connsiteY25" fmla="*/ 5810100 h 6266942"/>
              <a:gd name="connsiteX26" fmla="*/ 4183061 w 8636594"/>
              <a:gd name="connsiteY26" fmla="*/ 5783988 h 6266942"/>
              <a:gd name="connsiteX27" fmla="*/ 4218791 w 8636594"/>
              <a:gd name="connsiteY27" fmla="*/ 5757591 h 6266942"/>
              <a:gd name="connsiteX28" fmla="*/ 4254129 w 8636594"/>
              <a:gd name="connsiteY28" fmla="*/ 5730912 h 6266942"/>
              <a:gd name="connsiteX29" fmla="*/ 4289081 w 8636594"/>
              <a:gd name="connsiteY29" fmla="*/ 5703955 h 6266942"/>
              <a:gd name="connsiteX30" fmla="*/ 4323654 w 8636594"/>
              <a:gd name="connsiteY30" fmla="*/ 5676722 h 6266942"/>
              <a:gd name="connsiteX31" fmla="*/ 4357854 w 8636594"/>
              <a:gd name="connsiteY31" fmla="*/ 5649218 h 6266942"/>
              <a:gd name="connsiteX32" fmla="*/ 4391688 w 8636594"/>
              <a:gd name="connsiteY32" fmla="*/ 5621446 h 6266942"/>
              <a:gd name="connsiteX33" fmla="*/ 4425162 w 8636594"/>
              <a:gd name="connsiteY33" fmla="*/ 5593409 h 6266942"/>
              <a:gd name="connsiteX34" fmla="*/ 4458281 w 8636594"/>
              <a:gd name="connsiteY34" fmla="*/ 5565111 h 6266942"/>
              <a:gd name="connsiteX35" fmla="*/ 4491053 w 8636594"/>
              <a:gd name="connsiteY35" fmla="*/ 5536556 h 6266942"/>
              <a:gd name="connsiteX36" fmla="*/ 4523484 w 8636594"/>
              <a:gd name="connsiteY36" fmla="*/ 5507747 h 6266942"/>
              <a:gd name="connsiteX37" fmla="*/ 4555580 w 8636594"/>
              <a:gd name="connsiteY37" fmla="*/ 5478687 h 6266942"/>
              <a:gd name="connsiteX38" fmla="*/ 4587347 w 8636594"/>
              <a:gd name="connsiteY38" fmla="*/ 5449380 h 6266942"/>
              <a:gd name="connsiteX39" fmla="*/ 4618793 w 8636594"/>
              <a:gd name="connsiteY39" fmla="*/ 5419830 h 6266942"/>
              <a:gd name="connsiteX40" fmla="*/ 4649922 w 8636594"/>
              <a:gd name="connsiteY40" fmla="*/ 5390040 h 6266942"/>
              <a:gd name="connsiteX41" fmla="*/ 4680742 w 8636594"/>
              <a:gd name="connsiteY41" fmla="*/ 5360014 h 6266942"/>
              <a:gd name="connsiteX42" fmla="*/ 4711259 w 8636594"/>
              <a:gd name="connsiteY42" fmla="*/ 5329755 h 6266942"/>
              <a:gd name="connsiteX43" fmla="*/ 4741478 w 8636594"/>
              <a:gd name="connsiteY43" fmla="*/ 5299266 h 6266942"/>
              <a:gd name="connsiteX44" fmla="*/ 4771408 w 8636594"/>
              <a:gd name="connsiteY44" fmla="*/ 5268551 h 6266942"/>
              <a:gd name="connsiteX45" fmla="*/ 4801053 w 8636594"/>
              <a:gd name="connsiteY45" fmla="*/ 5237614 h 6266942"/>
              <a:gd name="connsiteX46" fmla="*/ 4830420 w 8636594"/>
              <a:gd name="connsiteY46" fmla="*/ 5206458 h 6266942"/>
              <a:gd name="connsiteX47" fmla="*/ 4859516 w 8636594"/>
              <a:gd name="connsiteY47" fmla="*/ 5175087 h 6266942"/>
              <a:gd name="connsiteX48" fmla="*/ 4888347 w 8636594"/>
              <a:gd name="connsiteY48" fmla="*/ 5143504 h 6266942"/>
              <a:gd name="connsiteX49" fmla="*/ 4916919 w 8636594"/>
              <a:gd name="connsiteY49" fmla="*/ 5111713 h 6266942"/>
              <a:gd name="connsiteX50" fmla="*/ 4945238 w 8636594"/>
              <a:gd name="connsiteY50" fmla="*/ 5079717 h 6266942"/>
              <a:gd name="connsiteX51" fmla="*/ 4973311 w 8636594"/>
              <a:gd name="connsiteY51" fmla="*/ 5047519 h 6266942"/>
              <a:gd name="connsiteX52" fmla="*/ 5001145 w 8636594"/>
              <a:gd name="connsiteY52" fmla="*/ 5015124 h 6266942"/>
              <a:gd name="connsiteX53" fmla="*/ 5028745 w 8636594"/>
              <a:gd name="connsiteY53" fmla="*/ 4982535 h 6266942"/>
              <a:gd name="connsiteX54" fmla="*/ 5056117 w 8636594"/>
              <a:gd name="connsiteY54" fmla="*/ 4949755 h 6266942"/>
              <a:gd name="connsiteX55" fmla="*/ 5083269 w 8636594"/>
              <a:gd name="connsiteY55" fmla="*/ 4916787 h 6266942"/>
              <a:gd name="connsiteX56" fmla="*/ 5110207 w 8636594"/>
              <a:gd name="connsiteY56" fmla="*/ 4883636 h 6266942"/>
              <a:gd name="connsiteX57" fmla="*/ 5136937 w 8636594"/>
              <a:gd name="connsiteY57" fmla="*/ 4850305 h 6266942"/>
              <a:gd name="connsiteX58" fmla="*/ 5163464 w 8636594"/>
              <a:gd name="connsiteY58" fmla="*/ 4816797 h 6266942"/>
              <a:gd name="connsiteX59" fmla="*/ 5215940 w 8636594"/>
              <a:gd name="connsiteY59" fmla="*/ 4749265 h 6266942"/>
              <a:gd name="connsiteX60" fmla="*/ 5267684 w 8636594"/>
              <a:gd name="connsiteY60" fmla="*/ 4681068 h 6266942"/>
              <a:gd name="connsiteX61" fmla="*/ 5318748 w 8636594"/>
              <a:gd name="connsiteY61" fmla="*/ 4612234 h 6266942"/>
              <a:gd name="connsiteX62" fmla="*/ 5369182 w 8636594"/>
              <a:gd name="connsiteY62" fmla="*/ 4542793 h 6266942"/>
              <a:gd name="connsiteX63" fmla="*/ 5419038 w 8636594"/>
              <a:gd name="connsiteY63" fmla="*/ 4472771 h 6266942"/>
              <a:gd name="connsiteX64" fmla="*/ 5468365 w 8636594"/>
              <a:gd name="connsiteY64" fmla="*/ 4402196 h 6266942"/>
              <a:gd name="connsiteX65" fmla="*/ 5517215 w 8636594"/>
              <a:gd name="connsiteY65" fmla="*/ 4331098 h 6266942"/>
              <a:gd name="connsiteX66" fmla="*/ 5565637 w 8636594"/>
              <a:gd name="connsiteY66" fmla="*/ 4259503 h 6266942"/>
              <a:gd name="connsiteX67" fmla="*/ 5613684 w 8636594"/>
              <a:gd name="connsiteY67" fmla="*/ 4187441 h 6266942"/>
              <a:gd name="connsiteX68" fmla="*/ 5685160 w 8636594"/>
              <a:gd name="connsiteY68" fmla="*/ 4078531 h 6266942"/>
              <a:gd name="connsiteX69" fmla="*/ 5756074 w 8636594"/>
              <a:gd name="connsiteY69" fmla="*/ 3968727 h 6266942"/>
              <a:gd name="connsiteX70" fmla="*/ 5873483 w 8636594"/>
              <a:gd name="connsiteY70" fmla="*/ 3783989 h 6266942"/>
              <a:gd name="connsiteX71" fmla="*/ 6203209 w 8636594"/>
              <a:gd name="connsiteY71" fmla="*/ 3258640 h 6266942"/>
              <a:gd name="connsiteX72" fmla="*/ 6299430 w 8636594"/>
              <a:gd name="connsiteY72" fmla="*/ 3107321 h 6266942"/>
              <a:gd name="connsiteX73" fmla="*/ 6372650 w 8636594"/>
              <a:gd name="connsiteY73" fmla="*/ 2993735 h 6266942"/>
              <a:gd name="connsiteX74" fmla="*/ 6453197 w 8636594"/>
              <a:gd name="connsiteY74" fmla="*/ 2869788 h 6266942"/>
              <a:gd name="connsiteX75" fmla="*/ 6564167 w 8636594"/>
              <a:gd name="connsiteY75" fmla="*/ 2696807 h 6266942"/>
              <a:gd name="connsiteX76" fmla="*/ 6976233 w 8636594"/>
              <a:gd name="connsiteY76" fmla="*/ 2045274 h 6266942"/>
              <a:gd name="connsiteX77" fmla="*/ 7086755 w 8636594"/>
              <a:gd name="connsiteY77" fmla="*/ 1872743 h 6266942"/>
              <a:gd name="connsiteX78" fmla="*/ 7170279 w 8636594"/>
              <a:gd name="connsiteY78" fmla="*/ 1744202 h 6266942"/>
              <a:gd name="connsiteX79" fmla="*/ 7226351 w 8636594"/>
              <a:gd name="connsiteY79" fmla="*/ 1659017 h 6266942"/>
              <a:gd name="connsiteX80" fmla="*/ 7282789 w 8636594"/>
              <a:gd name="connsiteY80" fmla="*/ 1574303 h 6266942"/>
              <a:gd name="connsiteX81" fmla="*/ 7339643 w 8636594"/>
              <a:gd name="connsiteY81" fmla="*/ 1490113 h 6266942"/>
              <a:gd name="connsiteX82" fmla="*/ 7396957 w 8636594"/>
              <a:gd name="connsiteY82" fmla="*/ 1406503 h 6266942"/>
              <a:gd name="connsiteX83" fmla="*/ 7454781 w 8636594"/>
              <a:gd name="connsiteY83" fmla="*/ 1323526 h 6266942"/>
              <a:gd name="connsiteX84" fmla="*/ 7513161 w 8636594"/>
              <a:gd name="connsiteY84" fmla="*/ 1241237 h 6266942"/>
              <a:gd name="connsiteX85" fmla="*/ 7572144 w 8636594"/>
              <a:gd name="connsiteY85" fmla="*/ 1159689 h 6266942"/>
              <a:gd name="connsiteX86" fmla="*/ 7601877 w 8636594"/>
              <a:gd name="connsiteY86" fmla="*/ 1119210 h 6266942"/>
              <a:gd name="connsiteX87" fmla="*/ 7631779 w 8636594"/>
              <a:gd name="connsiteY87" fmla="*/ 1078937 h 6266942"/>
              <a:gd name="connsiteX88" fmla="*/ 7661855 w 8636594"/>
              <a:gd name="connsiteY88" fmla="*/ 1038876 h 6266942"/>
              <a:gd name="connsiteX89" fmla="*/ 7692111 w 8636594"/>
              <a:gd name="connsiteY89" fmla="*/ 999035 h 6266942"/>
              <a:gd name="connsiteX90" fmla="*/ 7722554 w 8636594"/>
              <a:gd name="connsiteY90" fmla="*/ 959419 h 6266942"/>
              <a:gd name="connsiteX91" fmla="*/ 7753190 w 8636594"/>
              <a:gd name="connsiteY91" fmla="*/ 920037 h 6266942"/>
              <a:gd name="connsiteX92" fmla="*/ 7784023 w 8636594"/>
              <a:gd name="connsiteY92" fmla="*/ 880894 h 6266942"/>
              <a:gd name="connsiteX93" fmla="*/ 7815061 w 8636594"/>
              <a:gd name="connsiteY93" fmla="*/ 841997 h 6266942"/>
              <a:gd name="connsiteX94" fmla="*/ 7846308 w 8636594"/>
              <a:gd name="connsiteY94" fmla="*/ 803354 h 6266942"/>
              <a:gd name="connsiteX95" fmla="*/ 7877772 w 8636594"/>
              <a:gd name="connsiteY95" fmla="*/ 764970 h 6266942"/>
              <a:gd name="connsiteX96" fmla="*/ 7909458 w 8636594"/>
              <a:gd name="connsiteY96" fmla="*/ 726853 h 6266942"/>
              <a:gd name="connsiteX97" fmla="*/ 7941371 w 8636594"/>
              <a:gd name="connsiteY97" fmla="*/ 689010 h 6266942"/>
              <a:gd name="connsiteX98" fmla="*/ 7973518 w 8636594"/>
              <a:gd name="connsiteY98" fmla="*/ 651447 h 6266942"/>
              <a:gd name="connsiteX99" fmla="*/ 8005905 w 8636594"/>
              <a:gd name="connsiteY99" fmla="*/ 614171 h 6266942"/>
              <a:gd name="connsiteX100" fmla="*/ 8038538 w 8636594"/>
              <a:gd name="connsiteY100" fmla="*/ 577189 h 6266942"/>
              <a:gd name="connsiteX101" fmla="*/ 8071421 w 8636594"/>
              <a:gd name="connsiteY101" fmla="*/ 540507 h 6266942"/>
              <a:gd name="connsiteX102" fmla="*/ 8104563 w 8636594"/>
              <a:gd name="connsiteY102" fmla="*/ 504132 h 6266942"/>
              <a:gd name="connsiteX103" fmla="*/ 8137967 w 8636594"/>
              <a:gd name="connsiteY103" fmla="*/ 468072 h 6266942"/>
              <a:gd name="connsiteX104" fmla="*/ 8171641 w 8636594"/>
              <a:gd name="connsiteY104" fmla="*/ 432332 h 6266942"/>
              <a:gd name="connsiteX105" fmla="*/ 8205590 w 8636594"/>
              <a:gd name="connsiteY105" fmla="*/ 396920 h 6266942"/>
              <a:gd name="connsiteX106" fmla="*/ 8239820 w 8636594"/>
              <a:gd name="connsiteY106" fmla="*/ 361843 h 6266942"/>
              <a:gd name="connsiteX107" fmla="*/ 8274337 w 8636594"/>
              <a:gd name="connsiteY107" fmla="*/ 327107 h 6266942"/>
              <a:gd name="connsiteX108" fmla="*/ 8309147 w 8636594"/>
              <a:gd name="connsiteY108" fmla="*/ 292718 h 6266942"/>
              <a:gd name="connsiteX109" fmla="*/ 8344256 w 8636594"/>
              <a:gd name="connsiteY109" fmla="*/ 258685 h 6266942"/>
              <a:gd name="connsiteX110" fmla="*/ 8379669 w 8636594"/>
              <a:gd name="connsiteY110" fmla="*/ 225013 h 6266942"/>
              <a:gd name="connsiteX111" fmla="*/ 8415394 w 8636594"/>
              <a:gd name="connsiteY111" fmla="*/ 191709 h 6266942"/>
              <a:gd name="connsiteX112" fmla="*/ 8451434 w 8636594"/>
              <a:gd name="connsiteY112" fmla="*/ 158780 h 6266942"/>
              <a:gd name="connsiteX113" fmla="*/ 8487798 w 8636594"/>
              <a:gd name="connsiteY113" fmla="*/ 126233 h 6266942"/>
              <a:gd name="connsiteX114" fmla="*/ 8524489 w 8636594"/>
              <a:gd name="connsiteY114" fmla="*/ 94075 h 6266942"/>
              <a:gd name="connsiteX115" fmla="*/ 8561515 w 8636594"/>
              <a:gd name="connsiteY115" fmla="*/ 62312 h 6266942"/>
              <a:gd name="connsiteX116" fmla="*/ 8598881 w 8636594"/>
              <a:gd name="connsiteY116" fmla="*/ 30951 h 6266942"/>
              <a:gd name="connsiteX117" fmla="*/ 8636594 w 8636594"/>
              <a:gd name="connsiteY117" fmla="*/ 0 h 6266942"/>
              <a:gd name="connsiteX0" fmla="*/ 8636594 w 8636594"/>
              <a:gd name="connsiteY0" fmla="*/ 0 h 6247281"/>
              <a:gd name="connsiteX1" fmla="*/ 5293 w 8636594"/>
              <a:gd name="connsiteY1" fmla="*/ 0 h 6247281"/>
              <a:gd name="connsiteX2" fmla="*/ 0 w 8636594"/>
              <a:gd name="connsiteY2" fmla="*/ 5587843 h 6247281"/>
              <a:gd name="connsiteX3" fmla="*/ 1594033 w 8636594"/>
              <a:gd name="connsiteY3" fmla="*/ 5600057 h 6247281"/>
              <a:gd name="connsiteX4" fmla="*/ 1686068 w 8636594"/>
              <a:gd name="connsiteY4" fmla="*/ 5599745 h 6247281"/>
              <a:gd name="connsiteX5" fmla="*/ 3376401 w 8636594"/>
              <a:gd name="connsiteY5" fmla="*/ 6247281 h 6247281"/>
              <a:gd name="connsiteX6" fmla="*/ 3421300 w 8636594"/>
              <a:gd name="connsiteY6" fmla="*/ 6227263 h 6247281"/>
              <a:gd name="connsiteX7" fmla="*/ 3465680 w 8636594"/>
              <a:gd name="connsiteY7" fmla="*/ 6206893 h 6247281"/>
              <a:gd name="connsiteX8" fmla="*/ 3509548 w 8636594"/>
              <a:gd name="connsiteY8" fmla="*/ 6186174 h 6247281"/>
              <a:gd name="connsiteX9" fmla="*/ 3552910 w 8636594"/>
              <a:gd name="connsiteY9" fmla="*/ 6165110 h 6247281"/>
              <a:gd name="connsiteX10" fmla="*/ 3595773 w 8636594"/>
              <a:gd name="connsiteY10" fmla="*/ 6143704 h 6247281"/>
              <a:gd name="connsiteX11" fmla="*/ 3638142 w 8636594"/>
              <a:gd name="connsiteY11" fmla="*/ 6121960 h 6247281"/>
              <a:gd name="connsiteX12" fmla="*/ 3680024 w 8636594"/>
              <a:gd name="connsiteY12" fmla="*/ 6099881 h 6247281"/>
              <a:gd name="connsiteX13" fmla="*/ 3721426 w 8636594"/>
              <a:gd name="connsiteY13" fmla="*/ 6077471 h 6247281"/>
              <a:gd name="connsiteX14" fmla="*/ 3762353 w 8636594"/>
              <a:gd name="connsiteY14" fmla="*/ 6054733 h 6247281"/>
              <a:gd name="connsiteX15" fmla="*/ 3802812 w 8636594"/>
              <a:gd name="connsiteY15" fmla="*/ 6031671 h 6247281"/>
              <a:gd name="connsiteX16" fmla="*/ 3842810 w 8636594"/>
              <a:gd name="connsiteY16" fmla="*/ 6008288 h 6247281"/>
              <a:gd name="connsiteX17" fmla="*/ 3882352 w 8636594"/>
              <a:gd name="connsiteY17" fmla="*/ 5984588 h 6247281"/>
              <a:gd name="connsiteX18" fmla="*/ 3921445 w 8636594"/>
              <a:gd name="connsiteY18" fmla="*/ 5960574 h 6247281"/>
              <a:gd name="connsiteX19" fmla="*/ 3960096 w 8636594"/>
              <a:gd name="connsiteY19" fmla="*/ 5936250 h 6247281"/>
              <a:gd name="connsiteX20" fmla="*/ 3998311 w 8636594"/>
              <a:gd name="connsiteY20" fmla="*/ 5911619 h 6247281"/>
              <a:gd name="connsiteX21" fmla="*/ 4036095 w 8636594"/>
              <a:gd name="connsiteY21" fmla="*/ 5886685 h 6247281"/>
              <a:gd name="connsiteX22" fmla="*/ 4073456 w 8636594"/>
              <a:gd name="connsiteY22" fmla="*/ 5861452 h 6247281"/>
              <a:gd name="connsiteX23" fmla="*/ 4110400 w 8636594"/>
              <a:gd name="connsiteY23" fmla="*/ 5835922 h 6247281"/>
              <a:gd name="connsiteX24" fmla="*/ 4146933 w 8636594"/>
              <a:gd name="connsiteY24" fmla="*/ 5810100 h 6247281"/>
              <a:gd name="connsiteX25" fmla="*/ 4183061 w 8636594"/>
              <a:gd name="connsiteY25" fmla="*/ 5783988 h 6247281"/>
              <a:gd name="connsiteX26" fmla="*/ 4218791 w 8636594"/>
              <a:gd name="connsiteY26" fmla="*/ 5757591 h 6247281"/>
              <a:gd name="connsiteX27" fmla="*/ 4254129 w 8636594"/>
              <a:gd name="connsiteY27" fmla="*/ 5730912 h 6247281"/>
              <a:gd name="connsiteX28" fmla="*/ 4289081 w 8636594"/>
              <a:gd name="connsiteY28" fmla="*/ 5703955 h 6247281"/>
              <a:gd name="connsiteX29" fmla="*/ 4323654 w 8636594"/>
              <a:gd name="connsiteY29" fmla="*/ 5676722 h 6247281"/>
              <a:gd name="connsiteX30" fmla="*/ 4357854 w 8636594"/>
              <a:gd name="connsiteY30" fmla="*/ 5649218 h 6247281"/>
              <a:gd name="connsiteX31" fmla="*/ 4391688 w 8636594"/>
              <a:gd name="connsiteY31" fmla="*/ 5621446 h 6247281"/>
              <a:gd name="connsiteX32" fmla="*/ 4425162 w 8636594"/>
              <a:gd name="connsiteY32" fmla="*/ 5593409 h 6247281"/>
              <a:gd name="connsiteX33" fmla="*/ 4458281 w 8636594"/>
              <a:gd name="connsiteY33" fmla="*/ 5565111 h 6247281"/>
              <a:gd name="connsiteX34" fmla="*/ 4491053 w 8636594"/>
              <a:gd name="connsiteY34" fmla="*/ 5536556 h 6247281"/>
              <a:gd name="connsiteX35" fmla="*/ 4523484 w 8636594"/>
              <a:gd name="connsiteY35" fmla="*/ 5507747 h 6247281"/>
              <a:gd name="connsiteX36" fmla="*/ 4555580 w 8636594"/>
              <a:gd name="connsiteY36" fmla="*/ 5478687 h 6247281"/>
              <a:gd name="connsiteX37" fmla="*/ 4587347 w 8636594"/>
              <a:gd name="connsiteY37" fmla="*/ 5449380 h 6247281"/>
              <a:gd name="connsiteX38" fmla="*/ 4618793 w 8636594"/>
              <a:gd name="connsiteY38" fmla="*/ 5419830 h 6247281"/>
              <a:gd name="connsiteX39" fmla="*/ 4649922 w 8636594"/>
              <a:gd name="connsiteY39" fmla="*/ 5390040 h 6247281"/>
              <a:gd name="connsiteX40" fmla="*/ 4680742 w 8636594"/>
              <a:gd name="connsiteY40" fmla="*/ 5360014 h 6247281"/>
              <a:gd name="connsiteX41" fmla="*/ 4711259 w 8636594"/>
              <a:gd name="connsiteY41" fmla="*/ 5329755 h 6247281"/>
              <a:gd name="connsiteX42" fmla="*/ 4741478 w 8636594"/>
              <a:gd name="connsiteY42" fmla="*/ 5299266 h 6247281"/>
              <a:gd name="connsiteX43" fmla="*/ 4771408 w 8636594"/>
              <a:gd name="connsiteY43" fmla="*/ 5268551 h 6247281"/>
              <a:gd name="connsiteX44" fmla="*/ 4801053 w 8636594"/>
              <a:gd name="connsiteY44" fmla="*/ 5237614 h 6247281"/>
              <a:gd name="connsiteX45" fmla="*/ 4830420 w 8636594"/>
              <a:gd name="connsiteY45" fmla="*/ 5206458 h 6247281"/>
              <a:gd name="connsiteX46" fmla="*/ 4859516 w 8636594"/>
              <a:gd name="connsiteY46" fmla="*/ 5175087 h 6247281"/>
              <a:gd name="connsiteX47" fmla="*/ 4888347 w 8636594"/>
              <a:gd name="connsiteY47" fmla="*/ 5143504 h 6247281"/>
              <a:gd name="connsiteX48" fmla="*/ 4916919 w 8636594"/>
              <a:gd name="connsiteY48" fmla="*/ 5111713 h 6247281"/>
              <a:gd name="connsiteX49" fmla="*/ 4945238 w 8636594"/>
              <a:gd name="connsiteY49" fmla="*/ 5079717 h 6247281"/>
              <a:gd name="connsiteX50" fmla="*/ 4973311 w 8636594"/>
              <a:gd name="connsiteY50" fmla="*/ 5047519 h 6247281"/>
              <a:gd name="connsiteX51" fmla="*/ 5001145 w 8636594"/>
              <a:gd name="connsiteY51" fmla="*/ 5015124 h 6247281"/>
              <a:gd name="connsiteX52" fmla="*/ 5028745 w 8636594"/>
              <a:gd name="connsiteY52" fmla="*/ 4982535 h 6247281"/>
              <a:gd name="connsiteX53" fmla="*/ 5056117 w 8636594"/>
              <a:gd name="connsiteY53" fmla="*/ 4949755 h 6247281"/>
              <a:gd name="connsiteX54" fmla="*/ 5083269 w 8636594"/>
              <a:gd name="connsiteY54" fmla="*/ 4916787 h 6247281"/>
              <a:gd name="connsiteX55" fmla="*/ 5110207 w 8636594"/>
              <a:gd name="connsiteY55" fmla="*/ 4883636 h 6247281"/>
              <a:gd name="connsiteX56" fmla="*/ 5136937 w 8636594"/>
              <a:gd name="connsiteY56" fmla="*/ 4850305 h 6247281"/>
              <a:gd name="connsiteX57" fmla="*/ 5163464 w 8636594"/>
              <a:gd name="connsiteY57" fmla="*/ 4816797 h 6247281"/>
              <a:gd name="connsiteX58" fmla="*/ 5215940 w 8636594"/>
              <a:gd name="connsiteY58" fmla="*/ 4749265 h 6247281"/>
              <a:gd name="connsiteX59" fmla="*/ 5267684 w 8636594"/>
              <a:gd name="connsiteY59" fmla="*/ 4681068 h 6247281"/>
              <a:gd name="connsiteX60" fmla="*/ 5318748 w 8636594"/>
              <a:gd name="connsiteY60" fmla="*/ 4612234 h 6247281"/>
              <a:gd name="connsiteX61" fmla="*/ 5369182 w 8636594"/>
              <a:gd name="connsiteY61" fmla="*/ 4542793 h 6247281"/>
              <a:gd name="connsiteX62" fmla="*/ 5419038 w 8636594"/>
              <a:gd name="connsiteY62" fmla="*/ 4472771 h 6247281"/>
              <a:gd name="connsiteX63" fmla="*/ 5468365 w 8636594"/>
              <a:gd name="connsiteY63" fmla="*/ 4402196 h 6247281"/>
              <a:gd name="connsiteX64" fmla="*/ 5517215 w 8636594"/>
              <a:gd name="connsiteY64" fmla="*/ 4331098 h 6247281"/>
              <a:gd name="connsiteX65" fmla="*/ 5565637 w 8636594"/>
              <a:gd name="connsiteY65" fmla="*/ 4259503 h 6247281"/>
              <a:gd name="connsiteX66" fmla="*/ 5613684 w 8636594"/>
              <a:gd name="connsiteY66" fmla="*/ 4187441 h 6247281"/>
              <a:gd name="connsiteX67" fmla="*/ 5685160 w 8636594"/>
              <a:gd name="connsiteY67" fmla="*/ 4078531 h 6247281"/>
              <a:gd name="connsiteX68" fmla="*/ 5756074 w 8636594"/>
              <a:gd name="connsiteY68" fmla="*/ 3968727 h 6247281"/>
              <a:gd name="connsiteX69" fmla="*/ 5873483 w 8636594"/>
              <a:gd name="connsiteY69" fmla="*/ 3783989 h 6247281"/>
              <a:gd name="connsiteX70" fmla="*/ 6203209 w 8636594"/>
              <a:gd name="connsiteY70" fmla="*/ 3258640 h 6247281"/>
              <a:gd name="connsiteX71" fmla="*/ 6299430 w 8636594"/>
              <a:gd name="connsiteY71" fmla="*/ 3107321 h 6247281"/>
              <a:gd name="connsiteX72" fmla="*/ 6372650 w 8636594"/>
              <a:gd name="connsiteY72" fmla="*/ 2993735 h 6247281"/>
              <a:gd name="connsiteX73" fmla="*/ 6453197 w 8636594"/>
              <a:gd name="connsiteY73" fmla="*/ 2869788 h 6247281"/>
              <a:gd name="connsiteX74" fmla="*/ 6564167 w 8636594"/>
              <a:gd name="connsiteY74" fmla="*/ 2696807 h 6247281"/>
              <a:gd name="connsiteX75" fmla="*/ 6976233 w 8636594"/>
              <a:gd name="connsiteY75" fmla="*/ 2045274 h 6247281"/>
              <a:gd name="connsiteX76" fmla="*/ 7086755 w 8636594"/>
              <a:gd name="connsiteY76" fmla="*/ 1872743 h 6247281"/>
              <a:gd name="connsiteX77" fmla="*/ 7170279 w 8636594"/>
              <a:gd name="connsiteY77" fmla="*/ 1744202 h 6247281"/>
              <a:gd name="connsiteX78" fmla="*/ 7226351 w 8636594"/>
              <a:gd name="connsiteY78" fmla="*/ 1659017 h 6247281"/>
              <a:gd name="connsiteX79" fmla="*/ 7282789 w 8636594"/>
              <a:gd name="connsiteY79" fmla="*/ 1574303 h 6247281"/>
              <a:gd name="connsiteX80" fmla="*/ 7339643 w 8636594"/>
              <a:gd name="connsiteY80" fmla="*/ 1490113 h 6247281"/>
              <a:gd name="connsiteX81" fmla="*/ 7396957 w 8636594"/>
              <a:gd name="connsiteY81" fmla="*/ 1406503 h 6247281"/>
              <a:gd name="connsiteX82" fmla="*/ 7454781 w 8636594"/>
              <a:gd name="connsiteY82" fmla="*/ 1323526 h 6247281"/>
              <a:gd name="connsiteX83" fmla="*/ 7513161 w 8636594"/>
              <a:gd name="connsiteY83" fmla="*/ 1241237 h 6247281"/>
              <a:gd name="connsiteX84" fmla="*/ 7572144 w 8636594"/>
              <a:gd name="connsiteY84" fmla="*/ 1159689 h 6247281"/>
              <a:gd name="connsiteX85" fmla="*/ 7601877 w 8636594"/>
              <a:gd name="connsiteY85" fmla="*/ 1119210 h 6247281"/>
              <a:gd name="connsiteX86" fmla="*/ 7631779 w 8636594"/>
              <a:gd name="connsiteY86" fmla="*/ 1078937 h 6247281"/>
              <a:gd name="connsiteX87" fmla="*/ 7661855 w 8636594"/>
              <a:gd name="connsiteY87" fmla="*/ 1038876 h 6247281"/>
              <a:gd name="connsiteX88" fmla="*/ 7692111 w 8636594"/>
              <a:gd name="connsiteY88" fmla="*/ 999035 h 6247281"/>
              <a:gd name="connsiteX89" fmla="*/ 7722554 w 8636594"/>
              <a:gd name="connsiteY89" fmla="*/ 959419 h 6247281"/>
              <a:gd name="connsiteX90" fmla="*/ 7753190 w 8636594"/>
              <a:gd name="connsiteY90" fmla="*/ 920037 h 6247281"/>
              <a:gd name="connsiteX91" fmla="*/ 7784023 w 8636594"/>
              <a:gd name="connsiteY91" fmla="*/ 880894 h 6247281"/>
              <a:gd name="connsiteX92" fmla="*/ 7815061 w 8636594"/>
              <a:gd name="connsiteY92" fmla="*/ 841997 h 6247281"/>
              <a:gd name="connsiteX93" fmla="*/ 7846308 w 8636594"/>
              <a:gd name="connsiteY93" fmla="*/ 803354 h 6247281"/>
              <a:gd name="connsiteX94" fmla="*/ 7877772 w 8636594"/>
              <a:gd name="connsiteY94" fmla="*/ 764970 h 6247281"/>
              <a:gd name="connsiteX95" fmla="*/ 7909458 w 8636594"/>
              <a:gd name="connsiteY95" fmla="*/ 726853 h 6247281"/>
              <a:gd name="connsiteX96" fmla="*/ 7941371 w 8636594"/>
              <a:gd name="connsiteY96" fmla="*/ 689010 h 6247281"/>
              <a:gd name="connsiteX97" fmla="*/ 7973518 w 8636594"/>
              <a:gd name="connsiteY97" fmla="*/ 651447 h 6247281"/>
              <a:gd name="connsiteX98" fmla="*/ 8005905 w 8636594"/>
              <a:gd name="connsiteY98" fmla="*/ 614171 h 6247281"/>
              <a:gd name="connsiteX99" fmla="*/ 8038538 w 8636594"/>
              <a:gd name="connsiteY99" fmla="*/ 577189 h 6247281"/>
              <a:gd name="connsiteX100" fmla="*/ 8071421 w 8636594"/>
              <a:gd name="connsiteY100" fmla="*/ 540507 h 6247281"/>
              <a:gd name="connsiteX101" fmla="*/ 8104563 w 8636594"/>
              <a:gd name="connsiteY101" fmla="*/ 504132 h 6247281"/>
              <a:gd name="connsiteX102" fmla="*/ 8137967 w 8636594"/>
              <a:gd name="connsiteY102" fmla="*/ 468072 h 6247281"/>
              <a:gd name="connsiteX103" fmla="*/ 8171641 w 8636594"/>
              <a:gd name="connsiteY103" fmla="*/ 432332 h 6247281"/>
              <a:gd name="connsiteX104" fmla="*/ 8205590 w 8636594"/>
              <a:gd name="connsiteY104" fmla="*/ 396920 h 6247281"/>
              <a:gd name="connsiteX105" fmla="*/ 8239820 w 8636594"/>
              <a:gd name="connsiteY105" fmla="*/ 361843 h 6247281"/>
              <a:gd name="connsiteX106" fmla="*/ 8274337 w 8636594"/>
              <a:gd name="connsiteY106" fmla="*/ 327107 h 6247281"/>
              <a:gd name="connsiteX107" fmla="*/ 8309147 w 8636594"/>
              <a:gd name="connsiteY107" fmla="*/ 292718 h 6247281"/>
              <a:gd name="connsiteX108" fmla="*/ 8344256 w 8636594"/>
              <a:gd name="connsiteY108" fmla="*/ 258685 h 6247281"/>
              <a:gd name="connsiteX109" fmla="*/ 8379669 w 8636594"/>
              <a:gd name="connsiteY109" fmla="*/ 225013 h 6247281"/>
              <a:gd name="connsiteX110" fmla="*/ 8415394 w 8636594"/>
              <a:gd name="connsiteY110" fmla="*/ 191709 h 6247281"/>
              <a:gd name="connsiteX111" fmla="*/ 8451434 w 8636594"/>
              <a:gd name="connsiteY111" fmla="*/ 158780 h 6247281"/>
              <a:gd name="connsiteX112" fmla="*/ 8487798 w 8636594"/>
              <a:gd name="connsiteY112" fmla="*/ 126233 h 6247281"/>
              <a:gd name="connsiteX113" fmla="*/ 8524489 w 8636594"/>
              <a:gd name="connsiteY113" fmla="*/ 94075 h 6247281"/>
              <a:gd name="connsiteX114" fmla="*/ 8561515 w 8636594"/>
              <a:gd name="connsiteY114" fmla="*/ 62312 h 6247281"/>
              <a:gd name="connsiteX115" fmla="*/ 8598881 w 8636594"/>
              <a:gd name="connsiteY115" fmla="*/ 30951 h 6247281"/>
              <a:gd name="connsiteX116" fmla="*/ 8636594 w 8636594"/>
              <a:gd name="connsiteY116" fmla="*/ 0 h 6247281"/>
              <a:gd name="connsiteX0" fmla="*/ 8636594 w 8636594"/>
              <a:gd name="connsiteY0" fmla="*/ 0 h 6227263"/>
              <a:gd name="connsiteX1" fmla="*/ 5293 w 8636594"/>
              <a:gd name="connsiteY1" fmla="*/ 0 h 6227263"/>
              <a:gd name="connsiteX2" fmla="*/ 0 w 8636594"/>
              <a:gd name="connsiteY2" fmla="*/ 5587843 h 6227263"/>
              <a:gd name="connsiteX3" fmla="*/ 1594033 w 8636594"/>
              <a:gd name="connsiteY3" fmla="*/ 5600057 h 6227263"/>
              <a:gd name="connsiteX4" fmla="*/ 1686068 w 8636594"/>
              <a:gd name="connsiteY4" fmla="*/ 5599745 h 6227263"/>
              <a:gd name="connsiteX5" fmla="*/ 3421300 w 8636594"/>
              <a:gd name="connsiteY5" fmla="*/ 6227263 h 6227263"/>
              <a:gd name="connsiteX6" fmla="*/ 3465680 w 8636594"/>
              <a:gd name="connsiteY6" fmla="*/ 6206893 h 6227263"/>
              <a:gd name="connsiteX7" fmla="*/ 3509548 w 8636594"/>
              <a:gd name="connsiteY7" fmla="*/ 6186174 h 6227263"/>
              <a:gd name="connsiteX8" fmla="*/ 3552910 w 8636594"/>
              <a:gd name="connsiteY8" fmla="*/ 6165110 h 6227263"/>
              <a:gd name="connsiteX9" fmla="*/ 3595773 w 8636594"/>
              <a:gd name="connsiteY9" fmla="*/ 6143704 h 6227263"/>
              <a:gd name="connsiteX10" fmla="*/ 3638142 w 8636594"/>
              <a:gd name="connsiteY10" fmla="*/ 6121960 h 6227263"/>
              <a:gd name="connsiteX11" fmla="*/ 3680024 w 8636594"/>
              <a:gd name="connsiteY11" fmla="*/ 6099881 h 6227263"/>
              <a:gd name="connsiteX12" fmla="*/ 3721426 w 8636594"/>
              <a:gd name="connsiteY12" fmla="*/ 6077471 h 6227263"/>
              <a:gd name="connsiteX13" fmla="*/ 3762353 w 8636594"/>
              <a:gd name="connsiteY13" fmla="*/ 6054733 h 6227263"/>
              <a:gd name="connsiteX14" fmla="*/ 3802812 w 8636594"/>
              <a:gd name="connsiteY14" fmla="*/ 6031671 h 6227263"/>
              <a:gd name="connsiteX15" fmla="*/ 3842810 w 8636594"/>
              <a:gd name="connsiteY15" fmla="*/ 6008288 h 6227263"/>
              <a:gd name="connsiteX16" fmla="*/ 3882352 w 8636594"/>
              <a:gd name="connsiteY16" fmla="*/ 5984588 h 6227263"/>
              <a:gd name="connsiteX17" fmla="*/ 3921445 w 8636594"/>
              <a:gd name="connsiteY17" fmla="*/ 5960574 h 6227263"/>
              <a:gd name="connsiteX18" fmla="*/ 3960096 w 8636594"/>
              <a:gd name="connsiteY18" fmla="*/ 5936250 h 6227263"/>
              <a:gd name="connsiteX19" fmla="*/ 3998311 w 8636594"/>
              <a:gd name="connsiteY19" fmla="*/ 5911619 h 6227263"/>
              <a:gd name="connsiteX20" fmla="*/ 4036095 w 8636594"/>
              <a:gd name="connsiteY20" fmla="*/ 5886685 h 6227263"/>
              <a:gd name="connsiteX21" fmla="*/ 4073456 w 8636594"/>
              <a:gd name="connsiteY21" fmla="*/ 5861452 h 6227263"/>
              <a:gd name="connsiteX22" fmla="*/ 4110400 w 8636594"/>
              <a:gd name="connsiteY22" fmla="*/ 5835922 h 6227263"/>
              <a:gd name="connsiteX23" fmla="*/ 4146933 w 8636594"/>
              <a:gd name="connsiteY23" fmla="*/ 5810100 h 6227263"/>
              <a:gd name="connsiteX24" fmla="*/ 4183061 w 8636594"/>
              <a:gd name="connsiteY24" fmla="*/ 5783988 h 6227263"/>
              <a:gd name="connsiteX25" fmla="*/ 4218791 w 8636594"/>
              <a:gd name="connsiteY25" fmla="*/ 5757591 h 6227263"/>
              <a:gd name="connsiteX26" fmla="*/ 4254129 w 8636594"/>
              <a:gd name="connsiteY26" fmla="*/ 5730912 h 6227263"/>
              <a:gd name="connsiteX27" fmla="*/ 4289081 w 8636594"/>
              <a:gd name="connsiteY27" fmla="*/ 5703955 h 6227263"/>
              <a:gd name="connsiteX28" fmla="*/ 4323654 w 8636594"/>
              <a:gd name="connsiteY28" fmla="*/ 5676722 h 6227263"/>
              <a:gd name="connsiteX29" fmla="*/ 4357854 w 8636594"/>
              <a:gd name="connsiteY29" fmla="*/ 5649218 h 6227263"/>
              <a:gd name="connsiteX30" fmla="*/ 4391688 w 8636594"/>
              <a:gd name="connsiteY30" fmla="*/ 5621446 h 6227263"/>
              <a:gd name="connsiteX31" fmla="*/ 4425162 w 8636594"/>
              <a:gd name="connsiteY31" fmla="*/ 5593409 h 6227263"/>
              <a:gd name="connsiteX32" fmla="*/ 4458281 w 8636594"/>
              <a:gd name="connsiteY32" fmla="*/ 5565111 h 6227263"/>
              <a:gd name="connsiteX33" fmla="*/ 4491053 w 8636594"/>
              <a:gd name="connsiteY33" fmla="*/ 5536556 h 6227263"/>
              <a:gd name="connsiteX34" fmla="*/ 4523484 w 8636594"/>
              <a:gd name="connsiteY34" fmla="*/ 5507747 h 6227263"/>
              <a:gd name="connsiteX35" fmla="*/ 4555580 w 8636594"/>
              <a:gd name="connsiteY35" fmla="*/ 5478687 h 6227263"/>
              <a:gd name="connsiteX36" fmla="*/ 4587347 w 8636594"/>
              <a:gd name="connsiteY36" fmla="*/ 5449380 h 6227263"/>
              <a:gd name="connsiteX37" fmla="*/ 4618793 w 8636594"/>
              <a:gd name="connsiteY37" fmla="*/ 5419830 h 6227263"/>
              <a:gd name="connsiteX38" fmla="*/ 4649922 w 8636594"/>
              <a:gd name="connsiteY38" fmla="*/ 5390040 h 6227263"/>
              <a:gd name="connsiteX39" fmla="*/ 4680742 w 8636594"/>
              <a:gd name="connsiteY39" fmla="*/ 5360014 h 6227263"/>
              <a:gd name="connsiteX40" fmla="*/ 4711259 w 8636594"/>
              <a:gd name="connsiteY40" fmla="*/ 5329755 h 6227263"/>
              <a:gd name="connsiteX41" fmla="*/ 4741478 w 8636594"/>
              <a:gd name="connsiteY41" fmla="*/ 5299266 h 6227263"/>
              <a:gd name="connsiteX42" fmla="*/ 4771408 w 8636594"/>
              <a:gd name="connsiteY42" fmla="*/ 5268551 h 6227263"/>
              <a:gd name="connsiteX43" fmla="*/ 4801053 w 8636594"/>
              <a:gd name="connsiteY43" fmla="*/ 5237614 h 6227263"/>
              <a:gd name="connsiteX44" fmla="*/ 4830420 w 8636594"/>
              <a:gd name="connsiteY44" fmla="*/ 5206458 h 6227263"/>
              <a:gd name="connsiteX45" fmla="*/ 4859516 w 8636594"/>
              <a:gd name="connsiteY45" fmla="*/ 5175087 h 6227263"/>
              <a:gd name="connsiteX46" fmla="*/ 4888347 w 8636594"/>
              <a:gd name="connsiteY46" fmla="*/ 5143504 h 6227263"/>
              <a:gd name="connsiteX47" fmla="*/ 4916919 w 8636594"/>
              <a:gd name="connsiteY47" fmla="*/ 5111713 h 6227263"/>
              <a:gd name="connsiteX48" fmla="*/ 4945238 w 8636594"/>
              <a:gd name="connsiteY48" fmla="*/ 5079717 h 6227263"/>
              <a:gd name="connsiteX49" fmla="*/ 4973311 w 8636594"/>
              <a:gd name="connsiteY49" fmla="*/ 5047519 h 6227263"/>
              <a:gd name="connsiteX50" fmla="*/ 5001145 w 8636594"/>
              <a:gd name="connsiteY50" fmla="*/ 5015124 h 6227263"/>
              <a:gd name="connsiteX51" fmla="*/ 5028745 w 8636594"/>
              <a:gd name="connsiteY51" fmla="*/ 4982535 h 6227263"/>
              <a:gd name="connsiteX52" fmla="*/ 5056117 w 8636594"/>
              <a:gd name="connsiteY52" fmla="*/ 4949755 h 6227263"/>
              <a:gd name="connsiteX53" fmla="*/ 5083269 w 8636594"/>
              <a:gd name="connsiteY53" fmla="*/ 4916787 h 6227263"/>
              <a:gd name="connsiteX54" fmla="*/ 5110207 w 8636594"/>
              <a:gd name="connsiteY54" fmla="*/ 4883636 h 6227263"/>
              <a:gd name="connsiteX55" fmla="*/ 5136937 w 8636594"/>
              <a:gd name="connsiteY55" fmla="*/ 4850305 h 6227263"/>
              <a:gd name="connsiteX56" fmla="*/ 5163464 w 8636594"/>
              <a:gd name="connsiteY56" fmla="*/ 4816797 h 6227263"/>
              <a:gd name="connsiteX57" fmla="*/ 5215940 w 8636594"/>
              <a:gd name="connsiteY57" fmla="*/ 4749265 h 6227263"/>
              <a:gd name="connsiteX58" fmla="*/ 5267684 w 8636594"/>
              <a:gd name="connsiteY58" fmla="*/ 4681068 h 6227263"/>
              <a:gd name="connsiteX59" fmla="*/ 5318748 w 8636594"/>
              <a:gd name="connsiteY59" fmla="*/ 4612234 h 6227263"/>
              <a:gd name="connsiteX60" fmla="*/ 5369182 w 8636594"/>
              <a:gd name="connsiteY60" fmla="*/ 4542793 h 6227263"/>
              <a:gd name="connsiteX61" fmla="*/ 5419038 w 8636594"/>
              <a:gd name="connsiteY61" fmla="*/ 4472771 h 6227263"/>
              <a:gd name="connsiteX62" fmla="*/ 5468365 w 8636594"/>
              <a:gd name="connsiteY62" fmla="*/ 4402196 h 6227263"/>
              <a:gd name="connsiteX63" fmla="*/ 5517215 w 8636594"/>
              <a:gd name="connsiteY63" fmla="*/ 4331098 h 6227263"/>
              <a:gd name="connsiteX64" fmla="*/ 5565637 w 8636594"/>
              <a:gd name="connsiteY64" fmla="*/ 4259503 h 6227263"/>
              <a:gd name="connsiteX65" fmla="*/ 5613684 w 8636594"/>
              <a:gd name="connsiteY65" fmla="*/ 4187441 h 6227263"/>
              <a:gd name="connsiteX66" fmla="*/ 5685160 w 8636594"/>
              <a:gd name="connsiteY66" fmla="*/ 4078531 h 6227263"/>
              <a:gd name="connsiteX67" fmla="*/ 5756074 w 8636594"/>
              <a:gd name="connsiteY67" fmla="*/ 3968727 h 6227263"/>
              <a:gd name="connsiteX68" fmla="*/ 5873483 w 8636594"/>
              <a:gd name="connsiteY68" fmla="*/ 3783989 h 6227263"/>
              <a:gd name="connsiteX69" fmla="*/ 6203209 w 8636594"/>
              <a:gd name="connsiteY69" fmla="*/ 3258640 h 6227263"/>
              <a:gd name="connsiteX70" fmla="*/ 6299430 w 8636594"/>
              <a:gd name="connsiteY70" fmla="*/ 3107321 h 6227263"/>
              <a:gd name="connsiteX71" fmla="*/ 6372650 w 8636594"/>
              <a:gd name="connsiteY71" fmla="*/ 2993735 h 6227263"/>
              <a:gd name="connsiteX72" fmla="*/ 6453197 w 8636594"/>
              <a:gd name="connsiteY72" fmla="*/ 2869788 h 6227263"/>
              <a:gd name="connsiteX73" fmla="*/ 6564167 w 8636594"/>
              <a:gd name="connsiteY73" fmla="*/ 2696807 h 6227263"/>
              <a:gd name="connsiteX74" fmla="*/ 6976233 w 8636594"/>
              <a:gd name="connsiteY74" fmla="*/ 2045274 h 6227263"/>
              <a:gd name="connsiteX75" fmla="*/ 7086755 w 8636594"/>
              <a:gd name="connsiteY75" fmla="*/ 1872743 h 6227263"/>
              <a:gd name="connsiteX76" fmla="*/ 7170279 w 8636594"/>
              <a:gd name="connsiteY76" fmla="*/ 1744202 h 6227263"/>
              <a:gd name="connsiteX77" fmla="*/ 7226351 w 8636594"/>
              <a:gd name="connsiteY77" fmla="*/ 1659017 h 6227263"/>
              <a:gd name="connsiteX78" fmla="*/ 7282789 w 8636594"/>
              <a:gd name="connsiteY78" fmla="*/ 1574303 h 6227263"/>
              <a:gd name="connsiteX79" fmla="*/ 7339643 w 8636594"/>
              <a:gd name="connsiteY79" fmla="*/ 1490113 h 6227263"/>
              <a:gd name="connsiteX80" fmla="*/ 7396957 w 8636594"/>
              <a:gd name="connsiteY80" fmla="*/ 1406503 h 6227263"/>
              <a:gd name="connsiteX81" fmla="*/ 7454781 w 8636594"/>
              <a:gd name="connsiteY81" fmla="*/ 1323526 h 6227263"/>
              <a:gd name="connsiteX82" fmla="*/ 7513161 w 8636594"/>
              <a:gd name="connsiteY82" fmla="*/ 1241237 h 6227263"/>
              <a:gd name="connsiteX83" fmla="*/ 7572144 w 8636594"/>
              <a:gd name="connsiteY83" fmla="*/ 1159689 h 6227263"/>
              <a:gd name="connsiteX84" fmla="*/ 7601877 w 8636594"/>
              <a:gd name="connsiteY84" fmla="*/ 1119210 h 6227263"/>
              <a:gd name="connsiteX85" fmla="*/ 7631779 w 8636594"/>
              <a:gd name="connsiteY85" fmla="*/ 1078937 h 6227263"/>
              <a:gd name="connsiteX86" fmla="*/ 7661855 w 8636594"/>
              <a:gd name="connsiteY86" fmla="*/ 1038876 h 6227263"/>
              <a:gd name="connsiteX87" fmla="*/ 7692111 w 8636594"/>
              <a:gd name="connsiteY87" fmla="*/ 999035 h 6227263"/>
              <a:gd name="connsiteX88" fmla="*/ 7722554 w 8636594"/>
              <a:gd name="connsiteY88" fmla="*/ 959419 h 6227263"/>
              <a:gd name="connsiteX89" fmla="*/ 7753190 w 8636594"/>
              <a:gd name="connsiteY89" fmla="*/ 920037 h 6227263"/>
              <a:gd name="connsiteX90" fmla="*/ 7784023 w 8636594"/>
              <a:gd name="connsiteY90" fmla="*/ 880894 h 6227263"/>
              <a:gd name="connsiteX91" fmla="*/ 7815061 w 8636594"/>
              <a:gd name="connsiteY91" fmla="*/ 841997 h 6227263"/>
              <a:gd name="connsiteX92" fmla="*/ 7846308 w 8636594"/>
              <a:gd name="connsiteY92" fmla="*/ 803354 h 6227263"/>
              <a:gd name="connsiteX93" fmla="*/ 7877772 w 8636594"/>
              <a:gd name="connsiteY93" fmla="*/ 764970 h 6227263"/>
              <a:gd name="connsiteX94" fmla="*/ 7909458 w 8636594"/>
              <a:gd name="connsiteY94" fmla="*/ 726853 h 6227263"/>
              <a:gd name="connsiteX95" fmla="*/ 7941371 w 8636594"/>
              <a:gd name="connsiteY95" fmla="*/ 689010 h 6227263"/>
              <a:gd name="connsiteX96" fmla="*/ 7973518 w 8636594"/>
              <a:gd name="connsiteY96" fmla="*/ 651447 h 6227263"/>
              <a:gd name="connsiteX97" fmla="*/ 8005905 w 8636594"/>
              <a:gd name="connsiteY97" fmla="*/ 614171 h 6227263"/>
              <a:gd name="connsiteX98" fmla="*/ 8038538 w 8636594"/>
              <a:gd name="connsiteY98" fmla="*/ 577189 h 6227263"/>
              <a:gd name="connsiteX99" fmla="*/ 8071421 w 8636594"/>
              <a:gd name="connsiteY99" fmla="*/ 540507 h 6227263"/>
              <a:gd name="connsiteX100" fmla="*/ 8104563 w 8636594"/>
              <a:gd name="connsiteY100" fmla="*/ 504132 h 6227263"/>
              <a:gd name="connsiteX101" fmla="*/ 8137967 w 8636594"/>
              <a:gd name="connsiteY101" fmla="*/ 468072 h 6227263"/>
              <a:gd name="connsiteX102" fmla="*/ 8171641 w 8636594"/>
              <a:gd name="connsiteY102" fmla="*/ 432332 h 6227263"/>
              <a:gd name="connsiteX103" fmla="*/ 8205590 w 8636594"/>
              <a:gd name="connsiteY103" fmla="*/ 396920 h 6227263"/>
              <a:gd name="connsiteX104" fmla="*/ 8239820 w 8636594"/>
              <a:gd name="connsiteY104" fmla="*/ 361843 h 6227263"/>
              <a:gd name="connsiteX105" fmla="*/ 8274337 w 8636594"/>
              <a:gd name="connsiteY105" fmla="*/ 327107 h 6227263"/>
              <a:gd name="connsiteX106" fmla="*/ 8309147 w 8636594"/>
              <a:gd name="connsiteY106" fmla="*/ 292718 h 6227263"/>
              <a:gd name="connsiteX107" fmla="*/ 8344256 w 8636594"/>
              <a:gd name="connsiteY107" fmla="*/ 258685 h 6227263"/>
              <a:gd name="connsiteX108" fmla="*/ 8379669 w 8636594"/>
              <a:gd name="connsiteY108" fmla="*/ 225013 h 6227263"/>
              <a:gd name="connsiteX109" fmla="*/ 8415394 w 8636594"/>
              <a:gd name="connsiteY109" fmla="*/ 191709 h 6227263"/>
              <a:gd name="connsiteX110" fmla="*/ 8451434 w 8636594"/>
              <a:gd name="connsiteY110" fmla="*/ 158780 h 6227263"/>
              <a:gd name="connsiteX111" fmla="*/ 8487798 w 8636594"/>
              <a:gd name="connsiteY111" fmla="*/ 126233 h 6227263"/>
              <a:gd name="connsiteX112" fmla="*/ 8524489 w 8636594"/>
              <a:gd name="connsiteY112" fmla="*/ 94075 h 6227263"/>
              <a:gd name="connsiteX113" fmla="*/ 8561515 w 8636594"/>
              <a:gd name="connsiteY113" fmla="*/ 62312 h 6227263"/>
              <a:gd name="connsiteX114" fmla="*/ 8598881 w 8636594"/>
              <a:gd name="connsiteY114" fmla="*/ 30951 h 6227263"/>
              <a:gd name="connsiteX115" fmla="*/ 8636594 w 8636594"/>
              <a:gd name="connsiteY115" fmla="*/ 0 h 6227263"/>
              <a:gd name="connsiteX0" fmla="*/ 8636594 w 8636594"/>
              <a:gd name="connsiteY0" fmla="*/ 0 h 6206893"/>
              <a:gd name="connsiteX1" fmla="*/ 5293 w 8636594"/>
              <a:gd name="connsiteY1" fmla="*/ 0 h 6206893"/>
              <a:gd name="connsiteX2" fmla="*/ 0 w 8636594"/>
              <a:gd name="connsiteY2" fmla="*/ 5587843 h 6206893"/>
              <a:gd name="connsiteX3" fmla="*/ 1594033 w 8636594"/>
              <a:gd name="connsiteY3" fmla="*/ 5600057 h 6206893"/>
              <a:gd name="connsiteX4" fmla="*/ 1686068 w 8636594"/>
              <a:gd name="connsiteY4" fmla="*/ 5599745 h 6206893"/>
              <a:gd name="connsiteX5" fmla="*/ 3465680 w 8636594"/>
              <a:gd name="connsiteY5" fmla="*/ 6206893 h 6206893"/>
              <a:gd name="connsiteX6" fmla="*/ 3509548 w 8636594"/>
              <a:gd name="connsiteY6" fmla="*/ 6186174 h 6206893"/>
              <a:gd name="connsiteX7" fmla="*/ 3552910 w 8636594"/>
              <a:gd name="connsiteY7" fmla="*/ 6165110 h 6206893"/>
              <a:gd name="connsiteX8" fmla="*/ 3595773 w 8636594"/>
              <a:gd name="connsiteY8" fmla="*/ 6143704 h 6206893"/>
              <a:gd name="connsiteX9" fmla="*/ 3638142 w 8636594"/>
              <a:gd name="connsiteY9" fmla="*/ 6121960 h 6206893"/>
              <a:gd name="connsiteX10" fmla="*/ 3680024 w 8636594"/>
              <a:gd name="connsiteY10" fmla="*/ 6099881 h 6206893"/>
              <a:gd name="connsiteX11" fmla="*/ 3721426 w 8636594"/>
              <a:gd name="connsiteY11" fmla="*/ 6077471 h 6206893"/>
              <a:gd name="connsiteX12" fmla="*/ 3762353 w 8636594"/>
              <a:gd name="connsiteY12" fmla="*/ 6054733 h 6206893"/>
              <a:gd name="connsiteX13" fmla="*/ 3802812 w 8636594"/>
              <a:gd name="connsiteY13" fmla="*/ 6031671 h 6206893"/>
              <a:gd name="connsiteX14" fmla="*/ 3842810 w 8636594"/>
              <a:gd name="connsiteY14" fmla="*/ 6008288 h 6206893"/>
              <a:gd name="connsiteX15" fmla="*/ 3882352 w 8636594"/>
              <a:gd name="connsiteY15" fmla="*/ 5984588 h 6206893"/>
              <a:gd name="connsiteX16" fmla="*/ 3921445 w 8636594"/>
              <a:gd name="connsiteY16" fmla="*/ 5960574 h 6206893"/>
              <a:gd name="connsiteX17" fmla="*/ 3960096 w 8636594"/>
              <a:gd name="connsiteY17" fmla="*/ 5936250 h 6206893"/>
              <a:gd name="connsiteX18" fmla="*/ 3998311 w 8636594"/>
              <a:gd name="connsiteY18" fmla="*/ 5911619 h 6206893"/>
              <a:gd name="connsiteX19" fmla="*/ 4036095 w 8636594"/>
              <a:gd name="connsiteY19" fmla="*/ 5886685 h 6206893"/>
              <a:gd name="connsiteX20" fmla="*/ 4073456 w 8636594"/>
              <a:gd name="connsiteY20" fmla="*/ 5861452 h 6206893"/>
              <a:gd name="connsiteX21" fmla="*/ 4110400 w 8636594"/>
              <a:gd name="connsiteY21" fmla="*/ 5835922 h 6206893"/>
              <a:gd name="connsiteX22" fmla="*/ 4146933 w 8636594"/>
              <a:gd name="connsiteY22" fmla="*/ 5810100 h 6206893"/>
              <a:gd name="connsiteX23" fmla="*/ 4183061 w 8636594"/>
              <a:gd name="connsiteY23" fmla="*/ 5783988 h 6206893"/>
              <a:gd name="connsiteX24" fmla="*/ 4218791 w 8636594"/>
              <a:gd name="connsiteY24" fmla="*/ 5757591 h 6206893"/>
              <a:gd name="connsiteX25" fmla="*/ 4254129 w 8636594"/>
              <a:gd name="connsiteY25" fmla="*/ 5730912 h 6206893"/>
              <a:gd name="connsiteX26" fmla="*/ 4289081 w 8636594"/>
              <a:gd name="connsiteY26" fmla="*/ 5703955 h 6206893"/>
              <a:gd name="connsiteX27" fmla="*/ 4323654 w 8636594"/>
              <a:gd name="connsiteY27" fmla="*/ 5676722 h 6206893"/>
              <a:gd name="connsiteX28" fmla="*/ 4357854 w 8636594"/>
              <a:gd name="connsiteY28" fmla="*/ 5649218 h 6206893"/>
              <a:gd name="connsiteX29" fmla="*/ 4391688 w 8636594"/>
              <a:gd name="connsiteY29" fmla="*/ 5621446 h 6206893"/>
              <a:gd name="connsiteX30" fmla="*/ 4425162 w 8636594"/>
              <a:gd name="connsiteY30" fmla="*/ 5593409 h 6206893"/>
              <a:gd name="connsiteX31" fmla="*/ 4458281 w 8636594"/>
              <a:gd name="connsiteY31" fmla="*/ 5565111 h 6206893"/>
              <a:gd name="connsiteX32" fmla="*/ 4491053 w 8636594"/>
              <a:gd name="connsiteY32" fmla="*/ 5536556 h 6206893"/>
              <a:gd name="connsiteX33" fmla="*/ 4523484 w 8636594"/>
              <a:gd name="connsiteY33" fmla="*/ 5507747 h 6206893"/>
              <a:gd name="connsiteX34" fmla="*/ 4555580 w 8636594"/>
              <a:gd name="connsiteY34" fmla="*/ 5478687 h 6206893"/>
              <a:gd name="connsiteX35" fmla="*/ 4587347 w 8636594"/>
              <a:gd name="connsiteY35" fmla="*/ 5449380 h 6206893"/>
              <a:gd name="connsiteX36" fmla="*/ 4618793 w 8636594"/>
              <a:gd name="connsiteY36" fmla="*/ 5419830 h 6206893"/>
              <a:gd name="connsiteX37" fmla="*/ 4649922 w 8636594"/>
              <a:gd name="connsiteY37" fmla="*/ 5390040 h 6206893"/>
              <a:gd name="connsiteX38" fmla="*/ 4680742 w 8636594"/>
              <a:gd name="connsiteY38" fmla="*/ 5360014 h 6206893"/>
              <a:gd name="connsiteX39" fmla="*/ 4711259 w 8636594"/>
              <a:gd name="connsiteY39" fmla="*/ 5329755 h 6206893"/>
              <a:gd name="connsiteX40" fmla="*/ 4741478 w 8636594"/>
              <a:gd name="connsiteY40" fmla="*/ 5299266 h 6206893"/>
              <a:gd name="connsiteX41" fmla="*/ 4771408 w 8636594"/>
              <a:gd name="connsiteY41" fmla="*/ 5268551 h 6206893"/>
              <a:gd name="connsiteX42" fmla="*/ 4801053 w 8636594"/>
              <a:gd name="connsiteY42" fmla="*/ 5237614 h 6206893"/>
              <a:gd name="connsiteX43" fmla="*/ 4830420 w 8636594"/>
              <a:gd name="connsiteY43" fmla="*/ 5206458 h 6206893"/>
              <a:gd name="connsiteX44" fmla="*/ 4859516 w 8636594"/>
              <a:gd name="connsiteY44" fmla="*/ 5175087 h 6206893"/>
              <a:gd name="connsiteX45" fmla="*/ 4888347 w 8636594"/>
              <a:gd name="connsiteY45" fmla="*/ 5143504 h 6206893"/>
              <a:gd name="connsiteX46" fmla="*/ 4916919 w 8636594"/>
              <a:gd name="connsiteY46" fmla="*/ 5111713 h 6206893"/>
              <a:gd name="connsiteX47" fmla="*/ 4945238 w 8636594"/>
              <a:gd name="connsiteY47" fmla="*/ 5079717 h 6206893"/>
              <a:gd name="connsiteX48" fmla="*/ 4973311 w 8636594"/>
              <a:gd name="connsiteY48" fmla="*/ 5047519 h 6206893"/>
              <a:gd name="connsiteX49" fmla="*/ 5001145 w 8636594"/>
              <a:gd name="connsiteY49" fmla="*/ 5015124 h 6206893"/>
              <a:gd name="connsiteX50" fmla="*/ 5028745 w 8636594"/>
              <a:gd name="connsiteY50" fmla="*/ 4982535 h 6206893"/>
              <a:gd name="connsiteX51" fmla="*/ 5056117 w 8636594"/>
              <a:gd name="connsiteY51" fmla="*/ 4949755 h 6206893"/>
              <a:gd name="connsiteX52" fmla="*/ 5083269 w 8636594"/>
              <a:gd name="connsiteY52" fmla="*/ 4916787 h 6206893"/>
              <a:gd name="connsiteX53" fmla="*/ 5110207 w 8636594"/>
              <a:gd name="connsiteY53" fmla="*/ 4883636 h 6206893"/>
              <a:gd name="connsiteX54" fmla="*/ 5136937 w 8636594"/>
              <a:gd name="connsiteY54" fmla="*/ 4850305 h 6206893"/>
              <a:gd name="connsiteX55" fmla="*/ 5163464 w 8636594"/>
              <a:gd name="connsiteY55" fmla="*/ 4816797 h 6206893"/>
              <a:gd name="connsiteX56" fmla="*/ 5215940 w 8636594"/>
              <a:gd name="connsiteY56" fmla="*/ 4749265 h 6206893"/>
              <a:gd name="connsiteX57" fmla="*/ 5267684 w 8636594"/>
              <a:gd name="connsiteY57" fmla="*/ 4681068 h 6206893"/>
              <a:gd name="connsiteX58" fmla="*/ 5318748 w 8636594"/>
              <a:gd name="connsiteY58" fmla="*/ 4612234 h 6206893"/>
              <a:gd name="connsiteX59" fmla="*/ 5369182 w 8636594"/>
              <a:gd name="connsiteY59" fmla="*/ 4542793 h 6206893"/>
              <a:gd name="connsiteX60" fmla="*/ 5419038 w 8636594"/>
              <a:gd name="connsiteY60" fmla="*/ 4472771 h 6206893"/>
              <a:gd name="connsiteX61" fmla="*/ 5468365 w 8636594"/>
              <a:gd name="connsiteY61" fmla="*/ 4402196 h 6206893"/>
              <a:gd name="connsiteX62" fmla="*/ 5517215 w 8636594"/>
              <a:gd name="connsiteY62" fmla="*/ 4331098 h 6206893"/>
              <a:gd name="connsiteX63" fmla="*/ 5565637 w 8636594"/>
              <a:gd name="connsiteY63" fmla="*/ 4259503 h 6206893"/>
              <a:gd name="connsiteX64" fmla="*/ 5613684 w 8636594"/>
              <a:gd name="connsiteY64" fmla="*/ 4187441 h 6206893"/>
              <a:gd name="connsiteX65" fmla="*/ 5685160 w 8636594"/>
              <a:gd name="connsiteY65" fmla="*/ 4078531 h 6206893"/>
              <a:gd name="connsiteX66" fmla="*/ 5756074 w 8636594"/>
              <a:gd name="connsiteY66" fmla="*/ 3968727 h 6206893"/>
              <a:gd name="connsiteX67" fmla="*/ 5873483 w 8636594"/>
              <a:gd name="connsiteY67" fmla="*/ 3783989 h 6206893"/>
              <a:gd name="connsiteX68" fmla="*/ 6203209 w 8636594"/>
              <a:gd name="connsiteY68" fmla="*/ 3258640 h 6206893"/>
              <a:gd name="connsiteX69" fmla="*/ 6299430 w 8636594"/>
              <a:gd name="connsiteY69" fmla="*/ 3107321 h 6206893"/>
              <a:gd name="connsiteX70" fmla="*/ 6372650 w 8636594"/>
              <a:gd name="connsiteY70" fmla="*/ 2993735 h 6206893"/>
              <a:gd name="connsiteX71" fmla="*/ 6453197 w 8636594"/>
              <a:gd name="connsiteY71" fmla="*/ 2869788 h 6206893"/>
              <a:gd name="connsiteX72" fmla="*/ 6564167 w 8636594"/>
              <a:gd name="connsiteY72" fmla="*/ 2696807 h 6206893"/>
              <a:gd name="connsiteX73" fmla="*/ 6976233 w 8636594"/>
              <a:gd name="connsiteY73" fmla="*/ 2045274 h 6206893"/>
              <a:gd name="connsiteX74" fmla="*/ 7086755 w 8636594"/>
              <a:gd name="connsiteY74" fmla="*/ 1872743 h 6206893"/>
              <a:gd name="connsiteX75" fmla="*/ 7170279 w 8636594"/>
              <a:gd name="connsiteY75" fmla="*/ 1744202 h 6206893"/>
              <a:gd name="connsiteX76" fmla="*/ 7226351 w 8636594"/>
              <a:gd name="connsiteY76" fmla="*/ 1659017 h 6206893"/>
              <a:gd name="connsiteX77" fmla="*/ 7282789 w 8636594"/>
              <a:gd name="connsiteY77" fmla="*/ 1574303 h 6206893"/>
              <a:gd name="connsiteX78" fmla="*/ 7339643 w 8636594"/>
              <a:gd name="connsiteY78" fmla="*/ 1490113 h 6206893"/>
              <a:gd name="connsiteX79" fmla="*/ 7396957 w 8636594"/>
              <a:gd name="connsiteY79" fmla="*/ 1406503 h 6206893"/>
              <a:gd name="connsiteX80" fmla="*/ 7454781 w 8636594"/>
              <a:gd name="connsiteY80" fmla="*/ 1323526 h 6206893"/>
              <a:gd name="connsiteX81" fmla="*/ 7513161 w 8636594"/>
              <a:gd name="connsiteY81" fmla="*/ 1241237 h 6206893"/>
              <a:gd name="connsiteX82" fmla="*/ 7572144 w 8636594"/>
              <a:gd name="connsiteY82" fmla="*/ 1159689 h 6206893"/>
              <a:gd name="connsiteX83" fmla="*/ 7601877 w 8636594"/>
              <a:gd name="connsiteY83" fmla="*/ 1119210 h 6206893"/>
              <a:gd name="connsiteX84" fmla="*/ 7631779 w 8636594"/>
              <a:gd name="connsiteY84" fmla="*/ 1078937 h 6206893"/>
              <a:gd name="connsiteX85" fmla="*/ 7661855 w 8636594"/>
              <a:gd name="connsiteY85" fmla="*/ 1038876 h 6206893"/>
              <a:gd name="connsiteX86" fmla="*/ 7692111 w 8636594"/>
              <a:gd name="connsiteY86" fmla="*/ 999035 h 6206893"/>
              <a:gd name="connsiteX87" fmla="*/ 7722554 w 8636594"/>
              <a:gd name="connsiteY87" fmla="*/ 959419 h 6206893"/>
              <a:gd name="connsiteX88" fmla="*/ 7753190 w 8636594"/>
              <a:gd name="connsiteY88" fmla="*/ 920037 h 6206893"/>
              <a:gd name="connsiteX89" fmla="*/ 7784023 w 8636594"/>
              <a:gd name="connsiteY89" fmla="*/ 880894 h 6206893"/>
              <a:gd name="connsiteX90" fmla="*/ 7815061 w 8636594"/>
              <a:gd name="connsiteY90" fmla="*/ 841997 h 6206893"/>
              <a:gd name="connsiteX91" fmla="*/ 7846308 w 8636594"/>
              <a:gd name="connsiteY91" fmla="*/ 803354 h 6206893"/>
              <a:gd name="connsiteX92" fmla="*/ 7877772 w 8636594"/>
              <a:gd name="connsiteY92" fmla="*/ 764970 h 6206893"/>
              <a:gd name="connsiteX93" fmla="*/ 7909458 w 8636594"/>
              <a:gd name="connsiteY93" fmla="*/ 726853 h 6206893"/>
              <a:gd name="connsiteX94" fmla="*/ 7941371 w 8636594"/>
              <a:gd name="connsiteY94" fmla="*/ 689010 h 6206893"/>
              <a:gd name="connsiteX95" fmla="*/ 7973518 w 8636594"/>
              <a:gd name="connsiteY95" fmla="*/ 651447 h 6206893"/>
              <a:gd name="connsiteX96" fmla="*/ 8005905 w 8636594"/>
              <a:gd name="connsiteY96" fmla="*/ 614171 h 6206893"/>
              <a:gd name="connsiteX97" fmla="*/ 8038538 w 8636594"/>
              <a:gd name="connsiteY97" fmla="*/ 577189 h 6206893"/>
              <a:gd name="connsiteX98" fmla="*/ 8071421 w 8636594"/>
              <a:gd name="connsiteY98" fmla="*/ 540507 h 6206893"/>
              <a:gd name="connsiteX99" fmla="*/ 8104563 w 8636594"/>
              <a:gd name="connsiteY99" fmla="*/ 504132 h 6206893"/>
              <a:gd name="connsiteX100" fmla="*/ 8137967 w 8636594"/>
              <a:gd name="connsiteY100" fmla="*/ 468072 h 6206893"/>
              <a:gd name="connsiteX101" fmla="*/ 8171641 w 8636594"/>
              <a:gd name="connsiteY101" fmla="*/ 432332 h 6206893"/>
              <a:gd name="connsiteX102" fmla="*/ 8205590 w 8636594"/>
              <a:gd name="connsiteY102" fmla="*/ 396920 h 6206893"/>
              <a:gd name="connsiteX103" fmla="*/ 8239820 w 8636594"/>
              <a:gd name="connsiteY103" fmla="*/ 361843 h 6206893"/>
              <a:gd name="connsiteX104" fmla="*/ 8274337 w 8636594"/>
              <a:gd name="connsiteY104" fmla="*/ 327107 h 6206893"/>
              <a:gd name="connsiteX105" fmla="*/ 8309147 w 8636594"/>
              <a:gd name="connsiteY105" fmla="*/ 292718 h 6206893"/>
              <a:gd name="connsiteX106" fmla="*/ 8344256 w 8636594"/>
              <a:gd name="connsiteY106" fmla="*/ 258685 h 6206893"/>
              <a:gd name="connsiteX107" fmla="*/ 8379669 w 8636594"/>
              <a:gd name="connsiteY107" fmla="*/ 225013 h 6206893"/>
              <a:gd name="connsiteX108" fmla="*/ 8415394 w 8636594"/>
              <a:gd name="connsiteY108" fmla="*/ 191709 h 6206893"/>
              <a:gd name="connsiteX109" fmla="*/ 8451434 w 8636594"/>
              <a:gd name="connsiteY109" fmla="*/ 158780 h 6206893"/>
              <a:gd name="connsiteX110" fmla="*/ 8487798 w 8636594"/>
              <a:gd name="connsiteY110" fmla="*/ 126233 h 6206893"/>
              <a:gd name="connsiteX111" fmla="*/ 8524489 w 8636594"/>
              <a:gd name="connsiteY111" fmla="*/ 94075 h 6206893"/>
              <a:gd name="connsiteX112" fmla="*/ 8561515 w 8636594"/>
              <a:gd name="connsiteY112" fmla="*/ 62312 h 6206893"/>
              <a:gd name="connsiteX113" fmla="*/ 8598881 w 8636594"/>
              <a:gd name="connsiteY113" fmla="*/ 30951 h 6206893"/>
              <a:gd name="connsiteX114" fmla="*/ 8636594 w 8636594"/>
              <a:gd name="connsiteY114" fmla="*/ 0 h 6206893"/>
              <a:gd name="connsiteX0" fmla="*/ 8636594 w 8636594"/>
              <a:gd name="connsiteY0" fmla="*/ 0 h 6186174"/>
              <a:gd name="connsiteX1" fmla="*/ 5293 w 8636594"/>
              <a:gd name="connsiteY1" fmla="*/ 0 h 6186174"/>
              <a:gd name="connsiteX2" fmla="*/ 0 w 8636594"/>
              <a:gd name="connsiteY2" fmla="*/ 5587843 h 6186174"/>
              <a:gd name="connsiteX3" fmla="*/ 1594033 w 8636594"/>
              <a:gd name="connsiteY3" fmla="*/ 5600057 h 6186174"/>
              <a:gd name="connsiteX4" fmla="*/ 1686068 w 8636594"/>
              <a:gd name="connsiteY4" fmla="*/ 5599745 h 6186174"/>
              <a:gd name="connsiteX5" fmla="*/ 3509548 w 8636594"/>
              <a:gd name="connsiteY5" fmla="*/ 6186174 h 6186174"/>
              <a:gd name="connsiteX6" fmla="*/ 3552910 w 8636594"/>
              <a:gd name="connsiteY6" fmla="*/ 6165110 h 6186174"/>
              <a:gd name="connsiteX7" fmla="*/ 3595773 w 8636594"/>
              <a:gd name="connsiteY7" fmla="*/ 6143704 h 6186174"/>
              <a:gd name="connsiteX8" fmla="*/ 3638142 w 8636594"/>
              <a:gd name="connsiteY8" fmla="*/ 6121960 h 6186174"/>
              <a:gd name="connsiteX9" fmla="*/ 3680024 w 8636594"/>
              <a:gd name="connsiteY9" fmla="*/ 6099881 h 6186174"/>
              <a:gd name="connsiteX10" fmla="*/ 3721426 w 8636594"/>
              <a:gd name="connsiteY10" fmla="*/ 6077471 h 6186174"/>
              <a:gd name="connsiteX11" fmla="*/ 3762353 w 8636594"/>
              <a:gd name="connsiteY11" fmla="*/ 6054733 h 6186174"/>
              <a:gd name="connsiteX12" fmla="*/ 3802812 w 8636594"/>
              <a:gd name="connsiteY12" fmla="*/ 6031671 h 6186174"/>
              <a:gd name="connsiteX13" fmla="*/ 3842810 w 8636594"/>
              <a:gd name="connsiteY13" fmla="*/ 6008288 h 6186174"/>
              <a:gd name="connsiteX14" fmla="*/ 3882352 w 8636594"/>
              <a:gd name="connsiteY14" fmla="*/ 5984588 h 6186174"/>
              <a:gd name="connsiteX15" fmla="*/ 3921445 w 8636594"/>
              <a:gd name="connsiteY15" fmla="*/ 5960574 h 6186174"/>
              <a:gd name="connsiteX16" fmla="*/ 3960096 w 8636594"/>
              <a:gd name="connsiteY16" fmla="*/ 5936250 h 6186174"/>
              <a:gd name="connsiteX17" fmla="*/ 3998311 w 8636594"/>
              <a:gd name="connsiteY17" fmla="*/ 5911619 h 6186174"/>
              <a:gd name="connsiteX18" fmla="*/ 4036095 w 8636594"/>
              <a:gd name="connsiteY18" fmla="*/ 5886685 h 6186174"/>
              <a:gd name="connsiteX19" fmla="*/ 4073456 w 8636594"/>
              <a:gd name="connsiteY19" fmla="*/ 5861452 h 6186174"/>
              <a:gd name="connsiteX20" fmla="*/ 4110400 w 8636594"/>
              <a:gd name="connsiteY20" fmla="*/ 5835922 h 6186174"/>
              <a:gd name="connsiteX21" fmla="*/ 4146933 w 8636594"/>
              <a:gd name="connsiteY21" fmla="*/ 5810100 h 6186174"/>
              <a:gd name="connsiteX22" fmla="*/ 4183061 w 8636594"/>
              <a:gd name="connsiteY22" fmla="*/ 5783988 h 6186174"/>
              <a:gd name="connsiteX23" fmla="*/ 4218791 w 8636594"/>
              <a:gd name="connsiteY23" fmla="*/ 5757591 h 6186174"/>
              <a:gd name="connsiteX24" fmla="*/ 4254129 w 8636594"/>
              <a:gd name="connsiteY24" fmla="*/ 5730912 h 6186174"/>
              <a:gd name="connsiteX25" fmla="*/ 4289081 w 8636594"/>
              <a:gd name="connsiteY25" fmla="*/ 5703955 h 6186174"/>
              <a:gd name="connsiteX26" fmla="*/ 4323654 w 8636594"/>
              <a:gd name="connsiteY26" fmla="*/ 5676722 h 6186174"/>
              <a:gd name="connsiteX27" fmla="*/ 4357854 w 8636594"/>
              <a:gd name="connsiteY27" fmla="*/ 5649218 h 6186174"/>
              <a:gd name="connsiteX28" fmla="*/ 4391688 w 8636594"/>
              <a:gd name="connsiteY28" fmla="*/ 5621446 h 6186174"/>
              <a:gd name="connsiteX29" fmla="*/ 4425162 w 8636594"/>
              <a:gd name="connsiteY29" fmla="*/ 5593409 h 6186174"/>
              <a:gd name="connsiteX30" fmla="*/ 4458281 w 8636594"/>
              <a:gd name="connsiteY30" fmla="*/ 5565111 h 6186174"/>
              <a:gd name="connsiteX31" fmla="*/ 4491053 w 8636594"/>
              <a:gd name="connsiteY31" fmla="*/ 5536556 h 6186174"/>
              <a:gd name="connsiteX32" fmla="*/ 4523484 w 8636594"/>
              <a:gd name="connsiteY32" fmla="*/ 5507747 h 6186174"/>
              <a:gd name="connsiteX33" fmla="*/ 4555580 w 8636594"/>
              <a:gd name="connsiteY33" fmla="*/ 5478687 h 6186174"/>
              <a:gd name="connsiteX34" fmla="*/ 4587347 w 8636594"/>
              <a:gd name="connsiteY34" fmla="*/ 5449380 h 6186174"/>
              <a:gd name="connsiteX35" fmla="*/ 4618793 w 8636594"/>
              <a:gd name="connsiteY35" fmla="*/ 5419830 h 6186174"/>
              <a:gd name="connsiteX36" fmla="*/ 4649922 w 8636594"/>
              <a:gd name="connsiteY36" fmla="*/ 5390040 h 6186174"/>
              <a:gd name="connsiteX37" fmla="*/ 4680742 w 8636594"/>
              <a:gd name="connsiteY37" fmla="*/ 5360014 h 6186174"/>
              <a:gd name="connsiteX38" fmla="*/ 4711259 w 8636594"/>
              <a:gd name="connsiteY38" fmla="*/ 5329755 h 6186174"/>
              <a:gd name="connsiteX39" fmla="*/ 4741478 w 8636594"/>
              <a:gd name="connsiteY39" fmla="*/ 5299266 h 6186174"/>
              <a:gd name="connsiteX40" fmla="*/ 4771408 w 8636594"/>
              <a:gd name="connsiteY40" fmla="*/ 5268551 h 6186174"/>
              <a:gd name="connsiteX41" fmla="*/ 4801053 w 8636594"/>
              <a:gd name="connsiteY41" fmla="*/ 5237614 h 6186174"/>
              <a:gd name="connsiteX42" fmla="*/ 4830420 w 8636594"/>
              <a:gd name="connsiteY42" fmla="*/ 5206458 h 6186174"/>
              <a:gd name="connsiteX43" fmla="*/ 4859516 w 8636594"/>
              <a:gd name="connsiteY43" fmla="*/ 5175087 h 6186174"/>
              <a:gd name="connsiteX44" fmla="*/ 4888347 w 8636594"/>
              <a:gd name="connsiteY44" fmla="*/ 5143504 h 6186174"/>
              <a:gd name="connsiteX45" fmla="*/ 4916919 w 8636594"/>
              <a:gd name="connsiteY45" fmla="*/ 5111713 h 6186174"/>
              <a:gd name="connsiteX46" fmla="*/ 4945238 w 8636594"/>
              <a:gd name="connsiteY46" fmla="*/ 5079717 h 6186174"/>
              <a:gd name="connsiteX47" fmla="*/ 4973311 w 8636594"/>
              <a:gd name="connsiteY47" fmla="*/ 5047519 h 6186174"/>
              <a:gd name="connsiteX48" fmla="*/ 5001145 w 8636594"/>
              <a:gd name="connsiteY48" fmla="*/ 5015124 h 6186174"/>
              <a:gd name="connsiteX49" fmla="*/ 5028745 w 8636594"/>
              <a:gd name="connsiteY49" fmla="*/ 4982535 h 6186174"/>
              <a:gd name="connsiteX50" fmla="*/ 5056117 w 8636594"/>
              <a:gd name="connsiteY50" fmla="*/ 4949755 h 6186174"/>
              <a:gd name="connsiteX51" fmla="*/ 5083269 w 8636594"/>
              <a:gd name="connsiteY51" fmla="*/ 4916787 h 6186174"/>
              <a:gd name="connsiteX52" fmla="*/ 5110207 w 8636594"/>
              <a:gd name="connsiteY52" fmla="*/ 4883636 h 6186174"/>
              <a:gd name="connsiteX53" fmla="*/ 5136937 w 8636594"/>
              <a:gd name="connsiteY53" fmla="*/ 4850305 h 6186174"/>
              <a:gd name="connsiteX54" fmla="*/ 5163464 w 8636594"/>
              <a:gd name="connsiteY54" fmla="*/ 4816797 h 6186174"/>
              <a:gd name="connsiteX55" fmla="*/ 5215940 w 8636594"/>
              <a:gd name="connsiteY55" fmla="*/ 4749265 h 6186174"/>
              <a:gd name="connsiteX56" fmla="*/ 5267684 w 8636594"/>
              <a:gd name="connsiteY56" fmla="*/ 4681068 h 6186174"/>
              <a:gd name="connsiteX57" fmla="*/ 5318748 w 8636594"/>
              <a:gd name="connsiteY57" fmla="*/ 4612234 h 6186174"/>
              <a:gd name="connsiteX58" fmla="*/ 5369182 w 8636594"/>
              <a:gd name="connsiteY58" fmla="*/ 4542793 h 6186174"/>
              <a:gd name="connsiteX59" fmla="*/ 5419038 w 8636594"/>
              <a:gd name="connsiteY59" fmla="*/ 4472771 h 6186174"/>
              <a:gd name="connsiteX60" fmla="*/ 5468365 w 8636594"/>
              <a:gd name="connsiteY60" fmla="*/ 4402196 h 6186174"/>
              <a:gd name="connsiteX61" fmla="*/ 5517215 w 8636594"/>
              <a:gd name="connsiteY61" fmla="*/ 4331098 h 6186174"/>
              <a:gd name="connsiteX62" fmla="*/ 5565637 w 8636594"/>
              <a:gd name="connsiteY62" fmla="*/ 4259503 h 6186174"/>
              <a:gd name="connsiteX63" fmla="*/ 5613684 w 8636594"/>
              <a:gd name="connsiteY63" fmla="*/ 4187441 h 6186174"/>
              <a:gd name="connsiteX64" fmla="*/ 5685160 w 8636594"/>
              <a:gd name="connsiteY64" fmla="*/ 4078531 h 6186174"/>
              <a:gd name="connsiteX65" fmla="*/ 5756074 w 8636594"/>
              <a:gd name="connsiteY65" fmla="*/ 3968727 h 6186174"/>
              <a:gd name="connsiteX66" fmla="*/ 5873483 w 8636594"/>
              <a:gd name="connsiteY66" fmla="*/ 3783989 h 6186174"/>
              <a:gd name="connsiteX67" fmla="*/ 6203209 w 8636594"/>
              <a:gd name="connsiteY67" fmla="*/ 3258640 h 6186174"/>
              <a:gd name="connsiteX68" fmla="*/ 6299430 w 8636594"/>
              <a:gd name="connsiteY68" fmla="*/ 3107321 h 6186174"/>
              <a:gd name="connsiteX69" fmla="*/ 6372650 w 8636594"/>
              <a:gd name="connsiteY69" fmla="*/ 2993735 h 6186174"/>
              <a:gd name="connsiteX70" fmla="*/ 6453197 w 8636594"/>
              <a:gd name="connsiteY70" fmla="*/ 2869788 h 6186174"/>
              <a:gd name="connsiteX71" fmla="*/ 6564167 w 8636594"/>
              <a:gd name="connsiteY71" fmla="*/ 2696807 h 6186174"/>
              <a:gd name="connsiteX72" fmla="*/ 6976233 w 8636594"/>
              <a:gd name="connsiteY72" fmla="*/ 2045274 h 6186174"/>
              <a:gd name="connsiteX73" fmla="*/ 7086755 w 8636594"/>
              <a:gd name="connsiteY73" fmla="*/ 1872743 h 6186174"/>
              <a:gd name="connsiteX74" fmla="*/ 7170279 w 8636594"/>
              <a:gd name="connsiteY74" fmla="*/ 1744202 h 6186174"/>
              <a:gd name="connsiteX75" fmla="*/ 7226351 w 8636594"/>
              <a:gd name="connsiteY75" fmla="*/ 1659017 h 6186174"/>
              <a:gd name="connsiteX76" fmla="*/ 7282789 w 8636594"/>
              <a:gd name="connsiteY76" fmla="*/ 1574303 h 6186174"/>
              <a:gd name="connsiteX77" fmla="*/ 7339643 w 8636594"/>
              <a:gd name="connsiteY77" fmla="*/ 1490113 h 6186174"/>
              <a:gd name="connsiteX78" fmla="*/ 7396957 w 8636594"/>
              <a:gd name="connsiteY78" fmla="*/ 1406503 h 6186174"/>
              <a:gd name="connsiteX79" fmla="*/ 7454781 w 8636594"/>
              <a:gd name="connsiteY79" fmla="*/ 1323526 h 6186174"/>
              <a:gd name="connsiteX80" fmla="*/ 7513161 w 8636594"/>
              <a:gd name="connsiteY80" fmla="*/ 1241237 h 6186174"/>
              <a:gd name="connsiteX81" fmla="*/ 7572144 w 8636594"/>
              <a:gd name="connsiteY81" fmla="*/ 1159689 h 6186174"/>
              <a:gd name="connsiteX82" fmla="*/ 7601877 w 8636594"/>
              <a:gd name="connsiteY82" fmla="*/ 1119210 h 6186174"/>
              <a:gd name="connsiteX83" fmla="*/ 7631779 w 8636594"/>
              <a:gd name="connsiteY83" fmla="*/ 1078937 h 6186174"/>
              <a:gd name="connsiteX84" fmla="*/ 7661855 w 8636594"/>
              <a:gd name="connsiteY84" fmla="*/ 1038876 h 6186174"/>
              <a:gd name="connsiteX85" fmla="*/ 7692111 w 8636594"/>
              <a:gd name="connsiteY85" fmla="*/ 999035 h 6186174"/>
              <a:gd name="connsiteX86" fmla="*/ 7722554 w 8636594"/>
              <a:gd name="connsiteY86" fmla="*/ 959419 h 6186174"/>
              <a:gd name="connsiteX87" fmla="*/ 7753190 w 8636594"/>
              <a:gd name="connsiteY87" fmla="*/ 920037 h 6186174"/>
              <a:gd name="connsiteX88" fmla="*/ 7784023 w 8636594"/>
              <a:gd name="connsiteY88" fmla="*/ 880894 h 6186174"/>
              <a:gd name="connsiteX89" fmla="*/ 7815061 w 8636594"/>
              <a:gd name="connsiteY89" fmla="*/ 841997 h 6186174"/>
              <a:gd name="connsiteX90" fmla="*/ 7846308 w 8636594"/>
              <a:gd name="connsiteY90" fmla="*/ 803354 h 6186174"/>
              <a:gd name="connsiteX91" fmla="*/ 7877772 w 8636594"/>
              <a:gd name="connsiteY91" fmla="*/ 764970 h 6186174"/>
              <a:gd name="connsiteX92" fmla="*/ 7909458 w 8636594"/>
              <a:gd name="connsiteY92" fmla="*/ 726853 h 6186174"/>
              <a:gd name="connsiteX93" fmla="*/ 7941371 w 8636594"/>
              <a:gd name="connsiteY93" fmla="*/ 689010 h 6186174"/>
              <a:gd name="connsiteX94" fmla="*/ 7973518 w 8636594"/>
              <a:gd name="connsiteY94" fmla="*/ 651447 h 6186174"/>
              <a:gd name="connsiteX95" fmla="*/ 8005905 w 8636594"/>
              <a:gd name="connsiteY95" fmla="*/ 614171 h 6186174"/>
              <a:gd name="connsiteX96" fmla="*/ 8038538 w 8636594"/>
              <a:gd name="connsiteY96" fmla="*/ 577189 h 6186174"/>
              <a:gd name="connsiteX97" fmla="*/ 8071421 w 8636594"/>
              <a:gd name="connsiteY97" fmla="*/ 540507 h 6186174"/>
              <a:gd name="connsiteX98" fmla="*/ 8104563 w 8636594"/>
              <a:gd name="connsiteY98" fmla="*/ 504132 h 6186174"/>
              <a:gd name="connsiteX99" fmla="*/ 8137967 w 8636594"/>
              <a:gd name="connsiteY99" fmla="*/ 468072 h 6186174"/>
              <a:gd name="connsiteX100" fmla="*/ 8171641 w 8636594"/>
              <a:gd name="connsiteY100" fmla="*/ 432332 h 6186174"/>
              <a:gd name="connsiteX101" fmla="*/ 8205590 w 8636594"/>
              <a:gd name="connsiteY101" fmla="*/ 396920 h 6186174"/>
              <a:gd name="connsiteX102" fmla="*/ 8239820 w 8636594"/>
              <a:gd name="connsiteY102" fmla="*/ 361843 h 6186174"/>
              <a:gd name="connsiteX103" fmla="*/ 8274337 w 8636594"/>
              <a:gd name="connsiteY103" fmla="*/ 327107 h 6186174"/>
              <a:gd name="connsiteX104" fmla="*/ 8309147 w 8636594"/>
              <a:gd name="connsiteY104" fmla="*/ 292718 h 6186174"/>
              <a:gd name="connsiteX105" fmla="*/ 8344256 w 8636594"/>
              <a:gd name="connsiteY105" fmla="*/ 258685 h 6186174"/>
              <a:gd name="connsiteX106" fmla="*/ 8379669 w 8636594"/>
              <a:gd name="connsiteY106" fmla="*/ 225013 h 6186174"/>
              <a:gd name="connsiteX107" fmla="*/ 8415394 w 8636594"/>
              <a:gd name="connsiteY107" fmla="*/ 191709 h 6186174"/>
              <a:gd name="connsiteX108" fmla="*/ 8451434 w 8636594"/>
              <a:gd name="connsiteY108" fmla="*/ 158780 h 6186174"/>
              <a:gd name="connsiteX109" fmla="*/ 8487798 w 8636594"/>
              <a:gd name="connsiteY109" fmla="*/ 126233 h 6186174"/>
              <a:gd name="connsiteX110" fmla="*/ 8524489 w 8636594"/>
              <a:gd name="connsiteY110" fmla="*/ 94075 h 6186174"/>
              <a:gd name="connsiteX111" fmla="*/ 8561515 w 8636594"/>
              <a:gd name="connsiteY111" fmla="*/ 62312 h 6186174"/>
              <a:gd name="connsiteX112" fmla="*/ 8598881 w 8636594"/>
              <a:gd name="connsiteY112" fmla="*/ 30951 h 6186174"/>
              <a:gd name="connsiteX113" fmla="*/ 8636594 w 8636594"/>
              <a:gd name="connsiteY113" fmla="*/ 0 h 6186174"/>
              <a:gd name="connsiteX0" fmla="*/ 8636594 w 8636594"/>
              <a:gd name="connsiteY0" fmla="*/ 0 h 6165110"/>
              <a:gd name="connsiteX1" fmla="*/ 5293 w 8636594"/>
              <a:gd name="connsiteY1" fmla="*/ 0 h 6165110"/>
              <a:gd name="connsiteX2" fmla="*/ 0 w 8636594"/>
              <a:gd name="connsiteY2" fmla="*/ 5587843 h 6165110"/>
              <a:gd name="connsiteX3" fmla="*/ 1594033 w 8636594"/>
              <a:gd name="connsiteY3" fmla="*/ 5600057 h 6165110"/>
              <a:gd name="connsiteX4" fmla="*/ 1686068 w 8636594"/>
              <a:gd name="connsiteY4" fmla="*/ 5599745 h 6165110"/>
              <a:gd name="connsiteX5" fmla="*/ 3552910 w 8636594"/>
              <a:gd name="connsiteY5" fmla="*/ 6165110 h 6165110"/>
              <a:gd name="connsiteX6" fmla="*/ 3595773 w 8636594"/>
              <a:gd name="connsiteY6" fmla="*/ 6143704 h 6165110"/>
              <a:gd name="connsiteX7" fmla="*/ 3638142 w 8636594"/>
              <a:gd name="connsiteY7" fmla="*/ 6121960 h 6165110"/>
              <a:gd name="connsiteX8" fmla="*/ 3680024 w 8636594"/>
              <a:gd name="connsiteY8" fmla="*/ 6099881 h 6165110"/>
              <a:gd name="connsiteX9" fmla="*/ 3721426 w 8636594"/>
              <a:gd name="connsiteY9" fmla="*/ 6077471 h 6165110"/>
              <a:gd name="connsiteX10" fmla="*/ 3762353 w 8636594"/>
              <a:gd name="connsiteY10" fmla="*/ 6054733 h 6165110"/>
              <a:gd name="connsiteX11" fmla="*/ 3802812 w 8636594"/>
              <a:gd name="connsiteY11" fmla="*/ 6031671 h 6165110"/>
              <a:gd name="connsiteX12" fmla="*/ 3842810 w 8636594"/>
              <a:gd name="connsiteY12" fmla="*/ 6008288 h 6165110"/>
              <a:gd name="connsiteX13" fmla="*/ 3882352 w 8636594"/>
              <a:gd name="connsiteY13" fmla="*/ 5984588 h 6165110"/>
              <a:gd name="connsiteX14" fmla="*/ 3921445 w 8636594"/>
              <a:gd name="connsiteY14" fmla="*/ 5960574 h 6165110"/>
              <a:gd name="connsiteX15" fmla="*/ 3960096 w 8636594"/>
              <a:gd name="connsiteY15" fmla="*/ 5936250 h 6165110"/>
              <a:gd name="connsiteX16" fmla="*/ 3998311 w 8636594"/>
              <a:gd name="connsiteY16" fmla="*/ 5911619 h 6165110"/>
              <a:gd name="connsiteX17" fmla="*/ 4036095 w 8636594"/>
              <a:gd name="connsiteY17" fmla="*/ 5886685 h 6165110"/>
              <a:gd name="connsiteX18" fmla="*/ 4073456 w 8636594"/>
              <a:gd name="connsiteY18" fmla="*/ 5861452 h 6165110"/>
              <a:gd name="connsiteX19" fmla="*/ 4110400 w 8636594"/>
              <a:gd name="connsiteY19" fmla="*/ 5835922 h 6165110"/>
              <a:gd name="connsiteX20" fmla="*/ 4146933 w 8636594"/>
              <a:gd name="connsiteY20" fmla="*/ 5810100 h 6165110"/>
              <a:gd name="connsiteX21" fmla="*/ 4183061 w 8636594"/>
              <a:gd name="connsiteY21" fmla="*/ 5783988 h 6165110"/>
              <a:gd name="connsiteX22" fmla="*/ 4218791 w 8636594"/>
              <a:gd name="connsiteY22" fmla="*/ 5757591 h 6165110"/>
              <a:gd name="connsiteX23" fmla="*/ 4254129 w 8636594"/>
              <a:gd name="connsiteY23" fmla="*/ 5730912 h 6165110"/>
              <a:gd name="connsiteX24" fmla="*/ 4289081 w 8636594"/>
              <a:gd name="connsiteY24" fmla="*/ 5703955 h 6165110"/>
              <a:gd name="connsiteX25" fmla="*/ 4323654 w 8636594"/>
              <a:gd name="connsiteY25" fmla="*/ 5676722 h 6165110"/>
              <a:gd name="connsiteX26" fmla="*/ 4357854 w 8636594"/>
              <a:gd name="connsiteY26" fmla="*/ 5649218 h 6165110"/>
              <a:gd name="connsiteX27" fmla="*/ 4391688 w 8636594"/>
              <a:gd name="connsiteY27" fmla="*/ 5621446 h 6165110"/>
              <a:gd name="connsiteX28" fmla="*/ 4425162 w 8636594"/>
              <a:gd name="connsiteY28" fmla="*/ 5593409 h 6165110"/>
              <a:gd name="connsiteX29" fmla="*/ 4458281 w 8636594"/>
              <a:gd name="connsiteY29" fmla="*/ 5565111 h 6165110"/>
              <a:gd name="connsiteX30" fmla="*/ 4491053 w 8636594"/>
              <a:gd name="connsiteY30" fmla="*/ 5536556 h 6165110"/>
              <a:gd name="connsiteX31" fmla="*/ 4523484 w 8636594"/>
              <a:gd name="connsiteY31" fmla="*/ 5507747 h 6165110"/>
              <a:gd name="connsiteX32" fmla="*/ 4555580 w 8636594"/>
              <a:gd name="connsiteY32" fmla="*/ 5478687 h 6165110"/>
              <a:gd name="connsiteX33" fmla="*/ 4587347 w 8636594"/>
              <a:gd name="connsiteY33" fmla="*/ 5449380 h 6165110"/>
              <a:gd name="connsiteX34" fmla="*/ 4618793 w 8636594"/>
              <a:gd name="connsiteY34" fmla="*/ 5419830 h 6165110"/>
              <a:gd name="connsiteX35" fmla="*/ 4649922 w 8636594"/>
              <a:gd name="connsiteY35" fmla="*/ 5390040 h 6165110"/>
              <a:gd name="connsiteX36" fmla="*/ 4680742 w 8636594"/>
              <a:gd name="connsiteY36" fmla="*/ 5360014 h 6165110"/>
              <a:gd name="connsiteX37" fmla="*/ 4711259 w 8636594"/>
              <a:gd name="connsiteY37" fmla="*/ 5329755 h 6165110"/>
              <a:gd name="connsiteX38" fmla="*/ 4741478 w 8636594"/>
              <a:gd name="connsiteY38" fmla="*/ 5299266 h 6165110"/>
              <a:gd name="connsiteX39" fmla="*/ 4771408 w 8636594"/>
              <a:gd name="connsiteY39" fmla="*/ 5268551 h 6165110"/>
              <a:gd name="connsiteX40" fmla="*/ 4801053 w 8636594"/>
              <a:gd name="connsiteY40" fmla="*/ 5237614 h 6165110"/>
              <a:gd name="connsiteX41" fmla="*/ 4830420 w 8636594"/>
              <a:gd name="connsiteY41" fmla="*/ 5206458 h 6165110"/>
              <a:gd name="connsiteX42" fmla="*/ 4859516 w 8636594"/>
              <a:gd name="connsiteY42" fmla="*/ 5175087 h 6165110"/>
              <a:gd name="connsiteX43" fmla="*/ 4888347 w 8636594"/>
              <a:gd name="connsiteY43" fmla="*/ 5143504 h 6165110"/>
              <a:gd name="connsiteX44" fmla="*/ 4916919 w 8636594"/>
              <a:gd name="connsiteY44" fmla="*/ 5111713 h 6165110"/>
              <a:gd name="connsiteX45" fmla="*/ 4945238 w 8636594"/>
              <a:gd name="connsiteY45" fmla="*/ 5079717 h 6165110"/>
              <a:gd name="connsiteX46" fmla="*/ 4973311 w 8636594"/>
              <a:gd name="connsiteY46" fmla="*/ 5047519 h 6165110"/>
              <a:gd name="connsiteX47" fmla="*/ 5001145 w 8636594"/>
              <a:gd name="connsiteY47" fmla="*/ 5015124 h 6165110"/>
              <a:gd name="connsiteX48" fmla="*/ 5028745 w 8636594"/>
              <a:gd name="connsiteY48" fmla="*/ 4982535 h 6165110"/>
              <a:gd name="connsiteX49" fmla="*/ 5056117 w 8636594"/>
              <a:gd name="connsiteY49" fmla="*/ 4949755 h 6165110"/>
              <a:gd name="connsiteX50" fmla="*/ 5083269 w 8636594"/>
              <a:gd name="connsiteY50" fmla="*/ 4916787 h 6165110"/>
              <a:gd name="connsiteX51" fmla="*/ 5110207 w 8636594"/>
              <a:gd name="connsiteY51" fmla="*/ 4883636 h 6165110"/>
              <a:gd name="connsiteX52" fmla="*/ 5136937 w 8636594"/>
              <a:gd name="connsiteY52" fmla="*/ 4850305 h 6165110"/>
              <a:gd name="connsiteX53" fmla="*/ 5163464 w 8636594"/>
              <a:gd name="connsiteY53" fmla="*/ 4816797 h 6165110"/>
              <a:gd name="connsiteX54" fmla="*/ 5215940 w 8636594"/>
              <a:gd name="connsiteY54" fmla="*/ 4749265 h 6165110"/>
              <a:gd name="connsiteX55" fmla="*/ 5267684 w 8636594"/>
              <a:gd name="connsiteY55" fmla="*/ 4681068 h 6165110"/>
              <a:gd name="connsiteX56" fmla="*/ 5318748 w 8636594"/>
              <a:gd name="connsiteY56" fmla="*/ 4612234 h 6165110"/>
              <a:gd name="connsiteX57" fmla="*/ 5369182 w 8636594"/>
              <a:gd name="connsiteY57" fmla="*/ 4542793 h 6165110"/>
              <a:gd name="connsiteX58" fmla="*/ 5419038 w 8636594"/>
              <a:gd name="connsiteY58" fmla="*/ 4472771 h 6165110"/>
              <a:gd name="connsiteX59" fmla="*/ 5468365 w 8636594"/>
              <a:gd name="connsiteY59" fmla="*/ 4402196 h 6165110"/>
              <a:gd name="connsiteX60" fmla="*/ 5517215 w 8636594"/>
              <a:gd name="connsiteY60" fmla="*/ 4331098 h 6165110"/>
              <a:gd name="connsiteX61" fmla="*/ 5565637 w 8636594"/>
              <a:gd name="connsiteY61" fmla="*/ 4259503 h 6165110"/>
              <a:gd name="connsiteX62" fmla="*/ 5613684 w 8636594"/>
              <a:gd name="connsiteY62" fmla="*/ 4187441 h 6165110"/>
              <a:gd name="connsiteX63" fmla="*/ 5685160 w 8636594"/>
              <a:gd name="connsiteY63" fmla="*/ 4078531 h 6165110"/>
              <a:gd name="connsiteX64" fmla="*/ 5756074 w 8636594"/>
              <a:gd name="connsiteY64" fmla="*/ 3968727 h 6165110"/>
              <a:gd name="connsiteX65" fmla="*/ 5873483 w 8636594"/>
              <a:gd name="connsiteY65" fmla="*/ 3783989 h 6165110"/>
              <a:gd name="connsiteX66" fmla="*/ 6203209 w 8636594"/>
              <a:gd name="connsiteY66" fmla="*/ 3258640 h 6165110"/>
              <a:gd name="connsiteX67" fmla="*/ 6299430 w 8636594"/>
              <a:gd name="connsiteY67" fmla="*/ 3107321 h 6165110"/>
              <a:gd name="connsiteX68" fmla="*/ 6372650 w 8636594"/>
              <a:gd name="connsiteY68" fmla="*/ 2993735 h 6165110"/>
              <a:gd name="connsiteX69" fmla="*/ 6453197 w 8636594"/>
              <a:gd name="connsiteY69" fmla="*/ 2869788 h 6165110"/>
              <a:gd name="connsiteX70" fmla="*/ 6564167 w 8636594"/>
              <a:gd name="connsiteY70" fmla="*/ 2696807 h 6165110"/>
              <a:gd name="connsiteX71" fmla="*/ 6976233 w 8636594"/>
              <a:gd name="connsiteY71" fmla="*/ 2045274 h 6165110"/>
              <a:gd name="connsiteX72" fmla="*/ 7086755 w 8636594"/>
              <a:gd name="connsiteY72" fmla="*/ 1872743 h 6165110"/>
              <a:gd name="connsiteX73" fmla="*/ 7170279 w 8636594"/>
              <a:gd name="connsiteY73" fmla="*/ 1744202 h 6165110"/>
              <a:gd name="connsiteX74" fmla="*/ 7226351 w 8636594"/>
              <a:gd name="connsiteY74" fmla="*/ 1659017 h 6165110"/>
              <a:gd name="connsiteX75" fmla="*/ 7282789 w 8636594"/>
              <a:gd name="connsiteY75" fmla="*/ 1574303 h 6165110"/>
              <a:gd name="connsiteX76" fmla="*/ 7339643 w 8636594"/>
              <a:gd name="connsiteY76" fmla="*/ 1490113 h 6165110"/>
              <a:gd name="connsiteX77" fmla="*/ 7396957 w 8636594"/>
              <a:gd name="connsiteY77" fmla="*/ 1406503 h 6165110"/>
              <a:gd name="connsiteX78" fmla="*/ 7454781 w 8636594"/>
              <a:gd name="connsiteY78" fmla="*/ 1323526 h 6165110"/>
              <a:gd name="connsiteX79" fmla="*/ 7513161 w 8636594"/>
              <a:gd name="connsiteY79" fmla="*/ 1241237 h 6165110"/>
              <a:gd name="connsiteX80" fmla="*/ 7572144 w 8636594"/>
              <a:gd name="connsiteY80" fmla="*/ 1159689 h 6165110"/>
              <a:gd name="connsiteX81" fmla="*/ 7601877 w 8636594"/>
              <a:gd name="connsiteY81" fmla="*/ 1119210 h 6165110"/>
              <a:gd name="connsiteX82" fmla="*/ 7631779 w 8636594"/>
              <a:gd name="connsiteY82" fmla="*/ 1078937 h 6165110"/>
              <a:gd name="connsiteX83" fmla="*/ 7661855 w 8636594"/>
              <a:gd name="connsiteY83" fmla="*/ 1038876 h 6165110"/>
              <a:gd name="connsiteX84" fmla="*/ 7692111 w 8636594"/>
              <a:gd name="connsiteY84" fmla="*/ 999035 h 6165110"/>
              <a:gd name="connsiteX85" fmla="*/ 7722554 w 8636594"/>
              <a:gd name="connsiteY85" fmla="*/ 959419 h 6165110"/>
              <a:gd name="connsiteX86" fmla="*/ 7753190 w 8636594"/>
              <a:gd name="connsiteY86" fmla="*/ 920037 h 6165110"/>
              <a:gd name="connsiteX87" fmla="*/ 7784023 w 8636594"/>
              <a:gd name="connsiteY87" fmla="*/ 880894 h 6165110"/>
              <a:gd name="connsiteX88" fmla="*/ 7815061 w 8636594"/>
              <a:gd name="connsiteY88" fmla="*/ 841997 h 6165110"/>
              <a:gd name="connsiteX89" fmla="*/ 7846308 w 8636594"/>
              <a:gd name="connsiteY89" fmla="*/ 803354 h 6165110"/>
              <a:gd name="connsiteX90" fmla="*/ 7877772 w 8636594"/>
              <a:gd name="connsiteY90" fmla="*/ 764970 h 6165110"/>
              <a:gd name="connsiteX91" fmla="*/ 7909458 w 8636594"/>
              <a:gd name="connsiteY91" fmla="*/ 726853 h 6165110"/>
              <a:gd name="connsiteX92" fmla="*/ 7941371 w 8636594"/>
              <a:gd name="connsiteY92" fmla="*/ 689010 h 6165110"/>
              <a:gd name="connsiteX93" fmla="*/ 7973518 w 8636594"/>
              <a:gd name="connsiteY93" fmla="*/ 651447 h 6165110"/>
              <a:gd name="connsiteX94" fmla="*/ 8005905 w 8636594"/>
              <a:gd name="connsiteY94" fmla="*/ 614171 h 6165110"/>
              <a:gd name="connsiteX95" fmla="*/ 8038538 w 8636594"/>
              <a:gd name="connsiteY95" fmla="*/ 577189 h 6165110"/>
              <a:gd name="connsiteX96" fmla="*/ 8071421 w 8636594"/>
              <a:gd name="connsiteY96" fmla="*/ 540507 h 6165110"/>
              <a:gd name="connsiteX97" fmla="*/ 8104563 w 8636594"/>
              <a:gd name="connsiteY97" fmla="*/ 504132 h 6165110"/>
              <a:gd name="connsiteX98" fmla="*/ 8137967 w 8636594"/>
              <a:gd name="connsiteY98" fmla="*/ 468072 h 6165110"/>
              <a:gd name="connsiteX99" fmla="*/ 8171641 w 8636594"/>
              <a:gd name="connsiteY99" fmla="*/ 432332 h 6165110"/>
              <a:gd name="connsiteX100" fmla="*/ 8205590 w 8636594"/>
              <a:gd name="connsiteY100" fmla="*/ 396920 h 6165110"/>
              <a:gd name="connsiteX101" fmla="*/ 8239820 w 8636594"/>
              <a:gd name="connsiteY101" fmla="*/ 361843 h 6165110"/>
              <a:gd name="connsiteX102" fmla="*/ 8274337 w 8636594"/>
              <a:gd name="connsiteY102" fmla="*/ 327107 h 6165110"/>
              <a:gd name="connsiteX103" fmla="*/ 8309147 w 8636594"/>
              <a:gd name="connsiteY103" fmla="*/ 292718 h 6165110"/>
              <a:gd name="connsiteX104" fmla="*/ 8344256 w 8636594"/>
              <a:gd name="connsiteY104" fmla="*/ 258685 h 6165110"/>
              <a:gd name="connsiteX105" fmla="*/ 8379669 w 8636594"/>
              <a:gd name="connsiteY105" fmla="*/ 225013 h 6165110"/>
              <a:gd name="connsiteX106" fmla="*/ 8415394 w 8636594"/>
              <a:gd name="connsiteY106" fmla="*/ 191709 h 6165110"/>
              <a:gd name="connsiteX107" fmla="*/ 8451434 w 8636594"/>
              <a:gd name="connsiteY107" fmla="*/ 158780 h 6165110"/>
              <a:gd name="connsiteX108" fmla="*/ 8487798 w 8636594"/>
              <a:gd name="connsiteY108" fmla="*/ 126233 h 6165110"/>
              <a:gd name="connsiteX109" fmla="*/ 8524489 w 8636594"/>
              <a:gd name="connsiteY109" fmla="*/ 94075 h 6165110"/>
              <a:gd name="connsiteX110" fmla="*/ 8561515 w 8636594"/>
              <a:gd name="connsiteY110" fmla="*/ 62312 h 6165110"/>
              <a:gd name="connsiteX111" fmla="*/ 8598881 w 8636594"/>
              <a:gd name="connsiteY111" fmla="*/ 30951 h 6165110"/>
              <a:gd name="connsiteX112" fmla="*/ 8636594 w 8636594"/>
              <a:gd name="connsiteY112" fmla="*/ 0 h 6165110"/>
              <a:gd name="connsiteX0" fmla="*/ 8636594 w 8636594"/>
              <a:gd name="connsiteY0" fmla="*/ 0 h 6143704"/>
              <a:gd name="connsiteX1" fmla="*/ 5293 w 8636594"/>
              <a:gd name="connsiteY1" fmla="*/ 0 h 6143704"/>
              <a:gd name="connsiteX2" fmla="*/ 0 w 8636594"/>
              <a:gd name="connsiteY2" fmla="*/ 5587843 h 6143704"/>
              <a:gd name="connsiteX3" fmla="*/ 1594033 w 8636594"/>
              <a:gd name="connsiteY3" fmla="*/ 5600057 h 6143704"/>
              <a:gd name="connsiteX4" fmla="*/ 1686068 w 8636594"/>
              <a:gd name="connsiteY4" fmla="*/ 5599745 h 6143704"/>
              <a:gd name="connsiteX5" fmla="*/ 3595773 w 8636594"/>
              <a:gd name="connsiteY5" fmla="*/ 6143704 h 6143704"/>
              <a:gd name="connsiteX6" fmla="*/ 3638142 w 8636594"/>
              <a:gd name="connsiteY6" fmla="*/ 6121960 h 6143704"/>
              <a:gd name="connsiteX7" fmla="*/ 3680024 w 8636594"/>
              <a:gd name="connsiteY7" fmla="*/ 6099881 h 6143704"/>
              <a:gd name="connsiteX8" fmla="*/ 3721426 w 8636594"/>
              <a:gd name="connsiteY8" fmla="*/ 6077471 h 6143704"/>
              <a:gd name="connsiteX9" fmla="*/ 3762353 w 8636594"/>
              <a:gd name="connsiteY9" fmla="*/ 6054733 h 6143704"/>
              <a:gd name="connsiteX10" fmla="*/ 3802812 w 8636594"/>
              <a:gd name="connsiteY10" fmla="*/ 6031671 h 6143704"/>
              <a:gd name="connsiteX11" fmla="*/ 3842810 w 8636594"/>
              <a:gd name="connsiteY11" fmla="*/ 6008288 h 6143704"/>
              <a:gd name="connsiteX12" fmla="*/ 3882352 w 8636594"/>
              <a:gd name="connsiteY12" fmla="*/ 5984588 h 6143704"/>
              <a:gd name="connsiteX13" fmla="*/ 3921445 w 8636594"/>
              <a:gd name="connsiteY13" fmla="*/ 5960574 h 6143704"/>
              <a:gd name="connsiteX14" fmla="*/ 3960096 w 8636594"/>
              <a:gd name="connsiteY14" fmla="*/ 5936250 h 6143704"/>
              <a:gd name="connsiteX15" fmla="*/ 3998311 w 8636594"/>
              <a:gd name="connsiteY15" fmla="*/ 5911619 h 6143704"/>
              <a:gd name="connsiteX16" fmla="*/ 4036095 w 8636594"/>
              <a:gd name="connsiteY16" fmla="*/ 5886685 h 6143704"/>
              <a:gd name="connsiteX17" fmla="*/ 4073456 w 8636594"/>
              <a:gd name="connsiteY17" fmla="*/ 5861452 h 6143704"/>
              <a:gd name="connsiteX18" fmla="*/ 4110400 w 8636594"/>
              <a:gd name="connsiteY18" fmla="*/ 5835922 h 6143704"/>
              <a:gd name="connsiteX19" fmla="*/ 4146933 w 8636594"/>
              <a:gd name="connsiteY19" fmla="*/ 5810100 h 6143704"/>
              <a:gd name="connsiteX20" fmla="*/ 4183061 w 8636594"/>
              <a:gd name="connsiteY20" fmla="*/ 5783988 h 6143704"/>
              <a:gd name="connsiteX21" fmla="*/ 4218791 w 8636594"/>
              <a:gd name="connsiteY21" fmla="*/ 5757591 h 6143704"/>
              <a:gd name="connsiteX22" fmla="*/ 4254129 w 8636594"/>
              <a:gd name="connsiteY22" fmla="*/ 5730912 h 6143704"/>
              <a:gd name="connsiteX23" fmla="*/ 4289081 w 8636594"/>
              <a:gd name="connsiteY23" fmla="*/ 5703955 h 6143704"/>
              <a:gd name="connsiteX24" fmla="*/ 4323654 w 8636594"/>
              <a:gd name="connsiteY24" fmla="*/ 5676722 h 6143704"/>
              <a:gd name="connsiteX25" fmla="*/ 4357854 w 8636594"/>
              <a:gd name="connsiteY25" fmla="*/ 5649218 h 6143704"/>
              <a:gd name="connsiteX26" fmla="*/ 4391688 w 8636594"/>
              <a:gd name="connsiteY26" fmla="*/ 5621446 h 6143704"/>
              <a:gd name="connsiteX27" fmla="*/ 4425162 w 8636594"/>
              <a:gd name="connsiteY27" fmla="*/ 5593409 h 6143704"/>
              <a:gd name="connsiteX28" fmla="*/ 4458281 w 8636594"/>
              <a:gd name="connsiteY28" fmla="*/ 5565111 h 6143704"/>
              <a:gd name="connsiteX29" fmla="*/ 4491053 w 8636594"/>
              <a:gd name="connsiteY29" fmla="*/ 5536556 h 6143704"/>
              <a:gd name="connsiteX30" fmla="*/ 4523484 w 8636594"/>
              <a:gd name="connsiteY30" fmla="*/ 5507747 h 6143704"/>
              <a:gd name="connsiteX31" fmla="*/ 4555580 w 8636594"/>
              <a:gd name="connsiteY31" fmla="*/ 5478687 h 6143704"/>
              <a:gd name="connsiteX32" fmla="*/ 4587347 w 8636594"/>
              <a:gd name="connsiteY32" fmla="*/ 5449380 h 6143704"/>
              <a:gd name="connsiteX33" fmla="*/ 4618793 w 8636594"/>
              <a:gd name="connsiteY33" fmla="*/ 5419830 h 6143704"/>
              <a:gd name="connsiteX34" fmla="*/ 4649922 w 8636594"/>
              <a:gd name="connsiteY34" fmla="*/ 5390040 h 6143704"/>
              <a:gd name="connsiteX35" fmla="*/ 4680742 w 8636594"/>
              <a:gd name="connsiteY35" fmla="*/ 5360014 h 6143704"/>
              <a:gd name="connsiteX36" fmla="*/ 4711259 w 8636594"/>
              <a:gd name="connsiteY36" fmla="*/ 5329755 h 6143704"/>
              <a:gd name="connsiteX37" fmla="*/ 4741478 w 8636594"/>
              <a:gd name="connsiteY37" fmla="*/ 5299266 h 6143704"/>
              <a:gd name="connsiteX38" fmla="*/ 4771408 w 8636594"/>
              <a:gd name="connsiteY38" fmla="*/ 5268551 h 6143704"/>
              <a:gd name="connsiteX39" fmla="*/ 4801053 w 8636594"/>
              <a:gd name="connsiteY39" fmla="*/ 5237614 h 6143704"/>
              <a:gd name="connsiteX40" fmla="*/ 4830420 w 8636594"/>
              <a:gd name="connsiteY40" fmla="*/ 5206458 h 6143704"/>
              <a:gd name="connsiteX41" fmla="*/ 4859516 w 8636594"/>
              <a:gd name="connsiteY41" fmla="*/ 5175087 h 6143704"/>
              <a:gd name="connsiteX42" fmla="*/ 4888347 w 8636594"/>
              <a:gd name="connsiteY42" fmla="*/ 5143504 h 6143704"/>
              <a:gd name="connsiteX43" fmla="*/ 4916919 w 8636594"/>
              <a:gd name="connsiteY43" fmla="*/ 5111713 h 6143704"/>
              <a:gd name="connsiteX44" fmla="*/ 4945238 w 8636594"/>
              <a:gd name="connsiteY44" fmla="*/ 5079717 h 6143704"/>
              <a:gd name="connsiteX45" fmla="*/ 4973311 w 8636594"/>
              <a:gd name="connsiteY45" fmla="*/ 5047519 h 6143704"/>
              <a:gd name="connsiteX46" fmla="*/ 5001145 w 8636594"/>
              <a:gd name="connsiteY46" fmla="*/ 5015124 h 6143704"/>
              <a:gd name="connsiteX47" fmla="*/ 5028745 w 8636594"/>
              <a:gd name="connsiteY47" fmla="*/ 4982535 h 6143704"/>
              <a:gd name="connsiteX48" fmla="*/ 5056117 w 8636594"/>
              <a:gd name="connsiteY48" fmla="*/ 4949755 h 6143704"/>
              <a:gd name="connsiteX49" fmla="*/ 5083269 w 8636594"/>
              <a:gd name="connsiteY49" fmla="*/ 4916787 h 6143704"/>
              <a:gd name="connsiteX50" fmla="*/ 5110207 w 8636594"/>
              <a:gd name="connsiteY50" fmla="*/ 4883636 h 6143704"/>
              <a:gd name="connsiteX51" fmla="*/ 5136937 w 8636594"/>
              <a:gd name="connsiteY51" fmla="*/ 4850305 h 6143704"/>
              <a:gd name="connsiteX52" fmla="*/ 5163464 w 8636594"/>
              <a:gd name="connsiteY52" fmla="*/ 4816797 h 6143704"/>
              <a:gd name="connsiteX53" fmla="*/ 5215940 w 8636594"/>
              <a:gd name="connsiteY53" fmla="*/ 4749265 h 6143704"/>
              <a:gd name="connsiteX54" fmla="*/ 5267684 w 8636594"/>
              <a:gd name="connsiteY54" fmla="*/ 4681068 h 6143704"/>
              <a:gd name="connsiteX55" fmla="*/ 5318748 w 8636594"/>
              <a:gd name="connsiteY55" fmla="*/ 4612234 h 6143704"/>
              <a:gd name="connsiteX56" fmla="*/ 5369182 w 8636594"/>
              <a:gd name="connsiteY56" fmla="*/ 4542793 h 6143704"/>
              <a:gd name="connsiteX57" fmla="*/ 5419038 w 8636594"/>
              <a:gd name="connsiteY57" fmla="*/ 4472771 h 6143704"/>
              <a:gd name="connsiteX58" fmla="*/ 5468365 w 8636594"/>
              <a:gd name="connsiteY58" fmla="*/ 4402196 h 6143704"/>
              <a:gd name="connsiteX59" fmla="*/ 5517215 w 8636594"/>
              <a:gd name="connsiteY59" fmla="*/ 4331098 h 6143704"/>
              <a:gd name="connsiteX60" fmla="*/ 5565637 w 8636594"/>
              <a:gd name="connsiteY60" fmla="*/ 4259503 h 6143704"/>
              <a:gd name="connsiteX61" fmla="*/ 5613684 w 8636594"/>
              <a:gd name="connsiteY61" fmla="*/ 4187441 h 6143704"/>
              <a:gd name="connsiteX62" fmla="*/ 5685160 w 8636594"/>
              <a:gd name="connsiteY62" fmla="*/ 4078531 h 6143704"/>
              <a:gd name="connsiteX63" fmla="*/ 5756074 w 8636594"/>
              <a:gd name="connsiteY63" fmla="*/ 3968727 h 6143704"/>
              <a:gd name="connsiteX64" fmla="*/ 5873483 w 8636594"/>
              <a:gd name="connsiteY64" fmla="*/ 3783989 h 6143704"/>
              <a:gd name="connsiteX65" fmla="*/ 6203209 w 8636594"/>
              <a:gd name="connsiteY65" fmla="*/ 3258640 h 6143704"/>
              <a:gd name="connsiteX66" fmla="*/ 6299430 w 8636594"/>
              <a:gd name="connsiteY66" fmla="*/ 3107321 h 6143704"/>
              <a:gd name="connsiteX67" fmla="*/ 6372650 w 8636594"/>
              <a:gd name="connsiteY67" fmla="*/ 2993735 h 6143704"/>
              <a:gd name="connsiteX68" fmla="*/ 6453197 w 8636594"/>
              <a:gd name="connsiteY68" fmla="*/ 2869788 h 6143704"/>
              <a:gd name="connsiteX69" fmla="*/ 6564167 w 8636594"/>
              <a:gd name="connsiteY69" fmla="*/ 2696807 h 6143704"/>
              <a:gd name="connsiteX70" fmla="*/ 6976233 w 8636594"/>
              <a:gd name="connsiteY70" fmla="*/ 2045274 h 6143704"/>
              <a:gd name="connsiteX71" fmla="*/ 7086755 w 8636594"/>
              <a:gd name="connsiteY71" fmla="*/ 1872743 h 6143704"/>
              <a:gd name="connsiteX72" fmla="*/ 7170279 w 8636594"/>
              <a:gd name="connsiteY72" fmla="*/ 1744202 h 6143704"/>
              <a:gd name="connsiteX73" fmla="*/ 7226351 w 8636594"/>
              <a:gd name="connsiteY73" fmla="*/ 1659017 h 6143704"/>
              <a:gd name="connsiteX74" fmla="*/ 7282789 w 8636594"/>
              <a:gd name="connsiteY74" fmla="*/ 1574303 h 6143704"/>
              <a:gd name="connsiteX75" fmla="*/ 7339643 w 8636594"/>
              <a:gd name="connsiteY75" fmla="*/ 1490113 h 6143704"/>
              <a:gd name="connsiteX76" fmla="*/ 7396957 w 8636594"/>
              <a:gd name="connsiteY76" fmla="*/ 1406503 h 6143704"/>
              <a:gd name="connsiteX77" fmla="*/ 7454781 w 8636594"/>
              <a:gd name="connsiteY77" fmla="*/ 1323526 h 6143704"/>
              <a:gd name="connsiteX78" fmla="*/ 7513161 w 8636594"/>
              <a:gd name="connsiteY78" fmla="*/ 1241237 h 6143704"/>
              <a:gd name="connsiteX79" fmla="*/ 7572144 w 8636594"/>
              <a:gd name="connsiteY79" fmla="*/ 1159689 h 6143704"/>
              <a:gd name="connsiteX80" fmla="*/ 7601877 w 8636594"/>
              <a:gd name="connsiteY80" fmla="*/ 1119210 h 6143704"/>
              <a:gd name="connsiteX81" fmla="*/ 7631779 w 8636594"/>
              <a:gd name="connsiteY81" fmla="*/ 1078937 h 6143704"/>
              <a:gd name="connsiteX82" fmla="*/ 7661855 w 8636594"/>
              <a:gd name="connsiteY82" fmla="*/ 1038876 h 6143704"/>
              <a:gd name="connsiteX83" fmla="*/ 7692111 w 8636594"/>
              <a:gd name="connsiteY83" fmla="*/ 999035 h 6143704"/>
              <a:gd name="connsiteX84" fmla="*/ 7722554 w 8636594"/>
              <a:gd name="connsiteY84" fmla="*/ 959419 h 6143704"/>
              <a:gd name="connsiteX85" fmla="*/ 7753190 w 8636594"/>
              <a:gd name="connsiteY85" fmla="*/ 920037 h 6143704"/>
              <a:gd name="connsiteX86" fmla="*/ 7784023 w 8636594"/>
              <a:gd name="connsiteY86" fmla="*/ 880894 h 6143704"/>
              <a:gd name="connsiteX87" fmla="*/ 7815061 w 8636594"/>
              <a:gd name="connsiteY87" fmla="*/ 841997 h 6143704"/>
              <a:gd name="connsiteX88" fmla="*/ 7846308 w 8636594"/>
              <a:gd name="connsiteY88" fmla="*/ 803354 h 6143704"/>
              <a:gd name="connsiteX89" fmla="*/ 7877772 w 8636594"/>
              <a:gd name="connsiteY89" fmla="*/ 764970 h 6143704"/>
              <a:gd name="connsiteX90" fmla="*/ 7909458 w 8636594"/>
              <a:gd name="connsiteY90" fmla="*/ 726853 h 6143704"/>
              <a:gd name="connsiteX91" fmla="*/ 7941371 w 8636594"/>
              <a:gd name="connsiteY91" fmla="*/ 689010 h 6143704"/>
              <a:gd name="connsiteX92" fmla="*/ 7973518 w 8636594"/>
              <a:gd name="connsiteY92" fmla="*/ 651447 h 6143704"/>
              <a:gd name="connsiteX93" fmla="*/ 8005905 w 8636594"/>
              <a:gd name="connsiteY93" fmla="*/ 614171 h 6143704"/>
              <a:gd name="connsiteX94" fmla="*/ 8038538 w 8636594"/>
              <a:gd name="connsiteY94" fmla="*/ 577189 h 6143704"/>
              <a:gd name="connsiteX95" fmla="*/ 8071421 w 8636594"/>
              <a:gd name="connsiteY95" fmla="*/ 540507 h 6143704"/>
              <a:gd name="connsiteX96" fmla="*/ 8104563 w 8636594"/>
              <a:gd name="connsiteY96" fmla="*/ 504132 h 6143704"/>
              <a:gd name="connsiteX97" fmla="*/ 8137967 w 8636594"/>
              <a:gd name="connsiteY97" fmla="*/ 468072 h 6143704"/>
              <a:gd name="connsiteX98" fmla="*/ 8171641 w 8636594"/>
              <a:gd name="connsiteY98" fmla="*/ 432332 h 6143704"/>
              <a:gd name="connsiteX99" fmla="*/ 8205590 w 8636594"/>
              <a:gd name="connsiteY99" fmla="*/ 396920 h 6143704"/>
              <a:gd name="connsiteX100" fmla="*/ 8239820 w 8636594"/>
              <a:gd name="connsiteY100" fmla="*/ 361843 h 6143704"/>
              <a:gd name="connsiteX101" fmla="*/ 8274337 w 8636594"/>
              <a:gd name="connsiteY101" fmla="*/ 327107 h 6143704"/>
              <a:gd name="connsiteX102" fmla="*/ 8309147 w 8636594"/>
              <a:gd name="connsiteY102" fmla="*/ 292718 h 6143704"/>
              <a:gd name="connsiteX103" fmla="*/ 8344256 w 8636594"/>
              <a:gd name="connsiteY103" fmla="*/ 258685 h 6143704"/>
              <a:gd name="connsiteX104" fmla="*/ 8379669 w 8636594"/>
              <a:gd name="connsiteY104" fmla="*/ 225013 h 6143704"/>
              <a:gd name="connsiteX105" fmla="*/ 8415394 w 8636594"/>
              <a:gd name="connsiteY105" fmla="*/ 191709 h 6143704"/>
              <a:gd name="connsiteX106" fmla="*/ 8451434 w 8636594"/>
              <a:gd name="connsiteY106" fmla="*/ 158780 h 6143704"/>
              <a:gd name="connsiteX107" fmla="*/ 8487798 w 8636594"/>
              <a:gd name="connsiteY107" fmla="*/ 126233 h 6143704"/>
              <a:gd name="connsiteX108" fmla="*/ 8524489 w 8636594"/>
              <a:gd name="connsiteY108" fmla="*/ 94075 h 6143704"/>
              <a:gd name="connsiteX109" fmla="*/ 8561515 w 8636594"/>
              <a:gd name="connsiteY109" fmla="*/ 62312 h 6143704"/>
              <a:gd name="connsiteX110" fmla="*/ 8598881 w 8636594"/>
              <a:gd name="connsiteY110" fmla="*/ 30951 h 6143704"/>
              <a:gd name="connsiteX111" fmla="*/ 8636594 w 8636594"/>
              <a:gd name="connsiteY111" fmla="*/ 0 h 6143704"/>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1686068 w 8636594"/>
              <a:gd name="connsiteY4" fmla="*/ 5599745 h 6121960"/>
              <a:gd name="connsiteX5" fmla="*/ 3638142 w 8636594"/>
              <a:gd name="connsiteY5" fmla="*/ 6121960 h 6121960"/>
              <a:gd name="connsiteX6" fmla="*/ 3680024 w 8636594"/>
              <a:gd name="connsiteY6" fmla="*/ 6099881 h 6121960"/>
              <a:gd name="connsiteX7" fmla="*/ 3721426 w 8636594"/>
              <a:gd name="connsiteY7" fmla="*/ 6077471 h 6121960"/>
              <a:gd name="connsiteX8" fmla="*/ 3762353 w 8636594"/>
              <a:gd name="connsiteY8" fmla="*/ 6054733 h 6121960"/>
              <a:gd name="connsiteX9" fmla="*/ 3802812 w 8636594"/>
              <a:gd name="connsiteY9" fmla="*/ 6031671 h 6121960"/>
              <a:gd name="connsiteX10" fmla="*/ 3842810 w 8636594"/>
              <a:gd name="connsiteY10" fmla="*/ 6008288 h 6121960"/>
              <a:gd name="connsiteX11" fmla="*/ 3882352 w 8636594"/>
              <a:gd name="connsiteY11" fmla="*/ 5984588 h 6121960"/>
              <a:gd name="connsiteX12" fmla="*/ 3921445 w 8636594"/>
              <a:gd name="connsiteY12" fmla="*/ 5960574 h 6121960"/>
              <a:gd name="connsiteX13" fmla="*/ 3960096 w 8636594"/>
              <a:gd name="connsiteY13" fmla="*/ 5936250 h 6121960"/>
              <a:gd name="connsiteX14" fmla="*/ 3998311 w 8636594"/>
              <a:gd name="connsiteY14" fmla="*/ 5911619 h 6121960"/>
              <a:gd name="connsiteX15" fmla="*/ 4036095 w 8636594"/>
              <a:gd name="connsiteY15" fmla="*/ 5886685 h 6121960"/>
              <a:gd name="connsiteX16" fmla="*/ 4073456 w 8636594"/>
              <a:gd name="connsiteY16" fmla="*/ 5861452 h 6121960"/>
              <a:gd name="connsiteX17" fmla="*/ 4110400 w 8636594"/>
              <a:gd name="connsiteY17" fmla="*/ 5835922 h 6121960"/>
              <a:gd name="connsiteX18" fmla="*/ 4146933 w 8636594"/>
              <a:gd name="connsiteY18" fmla="*/ 5810100 h 6121960"/>
              <a:gd name="connsiteX19" fmla="*/ 4183061 w 8636594"/>
              <a:gd name="connsiteY19" fmla="*/ 5783988 h 6121960"/>
              <a:gd name="connsiteX20" fmla="*/ 4218791 w 8636594"/>
              <a:gd name="connsiteY20" fmla="*/ 5757591 h 6121960"/>
              <a:gd name="connsiteX21" fmla="*/ 4254129 w 8636594"/>
              <a:gd name="connsiteY21" fmla="*/ 5730912 h 6121960"/>
              <a:gd name="connsiteX22" fmla="*/ 4289081 w 8636594"/>
              <a:gd name="connsiteY22" fmla="*/ 5703955 h 6121960"/>
              <a:gd name="connsiteX23" fmla="*/ 4323654 w 8636594"/>
              <a:gd name="connsiteY23" fmla="*/ 5676722 h 6121960"/>
              <a:gd name="connsiteX24" fmla="*/ 4357854 w 8636594"/>
              <a:gd name="connsiteY24" fmla="*/ 5649218 h 6121960"/>
              <a:gd name="connsiteX25" fmla="*/ 4391688 w 8636594"/>
              <a:gd name="connsiteY25" fmla="*/ 5621446 h 6121960"/>
              <a:gd name="connsiteX26" fmla="*/ 4425162 w 8636594"/>
              <a:gd name="connsiteY26" fmla="*/ 5593409 h 6121960"/>
              <a:gd name="connsiteX27" fmla="*/ 4458281 w 8636594"/>
              <a:gd name="connsiteY27" fmla="*/ 5565111 h 6121960"/>
              <a:gd name="connsiteX28" fmla="*/ 4491053 w 8636594"/>
              <a:gd name="connsiteY28" fmla="*/ 5536556 h 6121960"/>
              <a:gd name="connsiteX29" fmla="*/ 4523484 w 8636594"/>
              <a:gd name="connsiteY29" fmla="*/ 5507747 h 6121960"/>
              <a:gd name="connsiteX30" fmla="*/ 4555580 w 8636594"/>
              <a:gd name="connsiteY30" fmla="*/ 5478687 h 6121960"/>
              <a:gd name="connsiteX31" fmla="*/ 4587347 w 8636594"/>
              <a:gd name="connsiteY31" fmla="*/ 5449380 h 6121960"/>
              <a:gd name="connsiteX32" fmla="*/ 4618793 w 8636594"/>
              <a:gd name="connsiteY32" fmla="*/ 5419830 h 6121960"/>
              <a:gd name="connsiteX33" fmla="*/ 4649922 w 8636594"/>
              <a:gd name="connsiteY33" fmla="*/ 5390040 h 6121960"/>
              <a:gd name="connsiteX34" fmla="*/ 4680742 w 8636594"/>
              <a:gd name="connsiteY34" fmla="*/ 5360014 h 6121960"/>
              <a:gd name="connsiteX35" fmla="*/ 4711259 w 8636594"/>
              <a:gd name="connsiteY35" fmla="*/ 5329755 h 6121960"/>
              <a:gd name="connsiteX36" fmla="*/ 4741478 w 8636594"/>
              <a:gd name="connsiteY36" fmla="*/ 5299266 h 6121960"/>
              <a:gd name="connsiteX37" fmla="*/ 4771408 w 8636594"/>
              <a:gd name="connsiteY37" fmla="*/ 5268551 h 6121960"/>
              <a:gd name="connsiteX38" fmla="*/ 4801053 w 8636594"/>
              <a:gd name="connsiteY38" fmla="*/ 5237614 h 6121960"/>
              <a:gd name="connsiteX39" fmla="*/ 4830420 w 8636594"/>
              <a:gd name="connsiteY39" fmla="*/ 5206458 h 6121960"/>
              <a:gd name="connsiteX40" fmla="*/ 4859516 w 8636594"/>
              <a:gd name="connsiteY40" fmla="*/ 5175087 h 6121960"/>
              <a:gd name="connsiteX41" fmla="*/ 4888347 w 8636594"/>
              <a:gd name="connsiteY41" fmla="*/ 5143504 h 6121960"/>
              <a:gd name="connsiteX42" fmla="*/ 4916919 w 8636594"/>
              <a:gd name="connsiteY42" fmla="*/ 5111713 h 6121960"/>
              <a:gd name="connsiteX43" fmla="*/ 4945238 w 8636594"/>
              <a:gd name="connsiteY43" fmla="*/ 5079717 h 6121960"/>
              <a:gd name="connsiteX44" fmla="*/ 4973311 w 8636594"/>
              <a:gd name="connsiteY44" fmla="*/ 5047519 h 6121960"/>
              <a:gd name="connsiteX45" fmla="*/ 5001145 w 8636594"/>
              <a:gd name="connsiteY45" fmla="*/ 5015124 h 6121960"/>
              <a:gd name="connsiteX46" fmla="*/ 5028745 w 8636594"/>
              <a:gd name="connsiteY46" fmla="*/ 4982535 h 6121960"/>
              <a:gd name="connsiteX47" fmla="*/ 5056117 w 8636594"/>
              <a:gd name="connsiteY47" fmla="*/ 4949755 h 6121960"/>
              <a:gd name="connsiteX48" fmla="*/ 5083269 w 8636594"/>
              <a:gd name="connsiteY48" fmla="*/ 4916787 h 6121960"/>
              <a:gd name="connsiteX49" fmla="*/ 5110207 w 8636594"/>
              <a:gd name="connsiteY49" fmla="*/ 4883636 h 6121960"/>
              <a:gd name="connsiteX50" fmla="*/ 5136937 w 8636594"/>
              <a:gd name="connsiteY50" fmla="*/ 4850305 h 6121960"/>
              <a:gd name="connsiteX51" fmla="*/ 5163464 w 8636594"/>
              <a:gd name="connsiteY51" fmla="*/ 4816797 h 6121960"/>
              <a:gd name="connsiteX52" fmla="*/ 5215940 w 8636594"/>
              <a:gd name="connsiteY52" fmla="*/ 4749265 h 6121960"/>
              <a:gd name="connsiteX53" fmla="*/ 5267684 w 8636594"/>
              <a:gd name="connsiteY53" fmla="*/ 4681068 h 6121960"/>
              <a:gd name="connsiteX54" fmla="*/ 5318748 w 8636594"/>
              <a:gd name="connsiteY54" fmla="*/ 4612234 h 6121960"/>
              <a:gd name="connsiteX55" fmla="*/ 5369182 w 8636594"/>
              <a:gd name="connsiteY55" fmla="*/ 4542793 h 6121960"/>
              <a:gd name="connsiteX56" fmla="*/ 5419038 w 8636594"/>
              <a:gd name="connsiteY56" fmla="*/ 4472771 h 6121960"/>
              <a:gd name="connsiteX57" fmla="*/ 5468365 w 8636594"/>
              <a:gd name="connsiteY57" fmla="*/ 4402196 h 6121960"/>
              <a:gd name="connsiteX58" fmla="*/ 5517215 w 8636594"/>
              <a:gd name="connsiteY58" fmla="*/ 4331098 h 6121960"/>
              <a:gd name="connsiteX59" fmla="*/ 5565637 w 8636594"/>
              <a:gd name="connsiteY59" fmla="*/ 4259503 h 6121960"/>
              <a:gd name="connsiteX60" fmla="*/ 5613684 w 8636594"/>
              <a:gd name="connsiteY60" fmla="*/ 4187441 h 6121960"/>
              <a:gd name="connsiteX61" fmla="*/ 5685160 w 8636594"/>
              <a:gd name="connsiteY61" fmla="*/ 4078531 h 6121960"/>
              <a:gd name="connsiteX62" fmla="*/ 5756074 w 8636594"/>
              <a:gd name="connsiteY62" fmla="*/ 3968727 h 6121960"/>
              <a:gd name="connsiteX63" fmla="*/ 5873483 w 8636594"/>
              <a:gd name="connsiteY63" fmla="*/ 3783989 h 6121960"/>
              <a:gd name="connsiteX64" fmla="*/ 6203209 w 8636594"/>
              <a:gd name="connsiteY64" fmla="*/ 3258640 h 6121960"/>
              <a:gd name="connsiteX65" fmla="*/ 6299430 w 8636594"/>
              <a:gd name="connsiteY65" fmla="*/ 3107321 h 6121960"/>
              <a:gd name="connsiteX66" fmla="*/ 6372650 w 8636594"/>
              <a:gd name="connsiteY66" fmla="*/ 2993735 h 6121960"/>
              <a:gd name="connsiteX67" fmla="*/ 6453197 w 8636594"/>
              <a:gd name="connsiteY67" fmla="*/ 2869788 h 6121960"/>
              <a:gd name="connsiteX68" fmla="*/ 6564167 w 8636594"/>
              <a:gd name="connsiteY68" fmla="*/ 2696807 h 6121960"/>
              <a:gd name="connsiteX69" fmla="*/ 6976233 w 8636594"/>
              <a:gd name="connsiteY69" fmla="*/ 2045274 h 6121960"/>
              <a:gd name="connsiteX70" fmla="*/ 7086755 w 8636594"/>
              <a:gd name="connsiteY70" fmla="*/ 1872743 h 6121960"/>
              <a:gd name="connsiteX71" fmla="*/ 7170279 w 8636594"/>
              <a:gd name="connsiteY71" fmla="*/ 1744202 h 6121960"/>
              <a:gd name="connsiteX72" fmla="*/ 7226351 w 8636594"/>
              <a:gd name="connsiteY72" fmla="*/ 1659017 h 6121960"/>
              <a:gd name="connsiteX73" fmla="*/ 7282789 w 8636594"/>
              <a:gd name="connsiteY73" fmla="*/ 1574303 h 6121960"/>
              <a:gd name="connsiteX74" fmla="*/ 7339643 w 8636594"/>
              <a:gd name="connsiteY74" fmla="*/ 1490113 h 6121960"/>
              <a:gd name="connsiteX75" fmla="*/ 7396957 w 8636594"/>
              <a:gd name="connsiteY75" fmla="*/ 1406503 h 6121960"/>
              <a:gd name="connsiteX76" fmla="*/ 7454781 w 8636594"/>
              <a:gd name="connsiteY76" fmla="*/ 1323526 h 6121960"/>
              <a:gd name="connsiteX77" fmla="*/ 7513161 w 8636594"/>
              <a:gd name="connsiteY77" fmla="*/ 1241237 h 6121960"/>
              <a:gd name="connsiteX78" fmla="*/ 7572144 w 8636594"/>
              <a:gd name="connsiteY78" fmla="*/ 1159689 h 6121960"/>
              <a:gd name="connsiteX79" fmla="*/ 7601877 w 8636594"/>
              <a:gd name="connsiteY79" fmla="*/ 1119210 h 6121960"/>
              <a:gd name="connsiteX80" fmla="*/ 7631779 w 8636594"/>
              <a:gd name="connsiteY80" fmla="*/ 1078937 h 6121960"/>
              <a:gd name="connsiteX81" fmla="*/ 7661855 w 8636594"/>
              <a:gd name="connsiteY81" fmla="*/ 1038876 h 6121960"/>
              <a:gd name="connsiteX82" fmla="*/ 7692111 w 8636594"/>
              <a:gd name="connsiteY82" fmla="*/ 999035 h 6121960"/>
              <a:gd name="connsiteX83" fmla="*/ 7722554 w 8636594"/>
              <a:gd name="connsiteY83" fmla="*/ 959419 h 6121960"/>
              <a:gd name="connsiteX84" fmla="*/ 7753190 w 8636594"/>
              <a:gd name="connsiteY84" fmla="*/ 920037 h 6121960"/>
              <a:gd name="connsiteX85" fmla="*/ 7784023 w 8636594"/>
              <a:gd name="connsiteY85" fmla="*/ 880894 h 6121960"/>
              <a:gd name="connsiteX86" fmla="*/ 7815061 w 8636594"/>
              <a:gd name="connsiteY86" fmla="*/ 841997 h 6121960"/>
              <a:gd name="connsiteX87" fmla="*/ 7846308 w 8636594"/>
              <a:gd name="connsiteY87" fmla="*/ 803354 h 6121960"/>
              <a:gd name="connsiteX88" fmla="*/ 7877772 w 8636594"/>
              <a:gd name="connsiteY88" fmla="*/ 764970 h 6121960"/>
              <a:gd name="connsiteX89" fmla="*/ 7909458 w 8636594"/>
              <a:gd name="connsiteY89" fmla="*/ 726853 h 6121960"/>
              <a:gd name="connsiteX90" fmla="*/ 7941371 w 8636594"/>
              <a:gd name="connsiteY90" fmla="*/ 689010 h 6121960"/>
              <a:gd name="connsiteX91" fmla="*/ 7973518 w 8636594"/>
              <a:gd name="connsiteY91" fmla="*/ 651447 h 6121960"/>
              <a:gd name="connsiteX92" fmla="*/ 8005905 w 8636594"/>
              <a:gd name="connsiteY92" fmla="*/ 614171 h 6121960"/>
              <a:gd name="connsiteX93" fmla="*/ 8038538 w 8636594"/>
              <a:gd name="connsiteY93" fmla="*/ 577189 h 6121960"/>
              <a:gd name="connsiteX94" fmla="*/ 8071421 w 8636594"/>
              <a:gd name="connsiteY94" fmla="*/ 540507 h 6121960"/>
              <a:gd name="connsiteX95" fmla="*/ 8104563 w 8636594"/>
              <a:gd name="connsiteY95" fmla="*/ 504132 h 6121960"/>
              <a:gd name="connsiteX96" fmla="*/ 8137967 w 8636594"/>
              <a:gd name="connsiteY96" fmla="*/ 468072 h 6121960"/>
              <a:gd name="connsiteX97" fmla="*/ 8171641 w 8636594"/>
              <a:gd name="connsiteY97" fmla="*/ 432332 h 6121960"/>
              <a:gd name="connsiteX98" fmla="*/ 8205590 w 8636594"/>
              <a:gd name="connsiteY98" fmla="*/ 396920 h 6121960"/>
              <a:gd name="connsiteX99" fmla="*/ 8239820 w 8636594"/>
              <a:gd name="connsiteY99" fmla="*/ 361843 h 6121960"/>
              <a:gd name="connsiteX100" fmla="*/ 8274337 w 8636594"/>
              <a:gd name="connsiteY100" fmla="*/ 327107 h 6121960"/>
              <a:gd name="connsiteX101" fmla="*/ 8309147 w 8636594"/>
              <a:gd name="connsiteY101" fmla="*/ 292718 h 6121960"/>
              <a:gd name="connsiteX102" fmla="*/ 8344256 w 8636594"/>
              <a:gd name="connsiteY102" fmla="*/ 258685 h 6121960"/>
              <a:gd name="connsiteX103" fmla="*/ 8379669 w 8636594"/>
              <a:gd name="connsiteY103" fmla="*/ 225013 h 6121960"/>
              <a:gd name="connsiteX104" fmla="*/ 8415394 w 8636594"/>
              <a:gd name="connsiteY104" fmla="*/ 191709 h 6121960"/>
              <a:gd name="connsiteX105" fmla="*/ 8451434 w 8636594"/>
              <a:gd name="connsiteY105" fmla="*/ 158780 h 6121960"/>
              <a:gd name="connsiteX106" fmla="*/ 8487798 w 8636594"/>
              <a:gd name="connsiteY106" fmla="*/ 126233 h 6121960"/>
              <a:gd name="connsiteX107" fmla="*/ 8524489 w 8636594"/>
              <a:gd name="connsiteY107" fmla="*/ 94075 h 6121960"/>
              <a:gd name="connsiteX108" fmla="*/ 8561515 w 8636594"/>
              <a:gd name="connsiteY108" fmla="*/ 62312 h 6121960"/>
              <a:gd name="connsiteX109" fmla="*/ 8598881 w 8636594"/>
              <a:gd name="connsiteY109" fmla="*/ 30951 h 6121960"/>
              <a:gd name="connsiteX110" fmla="*/ 8636594 w 8636594"/>
              <a:gd name="connsiteY110" fmla="*/ 0 h 6121960"/>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3638142 w 8636594"/>
              <a:gd name="connsiteY4" fmla="*/ 6121960 h 6121960"/>
              <a:gd name="connsiteX5" fmla="*/ 3680024 w 8636594"/>
              <a:gd name="connsiteY5" fmla="*/ 6099881 h 6121960"/>
              <a:gd name="connsiteX6" fmla="*/ 3721426 w 8636594"/>
              <a:gd name="connsiteY6" fmla="*/ 6077471 h 6121960"/>
              <a:gd name="connsiteX7" fmla="*/ 3762353 w 8636594"/>
              <a:gd name="connsiteY7" fmla="*/ 6054733 h 6121960"/>
              <a:gd name="connsiteX8" fmla="*/ 3802812 w 8636594"/>
              <a:gd name="connsiteY8" fmla="*/ 6031671 h 6121960"/>
              <a:gd name="connsiteX9" fmla="*/ 3842810 w 8636594"/>
              <a:gd name="connsiteY9" fmla="*/ 6008288 h 6121960"/>
              <a:gd name="connsiteX10" fmla="*/ 3882352 w 8636594"/>
              <a:gd name="connsiteY10" fmla="*/ 5984588 h 6121960"/>
              <a:gd name="connsiteX11" fmla="*/ 3921445 w 8636594"/>
              <a:gd name="connsiteY11" fmla="*/ 5960574 h 6121960"/>
              <a:gd name="connsiteX12" fmla="*/ 3960096 w 8636594"/>
              <a:gd name="connsiteY12" fmla="*/ 5936250 h 6121960"/>
              <a:gd name="connsiteX13" fmla="*/ 3998311 w 8636594"/>
              <a:gd name="connsiteY13" fmla="*/ 5911619 h 6121960"/>
              <a:gd name="connsiteX14" fmla="*/ 4036095 w 8636594"/>
              <a:gd name="connsiteY14" fmla="*/ 5886685 h 6121960"/>
              <a:gd name="connsiteX15" fmla="*/ 4073456 w 8636594"/>
              <a:gd name="connsiteY15" fmla="*/ 5861452 h 6121960"/>
              <a:gd name="connsiteX16" fmla="*/ 4110400 w 8636594"/>
              <a:gd name="connsiteY16" fmla="*/ 5835922 h 6121960"/>
              <a:gd name="connsiteX17" fmla="*/ 4146933 w 8636594"/>
              <a:gd name="connsiteY17" fmla="*/ 5810100 h 6121960"/>
              <a:gd name="connsiteX18" fmla="*/ 4183061 w 8636594"/>
              <a:gd name="connsiteY18" fmla="*/ 5783988 h 6121960"/>
              <a:gd name="connsiteX19" fmla="*/ 4218791 w 8636594"/>
              <a:gd name="connsiteY19" fmla="*/ 5757591 h 6121960"/>
              <a:gd name="connsiteX20" fmla="*/ 4254129 w 8636594"/>
              <a:gd name="connsiteY20" fmla="*/ 5730912 h 6121960"/>
              <a:gd name="connsiteX21" fmla="*/ 4289081 w 8636594"/>
              <a:gd name="connsiteY21" fmla="*/ 5703955 h 6121960"/>
              <a:gd name="connsiteX22" fmla="*/ 4323654 w 8636594"/>
              <a:gd name="connsiteY22" fmla="*/ 5676722 h 6121960"/>
              <a:gd name="connsiteX23" fmla="*/ 4357854 w 8636594"/>
              <a:gd name="connsiteY23" fmla="*/ 5649218 h 6121960"/>
              <a:gd name="connsiteX24" fmla="*/ 4391688 w 8636594"/>
              <a:gd name="connsiteY24" fmla="*/ 5621446 h 6121960"/>
              <a:gd name="connsiteX25" fmla="*/ 4425162 w 8636594"/>
              <a:gd name="connsiteY25" fmla="*/ 5593409 h 6121960"/>
              <a:gd name="connsiteX26" fmla="*/ 4458281 w 8636594"/>
              <a:gd name="connsiteY26" fmla="*/ 5565111 h 6121960"/>
              <a:gd name="connsiteX27" fmla="*/ 4491053 w 8636594"/>
              <a:gd name="connsiteY27" fmla="*/ 5536556 h 6121960"/>
              <a:gd name="connsiteX28" fmla="*/ 4523484 w 8636594"/>
              <a:gd name="connsiteY28" fmla="*/ 5507747 h 6121960"/>
              <a:gd name="connsiteX29" fmla="*/ 4555580 w 8636594"/>
              <a:gd name="connsiteY29" fmla="*/ 5478687 h 6121960"/>
              <a:gd name="connsiteX30" fmla="*/ 4587347 w 8636594"/>
              <a:gd name="connsiteY30" fmla="*/ 5449380 h 6121960"/>
              <a:gd name="connsiteX31" fmla="*/ 4618793 w 8636594"/>
              <a:gd name="connsiteY31" fmla="*/ 5419830 h 6121960"/>
              <a:gd name="connsiteX32" fmla="*/ 4649922 w 8636594"/>
              <a:gd name="connsiteY32" fmla="*/ 5390040 h 6121960"/>
              <a:gd name="connsiteX33" fmla="*/ 4680742 w 8636594"/>
              <a:gd name="connsiteY33" fmla="*/ 5360014 h 6121960"/>
              <a:gd name="connsiteX34" fmla="*/ 4711259 w 8636594"/>
              <a:gd name="connsiteY34" fmla="*/ 5329755 h 6121960"/>
              <a:gd name="connsiteX35" fmla="*/ 4741478 w 8636594"/>
              <a:gd name="connsiteY35" fmla="*/ 5299266 h 6121960"/>
              <a:gd name="connsiteX36" fmla="*/ 4771408 w 8636594"/>
              <a:gd name="connsiteY36" fmla="*/ 5268551 h 6121960"/>
              <a:gd name="connsiteX37" fmla="*/ 4801053 w 8636594"/>
              <a:gd name="connsiteY37" fmla="*/ 5237614 h 6121960"/>
              <a:gd name="connsiteX38" fmla="*/ 4830420 w 8636594"/>
              <a:gd name="connsiteY38" fmla="*/ 5206458 h 6121960"/>
              <a:gd name="connsiteX39" fmla="*/ 4859516 w 8636594"/>
              <a:gd name="connsiteY39" fmla="*/ 5175087 h 6121960"/>
              <a:gd name="connsiteX40" fmla="*/ 4888347 w 8636594"/>
              <a:gd name="connsiteY40" fmla="*/ 5143504 h 6121960"/>
              <a:gd name="connsiteX41" fmla="*/ 4916919 w 8636594"/>
              <a:gd name="connsiteY41" fmla="*/ 5111713 h 6121960"/>
              <a:gd name="connsiteX42" fmla="*/ 4945238 w 8636594"/>
              <a:gd name="connsiteY42" fmla="*/ 5079717 h 6121960"/>
              <a:gd name="connsiteX43" fmla="*/ 4973311 w 8636594"/>
              <a:gd name="connsiteY43" fmla="*/ 5047519 h 6121960"/>
              <a:gd name="connsiteX44" fmla="*/ 5001145 w 8636594"/>
              <a:gd name="connsiteY44" fmla="*/ 5015124 h 6121960"/>
              <a:gd name="connsiteX45" fmla="*/ 5028745 w 8636594"/>
              <a:gd name="connsiteY45" fmla="*/ 4982535 h 6121960"/>
              <a:gd name="connsiteX46" fmla="*/ 5056117 w 8636594"/>
              <a:gd name="connsiteY46" fmla="*/ 4949755 h 6121960"/>
              <a:gd name="connsiteX47" fmla="*/ 5083269 w 8636594"/>
              <a:gd name="connsiteY47" fmla="*/ 4916787 h 6121960"/>
              <a:gd name="connsiteX48" fmla="*/ 5110207 w 8636594"/>
              <a:gd name="connsiteY48" fmla="*/ 4883636 h 6121960"/>
              <a:gd name="connsiteX49" fmla="*/ 5136937 w 8636594"/>
              <a:gd name="connsiteY49" fmla="*/ 4850305 h 6121960"/>
              <a:gd name="connsiteX50" fmla="*/ 5163464 w 8636594"/>
              <a:gd name="connsiteY50" fmla="*/ 4816797 h 6121960"/>
              <a:gd name="connsiteX51" fmla="*/ 5215940 w 8636594"/>
              <a:gd name="connsiteY51" fmla="*/ 4749265 h 6121960"/>
              <a:gd name="connsiteX52" fmla="*/ 5267684 w 8636594"/>
              <a:gd name="connsiteY52" fmla="*/ 4681068 h 6121960"/>
              <a:gd name="connsiteX53" fmla="*/ 5318748 w 8636594"/>
              <a:gd name="connsiteY53" fmla="*/ 4612234 h 6121960"/>
              <a:gd name="connsiteX54" fmla="*/ 5369182 w 8636594"/>
              <a:gd name="connsiteY54" fmla="*/ 4542793 h 6121960"/>
              <a:gd name="connsiteX55" fmla="*/ 5419038 w 8636594"/>
              <a:gd name="connsiteY55" fmla="*/ 4472771 h 6121960"/>
              <a:gd name="connsiteX56" fmla="*/ 5468365 w 8636594"/>
              <a:gd name="connsiteY56" fmla="*/ 4402196 h 6121960"/>
              <a:gd name="connsiteX57" fmla="*/ 5517215 w 8636594"/>
              <a:gd name="connsiteY57" fmla="*/ 4331098 h 6121960"/>
              <a:gd name="connsiteX58" fmla="*/ 5565637 w 8636594"/>
              <a:gd name="connsiteY58" fmla="*/ 4259503 h 6121960"/>
              <a:gd name="connsiteX59" fmla="*/ 5613684 w 8636594"/>
              <a:gd name="connsiteY59" fmla="*/ 4187441 h 6121960"/>
              <a:gd name="connsiteX60" fmla="*/ 5685160 w 8636594"/>
              <a:gd name="connsiteY60" fmla="*/ 4078531 h 6121960"/>
              <a:gd name="connsiteX61" fmla="*/ 5756074 w 8636594"/>
              <a:gd name="connsiteY61" fmla="*/ 3968727 h 6121960"/>
              <a:gd name="connsiteX62" fmla="*/ 5873483 w 8636594"/>
              <a:gd name="connsiteY62" fmla="*/ 3783989 h 6121960"/>
              <a:gd name="connsiteX63" fmla="*/ 6203209 w 8636594"/>
              <a:gd name="connsiteY63" fmla="*/ 3258640 h 6121960"/>
              <a:gd name="connsiteX64" fmla="*/ 6299430 w 8636594"/>
              <a:gd name="connsiteY64" fmla="*/ 3107321 h 6121960"/>
              <a:gd name="connsiteX65" fmla="*/ 6372650 w 8636594"/>
              <a:gd name="connsiteY65" fmla="*/ 2993735 h 6121960"/>
              <a:gd name="connsiteX66" fmla="*/ 6453197 w 8636594"/>
              <a:gd name="connsiteY66" fmla="*/ 2869788 h 6121960"/>
              <a:gd name="connsiteX67" fmla="*/ 6564167 w 8636594"/>
              <a:gd name="connsiteY67" fmla="*/ 2696807 h 6121960"/>
              <a:gd name="connsiteX68" fmla="*/ 6976233 w 8636594"/>
              <a:gd name="connsiteY68" fmla="*/ 2045274 h 6121960"/>
              <a:gd name="connsiteX69" fmla="*/ 7086755 w 8636594"/>
              <a:gd name="connsiteY69" fmla="*/ 1872743 h 6121960"/>
              <a:gd name="connsiteX70" fmla="*/ 7170279 w 8636594"/>
              <a:gd name="connsiteY70" fmla="*/ 1744202 h 6121960"/>
              <a:gd name="connsiteX71" fmla="*/ 7226351 w 8636594"/>
              <a:gd name="connsiteY71" fmla="*/ 1659017 h 6121960"/>
              <a:gd name="connsiteX72" fmla="*/ 7282789 w 8636594"/>
              <a:gd name="connsiteY72" fmla="*/ 1574303 h 6121960"/>
              <a:gd name="connsiteX73" fmla="*/ 7339643 w 8636594"/>
              <a:gd name="connsiteY73" fmla="*/ 1490113 h 6121960"/>
              <a:gd name="connsiteX74" fmla="*/ 7396957 w 8636594"/>
              <a:gd name="connsiteY74" fmla="*/ 1406503 h 6121960"/>
              <a:gd name="connsiteX75" fmla="*/ 7454781 w 8636594"/>
              <a:gd name="connsiteY75" fmla="*/ 1323526 h 6121960"/>
              <a:gd name="connsiteX76" fmla="*/ 7513161 w 8636594"/>
              <a:gd name="connsiteY76" fmla="*/ 1241237 h 6121960"/>
              <a:gd name="connsiteX77" fmla="*/ 7572144 w 8636594"/>
              <a:gd name="connsiteY77" fmla="*/ 1159689 h 6121960"/>
              <a:gd name="connsiteX78" fmla="*/ 7601877 w 8636594"/>
              <a:gd name="connsiteY78" fmla="*/ 1119210 h 6121960"/>
              <a:gd name="connsiteX79" fmla="*/ 7631779 w 8636594"/>
              <a:gd name="connsiteY79" fmla="*/ 1078937 h 6121960"/>
              <a:gd name="connsiteX80" fmla="*/ 7661855 w 8636594"/>
              <a:gd name="connsiteY80" fmla="*/ 1038876 h 6121960"/>
              <a:gd name="connsiteX81" fmla="*/ 7692111 w 8636594"/>
              <a:gd name="connsiteY81" fmla="*/ 999035 h 6121960"/>
              <a:gd name="connsiteX82" fmla="*/ 7722554 w 8636594"/>
              <a:gd name="connsiteY82" fmla="*/ 959419 h 6121960"/>
              <a:gd name="connsiteX83" fmla="*/ 7753190 w 8636594"/>
              <a:gd name="connsiteY83" fmla="*/ 920037 h 6121960"/>
              <a:gd name="connsiteX84" fmla="*/ 7784023 w 8636594"/>
              <a:gd name="connsiteY84" fmla="*/ 880894 h 6121960"/>
              <a:gd name="connsiteX85" fmla="*/ 7815061 w 8636594"/>
              <a:gd name="connsiteY85" fmla="*/ 841997 h 6121960"/>
              <a:gd name="connsiteX86" fmla="*/ 7846308 w 8636594"/>
              <a:gd name="connsiteY86" fmla="*/ 803354 h 6121960"/>
              <a:gd name="connsiteX87" fmla="*/ 7877772 w 8636594"/>
              <a:gd name="connsiteY87" fmla="*/ 764970 h 6121960"/>
              <a:gd name="connsiteX88" fmla="*/ 7909458 w 8636594"/>
              <a:gd name="connsiteY88" fmla="*/ 726853 h 6121960"/>
              <a:gd name="connsiteX89" fmla="*/ 7941371 w 8636594"/>
              <a:gd name="connsiteY89" fmla="*/ 689010 h 6121960"/>
              <a:gd name="connsiteX90" fmla="*/ 7973518 w 8636594"/>
              <a:gd name="connsiteY90" fmla="*/ 651447 h 6121960"/>
              <a:gd name="connsiteX91" fmla="*/ 8005905 w 8636594"/>
              <a:gd name="connsiteY91" fmla="*/ 614171 h 6121960"/>
              <a:gd name="connsiteX92" fmla="*/ 8038538 w 8636594"/>
              <a:gd name="connsiteY92" fmla="*/ 577189 h 6121960"/>
              <a:gd name="connsiteX93" fmla="*/ 8071421 w 8636594"/>
              <a:gd name="connsiteY93" fmla="*/ 540507 h 6121960"/>
              <a:gd name="connsiteX94" fmla="*/ 8104563 w 8636594"/>
              <a:gd name="connsiteY94" fmla="*/ 504132 h 6121960"/>
              <a:gd name="connsiteX95" fmla="*/ 8137967 w 8636594"/>
              <a:gd name="connsiteY95" fmla="*/ 468072 h 6121960"/>
              <a:gd name="connsiteX96" fmla="*/ 8171641 w 8636594"/>
              <a:gd name="connsiteY96" fmla="*/ 432332 h 6121960"/>
              <a:gd name="connsiteX97" fmla="*/ 8205590 w 8636594"/>
              <a:gd name="connsiteY97" fmla="*/ 396920 h 6121960"/>
              <a:gd name="connsiteX98" fmla="*/ 8239820 w 8636594"/>
              <a:gd name="connsiteY98" fmla="*/ 361843 h 6121960"/>
              <a:gd name="connsiteX99" fmla="*/ 8274337 w 8636594"/>
              <a:gd name="connsiteY99" fmla="*/ 327107 h 6121960"/>
              <a:gd name="connsiteX100" fmla="*/ 8309147 w 8636594"/>
              <a:gd name="connsiteY100" fmla="*/ 292718 h 6121960"/>
              <a:gd name="connsiteX101" fmla="*/ 8344256 w 8636594"/>
              <a:gd name="connsiteY101" fmla="*/ 258685 h 6121960"/>
              <a:gd name="connsiteX102" fmla="*/ 8379669 w 8636594"/>
              <a:gd name="connsiteY102" fmla="*/ 225013 h 6121960"/>
              <a:gd name="connsiteX103" fmla="*/ 8415394 w 8636594"/>
              <a:gd name="connsiteY103" fmla="*/ 191709 h 6121960"/>
              <a:gd name="connsiteX104" fmla="*/ 8451434 w 8636594"/>
              <a:gd name="connsiteY104" fmla="*/ 158780 h 6121960"/>
              <a:gd name="connsiteX105" fmla="*/ 8487798 w 8636594"/>
              <a:gd name="connsiteY105" fmla="*/ 126233 h 6121960"/>
              <a:gd name="connsiteX106" fmla="*/ 8524489 w 8636594"/>
              <a:gd name="connsiteY106" fmla="*/ 94075 h 6121960"/>
              <a:gd name="connsiteX107" fmla="*/ 8561515 w 8636594"/>
              <a:gd name="connsiteY107" fmla="*/ 62312 h 6121960"/>
              <a:gd name="connsiteX108" fmla="*/ 8598881 w 8636594"/>
              <a:gd name="connsiteY108" fmla="*/ 30951 h 6121960"/>
              <a:gd name="connsiteX109" fmla="*/ 8636594 w 8636594"/>
              <a:gd name="connsiteY109" fmla="*/ 0 h 6121960"/>
              <a:gd name="connsiteX0" fmla="*/ 8636594 w 8636594"/>
              <a:gd name="connsiteY0" fmla="*/ 0 h 6121960"/>
              <a:gd name="connsiteX1" fmla="*/ 5293 w 8636594"/>
              <a:gd name="connsiteY1" fmla="*/ 0 h 6121960"/>
              <a:gd name="connsiteX2" fmla="*/ 0 w 8636594"/>
              <a:gd name="connsiteY2" fmla="*/ 5587843 h 6121960"/>
              <a:gd name="connsiteX3" fmla="*/ 3638142 w 8636594"/>
              <a:gd name="connsiteY3" fmla="*/ 6121960 h 6121960"/>
              <a:gd name="connsiteX4" fmla="*/ 3680024 w 8636594"/>
              <a:gd name="connsiteY4" fmla="*/ 6099881 h 6121960"/>
              <a:gd name="connsiteX5" fmla="*/ 3721426 w 8636594"/>
              <a:gd name="connsiteY5" fmla="*/ 6077471 h 6121960"/>
              <a:gd name="connsiteX6" fmla="*/ 3762353 w 8636594"/>
              <a:gd name="connsiteY6" fmla="*/ 6054733 h 6121960"/>
              <a:gd name="connsiteX7" fmla="*/ 3802812 w 8636594"/>
              <a:gd name="connsiteY7" fmla="*/ 6031671 h 6121960"/>
              <a:gd name="connsiteX8" fmla="*/ 3842810 w 8636594"/>
              <a:gd name="connsiteY8" fmla="*/ 6008288 h 6121960"/>
              <a:gd name="connsiteX9" fmla="*/ 3882352 w 8636594"/>
              <a:gd name="connsiteY9" fmla="*/ 5984588 h 6121960"/>
              <a:gd name="connsiteX10" fmla="*/ 3921445 w 8636594"/>
              <a:gd name="connsiteY10" fmla="*/ 5960574 h 6121960"/>
              <a:gd name="connsiteX11" fmla="*/ 3960096 w 8636594"/>
              <a:gd name="connsiteY11" fmla="*/ 5936250 h 6121960"/>
              <a:gd name="connsiteX12" fmla="*/ 3998311 w 8636594"/>
              <a:gd name="connsiteY12" fmla="*/ 5911619 h 6121960"/>
              <a:gd name="connsiteX13" fmla="*/ 4036095 w 8636594"/>
              <a:gd name="connsiteY13" fmla="*/ 5886685 h 6121960"/>
              <a:gd name="connsiteX14" fmla="*/ 4073456 w 8636594"/>
              <a:gd name="connsiteY14" fmla="*/ 5861452 h 6121960"/>
              <a:gd name="connsiteX15" fmla="*/ 4110400 w 8636594"/>
              <a:gd name="connsiteY15" fmla="*/ 5835922 h 6121960"/>
              <a:gd name="connsiteX16" fmla="*/ 4146933 w 8636594"/>
              <a:gd name="connsiteY16" fmla="*/ 5810100 h 6121960"/>
              <a:gd name="connsiteX17" fmla="*/ 4183061 w 8636594"/>
              <a:gd name="connsiteY17" fmla="*/ 5783988 h 6121960"/>
              <a:gd name="connsiteX18" fmla="*/ 4218791 w 8636594"/>
              <a:gd name="connsiteY18" fmla="*/ 5757591 h 6121960"/>
              <a:gd name="connsiteX19" fmla="*/ 4254129 w 8636594"/>
              <a:gd name="connsiteY19" fmla="*/ 5730912 h 6121960"/>
              <a:gd name="connsiteX20" fmla="*/ 4289081 w 8636594"/>
              <a:gd name="connsiteY20" fmla="*/ 5703955 h 6121960"/>
              <a:gd name="connsiteX21" fmla="*/ 4323654 w 8636594"/>
              <a:gd name="connsiteY21" fmla="*/ 5676722 h 6121960"/>
              <a:gd name="connsiteX22" fmla="*/ 4357854 w 8636594"/>
              <a:gd name="connsiteY22" fmla="*/ 5649218 h 6121960"/>
              <a:gd name="connsiteX23" fmla="*/ 4391688 w 8636594"/>
              <a:gd name="connsiteY23" fmla="*/ 5621446 h 6121960"/>
              <a:gd name="connsiteX24" fmla="*/ 4425162 w 8636594"/>
              <a:gd name="connsiteY24" fmla="*/ 5593409 h 6121960"/>
              <a:gd name="connsiteX25" fmla="*/ 4458281 w 8636594"/>
              <a:gd name="connsiteY25" fmla="*/ 5565111 h 6121960"/>
              <a:gd name="connsiteX26" fmla="*/ 4491053 w 8636594"/>
              <a:gd name="connsiteY26" fmla="*/ 5536556 h 6121960"/>
              <a:gd name="connsiteX27" fmla="*/ 4523484 w 8636594"/>
              <a:gd name="connsiteY27" fmla="*/ 5507747 h 6121960"/>
              <a:gd name="connsiteX28" fmla="*/ 4555580 w 8636594"/>
              <a:gd name="connsiteY28" fmla="*/ 5478687 h 6121960"/>
              <a:gd name="connsiteX29" fmla="*/ 4587347 w 8636594"/>
              <a:gd name="connsiteY29" fmla="*/ 5449380 h 6121960"/>
              <a:gd name="connsiteX30" fmla="*/ 4618793 w 8636594"/>
              <a:gd name="connsiteY30" fmla="*/ 5419830 h 6121960"/>
              <a:gd name="connsiteX31" fmla="*/ 4649922 w 8636594"/>
              <a:gd name="connsiteY31" fmla="*/ 5390040 h 6121960"/>
              <a:gd name="connsiteX32" fmla="*/ 4680742 w 8636594"/>
              <a:gd name="connsiteY32" fmla="*/ 5360014 h 6121960"/>
              <a:gd name="connsiteX33" fmla="*/ 4711259 w 8636594"/>
              <a:gd name="connsiteY33" fmla="*/ 5329755 h 6121960"/>
              <a:gd name="connsiteX34" fmla="*/ 4741478 w 8636594"/>
              <a:gd name="connsiteY34" fmla="*/ 5299266 h 6121960"/>
              <a:gd name="connsiteX35" fmla="*/ 4771408 w 8636594"/>
              <a:gd name="connsiteY35" fmla="*/ 5268551 h 6121960"/>
              <a:gd name="connsiteX36" fmla="*/ 4801053 w 8636594"/>
              <a:gd name="connsiteY36" fmla="*/ 5237614 h 6121960"/>
              <a:gd name="connsiteX37" fmla="*/ 4830420 w 8636594"/>
              <a:gd name="connsiteY37" fmla="*/ 5206458 h 6121960"/>
              <a:gd name="connsiteX38" fmla="*/ 4859516 w 8636594"/>
              <a:gd name="connsiteY38" fmla="*/ 5175087 h 6121960"/>
              <a:gd name="connsiteX39" fmla="*/ 4888347 w 8636594"/>
              <a:gd name="connsiteY39" fmla="*/ 5143504 h 6121960"/>
              <a:gd name="connsiteX40" fmla="*/ 4916919 w 8636594"/>
              <a:gd name="connsiteY40" fmla="*/ 5111713 h 6121960"/>
              <a:gd name="connsiteX41" fmla="*/ 4945238 w 8636594"/>
              <a:gd name="connsiteY41" fmla="*/ 5079717 h 6121960"/>
              <a:gd name="connsiteX42" fmla="*/ 4973311 w 8636594"/>
              <a:gd name="connsiteY42" fmla="*/ 5047519 h 6121960"/>
              <a:gd name="connsiteX43" fmla="*/ 5001145 w 8636594"/>
              <a:gd name="connsiteY43" fmla="*/ 5015124 h 6121960"/>
              <a:gd name="connsiteX44" fmla="*/ 5028745 w 8636594"/>
              <a:gd name="connsiteY44" fmla="*/ 4982535 h 6121960"/>
              <a:gd name="connsiteX45" fmla="*/ 5056117 w 8636594"/>
              <a:gd name="connsiteY45" fmla="*/ 4949755 h 6121960"/>
              <a:gd name="connsiteX46" fmla="*/ 5083269 w 8636594"/>
              <a:gd name="connsiteY46" fmla="*/ 4916787 h 6121960"/>
              <a:gd name="connsiteX47" fmla="*/ 5110207 w 8636594"/>
              <a:gd name="connsiteY47" fmla="*/ 4883636 h 6121960"/>
              <a:gd name="connsiteX48" fmla="*/ 5136937 w 8636594"/>
              <a:gd name="connsiteY48" fmla="*/ 4850305 h 6121960"/>
              <a:gd name="connsiteX49" fmla="*/ 5163464 w 8636594"/>
              <a:gd name="connsiteY49" fmla="*/ 4816797 h 6121960"/>
              <a:gd name="connsiteX50" fmla="*/ 5215940 w 8636594"/>
              <a:gd name="connsiteY50" fmla="*/ 4749265 h 6121960"/>
              <a:gd name="connsiteX51" fmla="*/ 5267684 w 8636594"/>
              <a:gd name="connsiteY51" fmla="*/ 4681068 h 6121960"/>
              <a:gd name="connsiteX52" fmla="*/ 5318748 w 8636594"/>
              <a:gd name="connsiteY52" fmla="*/ 4612234 h 6121960"/>
              <a:gd name="connsiteX53" fmla="*/ 5369182 w 8636594"/>
              <a:gd name="connsiteY53" fmla="*/ 4542793 h 6121960"/>
              <a:gd name="connsiteX54" fmla="*/ 5419038 w 8636594"/>
              <a:gd name="connsiteY54" fmla="*/ 4472771 h 6121960"/>
              <a:gd name="connsiteX55" fmla="*/ 5468365 w 8636594"/>
              <a:gd name="connsiteY55" fmla="*/ 4402196 h 6121960"/>
              <a:gd name="connsiteX56" fmla="*/ 5517215 w 8636594"/>
              <a:gd name="connsiteY56" fmla="*/ 4331098 h 6121960"/>
              <a:gd name="connsiteX57" fmla="*/ 5565637 w 8636594"/>
              <a:gd name="connsiteY57" fmla="*/ 4259503 h 6121960"/>
              <a:gd name="connsiteX58" fmla="*/ 5613684 w 8636594"/>
              <a:gd name="connsiteY58" fmla="*/ 4187441 h 6121960"/>
              <a:gd name="connsiteX59" fmla="*/ 5685160 w 8636594"/>
              <a:gd name="connsiteY59" fmla="*/ 4078531 h 6121960"/>
              <a:gd name="connsiteX60" fmla="*/ 5756074 w 8636594"/>
              <a:gd name="connsiteY60" fmla="*/ 3968727 h 6121960"/>
              <a:gd name="connsiteX61" fmla="*/ 5873483 w 8636594"/>
              <a:gd name="connsiteY61" fmla="*/ 3783989 h 6121960"/>
              <a:gd name="connsiteX62" fmla="*/ 6203209 w 8636594"/>
              <a:gd name="connsiteY62" fmla="*/ 3258640 h 6121960"/>
              <a:gd name="connsiteX63" fmla="*/ 6299430 w 8636594"/>
              <a:gd name="connsiteY63" fmla="*/ 3107321 h 6121960"/>
              <a:gd name="connsiteX64" fmla="*/ 6372650 w 8636594"/>
              <a:gd name="connsiteY64" fmla="*/ 2993735 h 6121960"/>
              <a:gd name="connsiteX65" fmla="*/ 6453197 w 8636594"/>
              <a:gd name="connsiteY65" fmla="*/ 2869788 h 6121960"/>
              <a:gd name="connsiteX66" fmla="*/ 6564167 w 8636594"/>
              <a:gd name="connsiteY66" fmla="*/ 2696807 h 6121960"/>
              <a:gd name="connsiteX67" fmla="*/ 6976233 w 8636594"/>
              <a:gd name="connsiteY67" fmla="*/ 2045274 h 6121960"/>
              <a:gd name="connsiteX68" fmla="*/ 7086755 w 8636594"/>
              <a:gd name="connsiteY68" fmla="*/ 1872743 h 6121960"/>
              <a:gd name="connsiteX69" fmla="*/ 7170279 w 8636594"/>
              <a:gd name="connsiteY69" fmla="*/ 1744202 h 6121960"/>
              <a:gd name="connsiteX70" fmla="*/ 7226351 w 8636594"/>
              <a:gd name="connsiteY70" fmla="*/ 1659017 h 6121960"/>
              <a:gd name="connsiteX71" fmla="*/ 7282789 w 8636594"/>
              <a:gd name="connsiteY71" fmla="*/ 1574303 h 6121960"/>
              <a:gd name="connsiteX72" fmla="*/ 7339643 w 8636594"/>
              <a:gd name="connsiteY72" fmla="*/ 1490113 h 6121960"/>
              <a:gd name="connsiteX73" fmla="*/ 7396957 w 8636594"/>
              <a:gd name="connsiteY73" fmla="*/ 1406503 h 6121960"/>
              <a:gd name="connsiteX74" fmla="*/ 7454781 w 8636594"/>
              <a:gd name="connsiteY74" fmla="*/ 1323526 h 6121960"/>
              <a:gd name="connsiteX75" fmla="*/ 7513161 w 8636594"/>
              <a:gd name="connsiteY75" fmla="*/ 1241237 h 6121960"/>
              <a:gd name="connsiteX76" fmla="*/ 7572144 w 8636594"/>
              <a:gd name="connsiteY76" fmla="*/ 1159689 h 6121960"/>
              <a:gd name="connsiteX77" fmla="*/ 7601877 w 8636594"/>
              <a:gd name="connsiteY77" fmla="*/ 1119210 h 6121960"/>
              <a:gd name="connsiteX78" fmla="*/ 7631779 w 8636594"/>
              <a:gd name="connsiteY78" fmla="*/ 1078937 h 6121960"/>
              <a:gd name="connsiteX79" fmla="*/ 7661855 w 8636594"/>
              <a:gd name="connsiteY79" fmla="*/ 1038876 h 6121960"/>
              <a:gd name="connsiteX80" fmla="*/ 7692111 w 8636594"/>
              <a:gd name="connsiteY80" fmla="*/ 999035 h 6121960"/>
              <a:gd name="connsiteX81" fmla="*/ 7722554 w 8636594"/>
              <a:gd name="connsiteY81" fmla="*/ 959419 h 6121960"/>
              <a:gd name="connsiteX82" fmla="*/ 7753190 w 8636594"/>
              <a:gd name="connsiteY82" fmla="*/ 920037 h 6121960"/>
              <a:gd name="connsiteX83" fmla="*/ 7784023 w 8636594"/>
              <a:gd name="connsiteY83" fmla="*/ 880894 h 6121960"/>
              <a:gd name="connsiteX84" fmla="*/ 7815061 w 8636594"/>
              <a:gd name="connsiteY84" fmla="*/ 841997 h 6121960"/>
              <a:gd name="connsiteX85" fmla="*/ 7846308 w 8636594"/>
              <a:gd name="connsiteY85" fmla="*/ 803354 h 6121960"/>
              <a:gd name="connsiteX86" fmla="*/ 7877772 w 8636594"/>
              <a:gd name="connsiteY86" fmla="*/ 764970 h 6121960"/>
              <a:gd name="connsiteX87" fmla="*/ 7909458 w 8636594"/>
              <a:gd name="connsiteY87" fmla="*/ 726853 h 6121960"/>
              <a:gd name="connsiteX88" fmla="*/ 7941371 w 8636594"/>
              <a:gd name="connsiteY88" fmla="*/ 689010 h 6121960"/>
              <a:gd name="connsiteX89" fmla="*/ 7973518 w 8636594"/>
              <a:gd name="connsiteY89" fmla="*/ 651447 h 6121960"/>
              <a:gd name="connsiteX90" fmla="*/ 8005905 w 8636594"/>
              <a:gd name="connsiteY90" fmla="*/ 614171 h 6121960"/>
              <a:gd name="connsiteX91" fmla="*/ 8038538 w 8636594"/>
              <a:gd name="connsiteY91" fmla="*/ 577189 h 6121960"/>
              <a:gd name="connsiteX92" fmla="*/ 8071421 w 8636594"/>
              <a:gd name="connsiteY92" fmla="*/ 540507 h 6121960"/>
              <a:gd name="connsiteX93" fmla="*/ 8104563 w 8636594"/>
              <a:gd name="connsiteY93" fmla="*/ 504132 h 6121960"/>
              <a:gd name="connsiteX94" fmla="*/ 8137967 w 8636594"/>
              <a:gd name="connsiteY94" fmla="*/ 468072 h 6121960"/>
              <a:gd name="connsiteX95" fmla="*/ 8171641 w 8636594"/>
              <a:gd name="connsiteY95" fmla="*/ 432332 h 6121960"/>
              <a:gd name="connsiteX96" fmla="*/ 8205590 w 8636594"/>
              <a:gd name="connsiteY96" fmla="*/ 396920 h 6121960"/>
              <a:gd name="connsiteX97" fmla="*/ 8239820 w 8636594"/>
              <a:gd name="connsiteY97" fmla="*/ 361843 h 6121960"/>
              <a:gd name="connsiteX98" fmla="*/ 8274337 w 8636594"/>
              <a:gd name="connsiteY98" fmla="*/ 327107 h 6121960"/>
              <a:gd name="connsiteX99" fmla="*/ 8309147 w 8636594"/>
              <a:gd name="connsiteY99" fmla="*/ 292718 h 6121960"/>
              <a:gd name="connsiteX100" fmla="*/ 8344256 w 8636594"/>
              <a:gd name="connsiteY100" fmla="*/ 258685 h 6121960"/>
              <a:gd name="connsiteX101" fmla="*/ 8379669 w 8636594"/>
              <a:gd name="connsiteY101" fmla="*/ 225013 h 6121960"/>
              <a:gd name="connsiteX102" fmla="*/ 8415394 w 8636594"/>
              <a:gd name="connsiteY102" fmla="*/ 191709 h 6121960"/>
              <a:gd name="connsiteX103" fmla="*/ 8451434 w 8636594"/>
              <a:gd name="connsiteY103" fmla="*/ 158780 h 6121960"/>
              <a:gd name="connsiteX104" fmla="*/ 8487798 w 8636594"/>
              <a:gd name="connsiteY104" fmla="*/ 126233 h 6121960"/>
              <a:gd name="connsiteX105" fmla="*/ 8524489 w 8636594"/>
              <a:gd name="connsiteY105" fmla="*/ 94075 h 6121960"/>
              <a:gd name="connsiteX106" fmla="*/ 8561515 w 8636594"/>
              <a:gd name="connsiteY106" fmla="*/ 62312 h 6121960"/>
              <a:gd name="connsiteX107" fmla="*/ 8598881 w 8636594"/>
              <a:gd name="connsiteY107" fmla="*/ 30951 h 6121960"/>
              <a:gd name="connsiteX108" fmla="*/ 8636594 w 8636594"/>
              <a:gd name="connsiteY108" fmla="*/ 0 h 6121960"/>
              <a:gd name="connsiteX0" fmla="*/ 8636594 w 8636594"/>
              <a:gd name="connsiteY0" fmla="*/ 0 h 6099881"/>
              <a:gd name="connsiteX1" fmla="*/ 5293 w 8636594"/>
              <a:gd name="connsiteY1" fmla="*/ 0 h 6099881"/>
              <a:gd name="connsiteX2" fmla="*/ 0 w 8636594"/>
              <a:gd name="connsiteY2" fmla="*/ 5587843 h 6099881"/>
              <a:gd name="connsiteX3" fmla="*/ 3680024 w 8636594"/>
              <a:gd name="connsiteY3" fmla="*/ 6099881 h 6099881"/>
              <a:gd name="connsiteX4" fmla="*/ 3721426 w 8636594"/>
              <a:gd name="connsiteY4" fmla="*/ 6077471 h 6099881"/>
              <a:gd name="connsiteX5" fmla="*/ 3762353 w 8636594"/>
              <a:gd name="connsiteY5" fmla="*/ 6054733 h 6099881"/>
              <a:gd name="connsiteX6" fmla="*/ 3802812 w 8636594"/>
              <a:gd name="connsiteY6" fmla="*/ 6031671 h 6099881"/>
              <a:gd name="connsiteX7" fmla="*/ 3842810 w 8636594"/>
              <a:gd name="connsiteY7" fmla="*/ 6008288 h 6099881"/>
              <a:gd name="connsiteX8" fmla="*/ 3882352 w 8636594"/>
              <a:gd name="connsiteY8" fmla="*/ 5984588 h 6099881"/>
              <a:gd name="connsiteX9" fmla="*/ 3921445 w 8636594"/>
              <a:gd name="connsiteY9" fmla="*/ 5960574 h 6099881"/>
              <a:gd name="connsiteX10" fmla="*/ 3960096 w 8636594"/>
              <a:gd name="connsiteY10" fmla="*/ 5936250 h 6099881"/>
              <a:gd name="connsiteX11" fmla="*/ 3998311 w 8636594"/>
              <a:gd name="connsiteY11" fmla="*/ 5911619 h 6099881"/>
              <a:gd name="connsiteX12" fmla="*/ 4036095 w 8636594"/>
              <a:gd name="connsiteY12" fmla="*/ 5886685 h 6099881"/>
              <a:gd name="connsiteX13" fmla="*/ 4073456 w 8636594"/>
              <a:gd name="connsiteY13" fmla="*/ 5861452 h 6099881"/>
              <a:gd name="connsiteX14" fmla="*/ 4110400 w 8636594"/>
              <a:gd name="connsiteY14" fmla="*/ 5835922 h 6099881"/>
              <a:gd name="connsiteX15" fmla="*/ 4146933 w 8636594"/>
              <a:gd name="connsiteY15" fmla="*/ 5810100 h 6099881"/>
              <a:gd name="connsiteX16" fmla="*/ 4183061 w 8636594"/>
              <a:gd name="connsiteY16" fmla="*/ 5783988 h 6099881"/>
              <a:gd name="connsiteX17" fmla="*/ 4218791 w 8636594"/>
              <a:gd name="connsiteY17" fmla="*/ 5757591 h 6099881"/>
              <a:gd name="connsiteX18" fmla="*/ 4254129 w 8636594"/>
              <a:gd name="connsiteY18" fmla="*/ 5730912 h 6099881"/>
              <a:gd name="connsiteX19" fmla="*/ 4289081 w 8636594"/>
              <a:gd name="connsiteY19" fmla="*/ 5703955 h 6099881"/>
              <a:gd name="connsiteX20" fmla="*/ 4323654 w 8636594"/>
              <a:gd name="connsiteY20" fmla="*/ 5676722 h 6099881"/>
              <a:gd name="connsiteX21" fmla="*/ 4357854 w 8636594"/>
              <a:gd name="connsiteY21" fmla="*/ 5649218 h 6099881"/>
              <a:gd name="connsiteX22" fmla="*/ 4391688 w 8636594"/>
              <a:gd name="connsiteY22" fmla="*/ 5621446 h 6099881"/>
              <a:gd name="connsiteX23" fmla="*/ 4425162 w 8636594"/>
              <a:gd name="connsiteY23" fmla="*/ 5593409 h 6099881"/>
              <a:gd name="connsiteX24" fmla="*/ 4458281 w 8636594"/>
              <a:gd name="connsiteY24" fmla="*/ 5565111 h 6099881"/>
              <a:gd name="connsiteX25" fmla="*/ 4491053 w 8636594"/>
              <a:gd name="connsiteY25" fmla="*/ 5536556 h 6099881"/>
              <a:gd name="connsiteX26" fmla="*/ 4523484 w 8636594"/>
              <a:gd name="connsiteY26" fmla="*/ 5507747 h 6099881"/>
              <a:gd name="connsiteX27" fmla="*/ 4555580 w 8636594"/>
              <a:gd name="connsiteY27" fmla="*/ 5478687 h 6099881"/>
              <a:gd name="connsiteX28" fmla="*/ 4587347 w 8636594"/>
              <a:gd name="connsiteY28" fmla="*/ 5449380 h 6099881"/>
              <a:gd name="connsiteX29" fmla="*/ 4618793 w 8636594"/>
              <a:gd name="connsiteY29" fmla="*/ 5419830 h 6099881"/>
              <a:gd name="connsiteX30" fmla="*/ 4649922 w 8636594"/>
              <a:gd name="connsiteY30" fmla="*/ 5390040 h 6099881"/>
              <a:gd name="connsiteX31" fmla="*/ 4680742 w 8636594"/>
              <a:gd name="connsiteY31" fmla="*/ 5360014 h 6099881"/>
              <a:gd name="connsiteX32" fmla="*/ 4711259 w 8636594"/>
              <a:gd name="connsiteY32" fmla="*/ 5329755 h 6099881"/>
              <a:gd name="connsiteX33" fmla="*/ 4741478 w 8636594"/>
              <a:gd name="connsiteY33" fmla="*/ 5299266 h 6099881"/>
              <a:gd name="connsiteX34" fmla="*/ 4771408 w 8636594"/>
              <a:gd name="connsiteY34" fmla="*/ 5268551 h 6099881"/>
              <a:gd name="connsiteX35" fmla="*/ 4801053 w 8636594"/>
              <a:gd name="connsiteY35" fmla="*/ 5237614 h 6099881"/>
              <a:gd name="connsiteX36" fmla="*/ 4830420 w 8636594"/>
              <a:gd name="connsiteY36" fmla="*/ 5206458 h 6099881"/>
              <a:gd name="connsiteX37" fmla="*/ 4859516 w 8636594"/>
              <a:gd name="connsiteY37" fmla="*/ 5175087 h 6099881"/>
              <a:gd name="connsiteX38" fmla="*/ 4888347 w 8636594"/>
              <a:gd name="connsiteY38" fmla="*/ 5143504 h 6099881"/>
              <a:gd name="connsiteX39" fmla="*/ 4916919 w 8636594"/>
              <a:gd name="connsiteY39" fmla="*/ 5111713 h 6099881"/>
              <a:gd name="connsiteX40" fmla="*/ 4945238 w 8636594"/>
              <a:gd name="connsiteY40" fmla="*/ 5079717 h 6099881"/>
              <a:gd name="connsiteX41" fmla="*/ 4973311 w 8636594"/>
              <a:gd name="connsiteY41" fmla="*/ 5047519 h 6099881"/>
              <a:gd name="connsiteX42" fmla="*/ 5001145 w 8636594"/>
              <a:gd name="connsiteY42" fmla="*/ 5015124 h 6099881"/>
              <a:gd name="connsiteX43" fmla="*/ 5028745 w 8636594"/>
              <a:gd name="connsiteY43" fmla="*/ 4982535 h 6099881"/>
              <a:gd name="connsiteX44" fmla="*/ 5056117 w 8636594"/>
              <a:gd name="connsiteY44" fmla="*/ 4949755 h 6099881"/>
              <a:gd name="connsiteX45" fmla="*/ 5083269 w 8636594"/>
              <a:gd name="connsiteY45" fmla="*/ 4916787 h 6099881"/>
              <a:gd name="connsiteX46" fmla="*/ 5110207 w 8636594"/>
              <a:gd name="connsiteY46" fmla="*/ 4883636 h 6099881"/>
              <a:gd name="connsiteX47" fmla="*/ 5136937 w 8636594"/>
              <a:gd name="connsiteY47" fmla="*/ 4850305 h 6099881"/>
              <a:gd name="connsiteX48" fmla="*/ 5163464 w 8636594"/>
              <a:gd name="connsiteY48" fmla="*/ 4816797 h 6099881"/>
              <a:gd name="connsiteX49" fmla="*/ 5215940 w 8636594"/>
              <a:gd name="connsiteY49" fmla="*/ 4749265 h 6099881"/>
              <a:gd name="connsiteX50" fmla="*/ 5267684 w 8636594"/>
              <a:gd name="connsiteY50" fmla="*/ 4681068 h 6099881"/>
              <a:gd name="connsiteX51" fmla="*/ 5318748 w 8636594"/>
              <a:gd name="connsiteY51" fmla="*/ 4612234 h 6099881"/>
              <a:gd name="connsiteX52" fmla="*/ 5369182 w 8636594"/>
              <a:gd name="connsiteY52" fmla="*/ 4542793 h 6099881"/>
              <a:gd name="connsiteX53" fmla="*/ 5419038 w 8636594"/>
              <a:gd name="connsiteY53" fmla="*/ 4472771 h 6099881"/>
              <a:gd name="connsiteX54" fmla="*/ 5468365 w 8636594"/>
              <a:gd name="connsiteY54" fmla="*/ 4402196 h 6099881"/>
              <a:gd name="connsiteX55" fmla="*/ 5517215 w 8636594"/>
              <a:gd name="connsiteY55" fmla="*/ 4331098 h 6099881"/>
              <a:gd name="connsiteX56" fmla="*/ 5565637 w 8636594"/>
              <a:gd name="connsiteY56" fmla="*/ 4259503 h 6099881"/>
              <a:gd name="connsiteX57" fmla="*/ 5613684 w 8636594"/>
              <a:gd name="connsiteY57" fmla="*/ 4187441 h 6099881"/>
              <a:gd name="connsiteX58" fmla="*/ 5685160 w 8636594"/>
              <a:gd name="connsiteY58" fmla="*/ 4078531 h 6099881"/>
              <a:gd name="connsiteX59" fmla="*/ 5756074 w 8636594"/>
              <a:gd name="connsiteY59" fmla="*/ 3968727 h 6099881"/>
              <a:gd name="connsiteX60" fmla="*/ 5873483 w 8636594"/>
              <a:gd name="connsiteY60" fmla="*/ 3783989 h 6099881"/>
              <a:gd name="connsiteX61" fmla="*/ 6203209 w 8636594"/>
              <a:gd name="connsiteY61" fmla="*/ 3258640 h 6099881"/>
              <a:gd name="connsiteX62" fmla="*/ 6299430 w 8636594"/>
              <a:gd name="connsiteY62" fmla="*/ 3107321 h 6099881"/>
              <a:gd name="connsiteX63" fmla="*/ 6372650 w 8636594"/>
              <a:gd name="connsiteY63" fmla="*/ 2993735 h 6099881"/>
              <a:gd name="connsiteX64" fmla="*/ 6453197 w 8636594"/>
              <a:gd name="connsiteY64" fmla="*/ 2869788 h 6099881"/>
              <a:gd name="connsiteX65" fmla="*/ 6564167 w 8636594"/>
              <a:gd name="connsiteY65" fmla="*/ 2696807 h 6099881"/>
              <a:gd name="connsiteX66" fmla="*/ 6976233 w 8636594"/>
              <a:gd name="connsiteY66" fmla="*/ 2045274 h 6099881"/>
              <a:gd name="connsiteX67" fmla="*/ 7086755 w 8636594"/>
              <a:gd name="connsiteY67" fmla="*/ 1872743 h 6099881"/>
              <a:gd name="connsiteX68" fmla="*/ 7170279 w 8636594"/>
              <a:gd name="connsiteY68" fmla="*/ 1744202 h 6099881"/>
              <a:gd name="connsiteX69" fmla="*/ 7226351 w 8636594"/>
              <a:gd name="connsiteY69" fmla="*/ 1659017 h 6099881"/>
              <a:gd name="connsiteX70" fmla="*/ 7282789 w 8636594"/>
              <a:gd name="connsiteY70" fmla="*/ 1574303 h 6099881"/>
              <a:gd name="connsiteX71" fmla="*/ 7339643 w 8636594"/>
              <a:gd name="connsiteY71" fmla="*/ 1490113 h 6099881"/>
              <a:gd name="connsiteX72" fmla="*/ 7396957 w 8636594"/>
              <a:gd name="connsiteY72" fmla="*/ 1406503 h 6099881"/>
              <a:gd name="connsiteX73" fmla="*/ 7454781 w 8636594"/>
              <a:gd name="connsiteY73" fmla="*/ 1323526 h 6099881"/>
              <a:gd name="connsiteX74" fmla="*/ 7513161 w 8636594"/>
              <a:gd name="connsiteY74" fmla="*/ 1241237 h 6099881"/>
              <a:gd name="connsiteX75" fmla="*/ 7572144 w 8636594"/>
              <a:gd name="connsiteY75" fmla="*/ 1159689 h 6099881"/>
              <a:gd name="connsiteX76" fmla="*/ 7601877 w 8636594"/>
              <a:gd name="connsiteY76" fmla="*/ 1119210 h 6099881"/>
              <a:gd name="connsiteX77" fmla="*/ 7631779 w 8636594"/>
              <a:gd name="connsiteY77" fmla="*/ 1078937 h 6099881"/>
              <a:gd name="connsiteX78" fmla="*/ 7661855 w 8636594"/>
              <a:gd name="connsiteY78" fmla="*/ 1038876 h 6099881"/>
              <a:gd name="connsiteX79" fmla="*/ 7692111 w 8636594"/>
              <a:gd name="connsiteY79" fmla="*/ 999035 h 6099881"/>
              <a:gd name="connsiteX80" fmla="*/ 7722554 w 8636594"/>
              <a:gd name="connsiteY80" fmla="*/ 959419 h 6099881"/>
              <a:gd name="connsiteX81" fmla="*/ 7753190 w 8636594"/>
              <a:gd name="connsiteY81" fmla="*/ 920037 h 6099881"/>
              <a:gd name="connsiteX82" fmla="*/ 7784023 w 8636594"/>
              <a:gd name="connsiteY82" fmla="*/ 880894 h 6099881"/>
              <a:gd name="connsiteX83" fmla="*/ 7815061 w 8636594"/>
              <a:gd name="connsiteY83" fmla="*/ 841997 h 6099881"/>
              <a:gd name="connsiteX84" fmla="*/ 7846308 w 8636594"/>
              <a:gd name="connsiteY84" fmla="*/ 803354 h 6099881"/>
              <a:gd name="connsiteX85" fmla="*/ 7877772 w 8636594"/>
              <a:gd name="connsiteY85" fmla="*/ 764970 h 6099881"/>
              <a:gd name="connsiteX86" fmla="*/ 7909458 w 8636594"/>
              <a:gd name="connsiteY86" fmla="*/ 726853 h 6099881"/>
              <a:gd name="connsiteX87" fmla="*/ 7941371 w 8636594"/>
              <a:gd name="connsiteY87" fmla="*/ 689010 h 6099881"/>
              <a:gd name="connsiteX88" fmla="*/ 7973518 w 8636594"/>
              <a:gd name="connsiteY88" fmla="*/ 651447 h 6099881"/>
              <a:gd name="connsiteX89" fmla="*/ 8005905 w 8636594"/>
              <a:gd name="connsiteY89" fmla="*/ 614171 h 6099881"/>
              <a:gd name="connsiteX90" fmla="*/ 8038538 w 8636594"/>
              <a:gd name="connsiteY90" fmla="*/ 577189 h 6099881"/>
              <a:gd name="connsiteX91" fmla="*/ 8071421 w 8636594"/>
              <a:gd name="connsiteY91" fmla="*/ 540507 h 6099881"/>
              <a:gd name="connsiteX92" fmla="*/ 8104563 w 8636594"/>
              <a:gd name="connsiteY92" fmla="*/ 504132 h 6099881"/>
              <a:gd name="connsiteX93" fmla="*/ 8137967 w 8636594"/>
              <a:gd name="connsiteY93" fmla="*/ 468072 h 6099881"/>
              <a:gd name="connsiteX94" fmla="*/ 8171641 w 8636594"/>
              <a:gd name="connsiteY94" fmla="*/ 432332 h 6099881"/>
              <a:gd name="connsiteX95" fmla="*/ 8205590 w 8636594"/>
              <a:gd name="connsiteY95" fmla="*/ 396920 h 6099881"/>
              <a:gd name="connsiteX96" fmla="*/ 8239820 w 8636594"/>
              <a:gd name="connsiteY96" fmla="*/ 361843 h 6099881"/>
              <a:gd name="connsiteX97" fmla="*/ 8274337 w 8636594"/>
              <a:gd name="connsiteY97" fmla="*/ 327107 h 6099881"/>
              <a:gd name="connsiteX98" fmla="*/ 8309147 w 8636594"/>
              <a:gd name="connsiteY98" fmla="*/ 292718 h 6099881"/>
              <a:gd name="connsiteX99" fmla="*/ 8344256 w 8636594"/>
              <a:gd name="connsiteY99" fmla="*/ 258685 h 6099881"/>
              <a:gd name="connsiteX100" fmla="*/ 8379669 w 8636594"/>
              <a:gd name="connsiteY100" fmla="*/ 225013 h 6099881"/>
              <a:gd name="connsiteX101" fmla="*/ 8415394 w 8636594"/>
              <a:gd name="connsiteY101" fmla="*/ 191709 h 6099881"/>
              <a:gd name="connsiteX102" fmla="*/ 8451434 w 8636594"/>
              <a:gd name="connsiteY102" fmla="*/ 158780 h 6099881"/>
              <a:gd name="connsiteX103" fmla="*/ 8487798 w 8636594"/>
              <a:gd name="connsiteY103" fmla="*/ 126233 h 6099881"/>
              <a:gd name="connsiteX104" fmla="*/ 8524489 w 8636594"/>
              <a:gd name="connsiteY104" fmla="*/ 94075 h 6099881"/>
              <a:gd name="connsiteX105" fmla="*/ 8561515 w 8636594"/>
              <a:gd name="connsiteY105" fmla="*/ 62312 h 6099881"/>
              <a:gd name="connsiteX106" fmla="*/ 8598881 w 8636594"/>
              <a:gd name="connsiteY106" fmla="*/ 30951 h 6099881"/>
              <a:gd name="connsiteX107" fmla="*/ 8636594 w 8636594"/>
              <a:gd name="connsiteY107" fmla="*/ 0 h 6099881"/>
              <a:gd name="connsiteX0" fmla="*/ 8636594 w 8636594"/>
              <a:gd name="connsiteY0" fmla="*/ 0 h 6077471"/>
              <a:gd name="connsiteX1" fmla="*/ 5293 w 8636594"/>
              <a:gd name="connsiteY1" fmla="*/ 0 h 6077471"/>
              <a:gd name="connsiteX2" fmla="*/ 0 w 8636594"/>
              <a:gd name="connsiteY2" fmla="*/ 5587843 h 6077471"/>
              <a:gd name="connsiteX3" fmla="*/ 3721426 w 8636594"/>
              <a:gd name="connsiteY3" fmla="*/ 6077471 h 6077471"/>
              <a:gd name="connsiteX4" fmla="*/ 3762353 w 8636594"/>
              <a:gd name="connsiteY4" fmla="*/ 6054733 h 6077471"/>
              <a:gd name="connsiteX5" fmla="*/ 3802812 w 8636594"/>
              <a:gd name="connsiteY5" fmla="*/ 6031671 h 6077471"/>
              <a:gd name="connsiteX6" fmla="*/ 3842810 w 8636594"/>
              <a:gd name="connsiteY6" fmla="*/ 6008288 h 6077471"/>
              <a:gd name="connsiteX7" fmla="*/ 3882352 w 8636594"/>
              <a:gd name="connsiteY7" fmla="*/ 5984588 h 6077471"/>
              <a:gd name="connsiteX8" fmla="*/ 3921445 w 8636594"/>
              <a:gd name="connsiteY8" fmla="*/ 5960574 h 6077471"/>
              <a:gd name="connsiteX9" fmla="*/ 3960096 w 8636594"/>
              <a:gd name="connsiteY9" fmla="*/ 5936250 h 6077471"/>
              <a:gd name="connsiteX10" fmla="*/ 3998311 w 8636594"/>
              <a:gd name="connsiteY10" fmla="*/ 5911619 h 6077471"/>
              <a:gd name="connsiteX11" fmla="*/ 4036095 w 8636594"/>
              <a:gd name="connsiteY11" fmla="*/ 5886685 h 6077471"/>
              <a:gd name="connsiteX12" fmla="*/ 4073456 w 8636594"/>
              <a:gd name="connsiteY12" fmla="*/ 5861452 h 6077471"/>
              <a:gd name="connsiteX13" fmla="*/ 4110400 w 8636594"/>
              <a:gd name="connsiteY13" fmla="*/ 5835922 h 6077471"/>
              <a:gd name="connsiteX14" fmla="*/ 4146933 w 8636594"/>
              <a:gd name="connsiteY14" fmla="*/ 5810100 h 6077471"/>
              <a:gd name="connsiteX15" fmla="*/ 4183061 w 8636594"/>
              <a:gd name="connsiteY15" fmla="*/ 5783988 h 6077471"/>
              <a:gd name="connsiteX16" fmla="*/ 4218791 w 8636594"/>
              <a:gd name="connsiteY16" fmla="*/ 5757591 h 6077471"/>
              <a:gd name="connsiteX17" fmla="*/ 4254129 w 8636594"/>
              <a:gd name="connsiteY17" fmla="*/ 5730912 h 6077471"/>
              <a:gd name="connsiteX18" fmla="*/ 4289081 w 8636594"/>
              <a:gd name="connsiteY18" fmla="*/ 5703955 h 6077471"/>
              <a:gd name="connsiteX19" fmla="*/ 4323654 w 8636594"/>
              <a:gd name="connsiteY19" fmla="*/ 5676722 h 6077471"/>
              <a:gd name="connsiteX20" fmla="*/ 4357854 w 8636594"/>
              <a:gd name="connsiteY20" fmla="*/ 5649218 h 6077471"/>
              <a:gd name="connsiteX21" fmla="*/ 4391688 w 8636594"/>
              <a:gd name="connsiteY21" fmla="*/ 5621446 h 6077471"/>
              <a:gd name="connsiteX22" fmla="*/ 4425162 w 8636594"/>
              <a:gd name="connsiteY22" fmla="*/ 5593409 h 6077471"/>
              <a:gd name="connsiteX23" fmla="*/ 4458281 w 8636594"/>
              <a:gd name="connsiteY23" fmla="*/ 5565111 h 6077471"/>
              <a:gd name="connsiteX24" fmla="*/ 4491053 w 8636594"/>
              <a:gd name="connsiteY24" fmla="*/ 5536556 h 6077471"/>
              <a:gd name="connsiteX25" fmla="*/ 4523484 w 8636594"/>
              <a:gd name="connsiteY25" fmla="*/ 5507747 h 6077471"/>
              <a:gd name="connsiteX26" fmla="*/ 4555580 w 8636594"/>
              <a:gd name="connsiteY26" fmla="*/ 5478687 h 6077471"/>
              <a:gd name="connsiteX27" fmla="*/ 4587347 w 8636594"/>
              <a:gd name="connsiteY27" fmla="*/ 5449380 h 6077471"/>
              <a:gd name="connsiteX28" fmla="*/ 4618793 w 8636594"/>
              <a:gd name="connsiteY28" fmla="*/ 5419830 h 6077471"/>
              <a:gd name="connsiteX29" fmla="*/ 4649922 w 8636594"/>
              <a:gd name="connsiteY29" fmla="*/ 5390040 h 6077471"/>
              <a:gd name="connsiteX30" fmla="*/ 4680742 w 8636594"/>
              <a:gd name="connsiteY30" fmla="*/ 5360014 h 6077471"/>
              <a:gd name="connsiteX31" fmla="*/ 4711259 w 8636594"/>
              <a:gd name="connsiteY31" fmla="*/ 5329755 h 6077471"/>
              <a:gd name="connsiteX32" fmla="*/ 4741478 w 8636594"/>
              <a:gd name="connsiteY32" fmla="*/ 5299266 h 6077471"/>
              <a:gd name="connsiteX33" fmla="*/ 4771408 w 8636594"/>
              <a:gd name="connsiteY33" fmla="*/ 5268551 h 6077471"/>
              <a:gd name="connsiteX34" fmla="*/ 4801053 w 8636594"/>
              <a:gd name="connsiteY34" fmla="*/ 5237614 h 6077471"/>
              <a:gd name="connsiteX35" fmla="*/ 4830420 w 8636594"/>
              <a:gd name="connsiteY35" fmla="*/ 5206458 h 6077471"/>
              <a:gd name="connsiteX36" fmla="*/ 4859516 w 8636594"/>
              <a:gd name="connsiteY36" fmla="*/ 5175087 h 6077471"/>
              <a:gd name="connsiteX37" fmla="*/ 4888347 w 8636594"/>
              <a:gd name="connsiteY37" fmla="*/ 5143504 h 6077471"/>
              <a:gd name="connsiteX38" fmla="*/ 4916919 w 8636594"/>
              <a:gd name="connsiteY38" fmla="*/ 5111713 h 6077471"/>
              <a:gd name="connsiteX39" fmla="*/ 4945238 w 8636594"/>
              <a:gd name="connsiteY39" fmla="*/ 5079717 h 6077471"/>
              <a:gd name="connsiteX40" fmla="*/ 4973311 w 8636594"/>
              <a:gd name="connsiteY40" fmla="*/ 5047519 h 6077471"/>
              <a:gd name="connsiteX41" fmla="*/ 5001145 w 8636594"/>
              <a:gd name="connsiteY41" fmla="*/ 5015124 h 6077471"/>
              <a:gd name="connsiteX42" fmla="*/ 5028745 w 8636594"/>
              <a:gd name="connsiteY42" fmla="*/ 4982535 h 6077471"/>
              <a:gd name="connsiteX43" fmla="*/ 5056117 w 8636594"/>
              <a:gd name="connsiteY43" fmla="*/ 4949755 h 6077471"/>
              <a:gd name="connsiteX44" fmla="*/ 5083269 w 8636594"/>
              <a:gd name="connsiteY44" fmla="*/ 4916787 h 6077471"/>
              <a:gd name="connsiteX45" fmla="*/ 5110207 w 8636594"/>
              <a:gd name="connsiteY45" fmla="*/ 4883636 h 6077471"/>
              <a:gd name="connsiteX46" fmla="*/ 5136937 w 8636594"/>
              <a:gd name="connsiteY46" fmla="*/ 4850305 h 6077471"/>
              <a:gd name="connsiteX47" fmla="*/ 5163464 w 8636594"/>
              <a:gd name="connsiteY47" fmla="*/ 4816797 h 6077471"/>
              <a:gd name="connsiteX48" fmla="*/ 5215940 w 8636594"/>
              <a:gd name="connsiteY48" fmla="*/ 4749265 h 6077471"/>
              <a:gd name="connsiteX49" fmla="*/ 5267684 w 8636594"/>
              <a:gd name="connsiteY49" fmla="*/ 4681068 h 6077471"/>
              <a:gd name="connsiteX50" fmla="*/ 5318748 w 8636594"/>
              <a:gd name="connsiteY50" fmla="*/ 4612234 h 6077471"/>
              <a:gd name="connsiteX51" fmla="*/ 5369182 w 8636594"/>
              <a:gd name="connsiteY51" fmla="*/ 4542793 h 6077471"/>
              <a:gd name="connsiteX52" fmla="*/ 5419038 w 8636594"/>
              <a:gd name="connsiteY52" fmla="*/ 4472771 h 6077471"/>
              <a:gd name="connsiteX53" fmla="*/ 5468365 w 8636594"/>
              <a:gd name="connsiteY53" fmla="*/ 4402196 h 6077471"/>
              <a:gd name="connsiteX54" fmla="*/ 5517215 w 8636594"/>
              <a:gd name="connsiteY54" fmla="*/ 4331098 h 6077471"/>
              <a:gd name="connsiteX55" fmla="*/ 5565637 w 8636594"/>
              <a:gd name="connsiteY55" fmla="*/ 4259503 h 6077471"/>
              <a:gd name="connsiteX56" fmla="*/ 5613684 w 8636594"/>
              <a:gd name="connsiteY56" fmla="*/ 4187441 h 6077471"/>
              <a:gd name="connsiteX57" fmla="*/ 5685160 w 8636594"/>
              <a:gd name="connsiteY57" fmla="*/ 4078531 h 6077471"/>
              <a:gd name="connsiteX58" fmla="*/ 5756074 w 8636594"/>
              <a:gd name="connsiteY58" fmla="*/ 3968727 h 6077471"/>
              <a:gd name="connsiteX59" fmla="*/ 5873483 w 8636594"/>
              <a:gd name="connsiteY59" fmla="*/ 3783989 h 6077471"/>
              <a:gd name="connsiteX60" fmla="*/ 6203209 w 8636594"/>
              <a:gd name="connsiteY60" fmla="*/ 3258640 h 6077471"/>
              <a:gd name="connsiteX61" fmla="*/ 6299430 w 8636594"/>
              <a:gd name="connsiteY61" fmla="*/ 3107321 h 6077471"/>
              <a:gd name="connsiteX62" fmla="*/ 6372650 w 8636594"/>
              <a:gd name="connsiteY62" fmla="*/ 2993735 h 6077471"/>
              <a:gd name="connsiteX63" fmla="*/ 6453197 w 8636594"/>
              <a:gd name="connsiteY63" fmla="*/ 2869788 h 6077471"/>
              <a:gd name="connsiteX64" fmla="*/ 6564167 w 8636594"/>
              <a:gd name="connsiteY64" fmla="*/ 2696807 h 6077471"/>
              <a:gd name="connsiteX65" fmla="*/ 6976233 w 8636594"/>
              <a:gd name="connsiteY65" fmla="*/ 2045274 h 6077471"/>
              <a:gd name="connsiteX66" fmla="*/ 7086755 w 8636594"/>
              <a:gd name="connsiteY66" fmla="*/ 1872743 h 6077471"/>
              <a:gd name="connsiteX67" fmla="*/ 7170279 w 8636594"/>
              <a:gd name="connsiteY67" fmla="*/ 1744202 h 6077471"/>
              <a:gd name="connsiteX68" fmla="*/ 7226351 w 8636594"/>
              <a:gd name="connsiteY68" fmla="*/ 1659017 h 6077471"/>
              <a:gd name="connsiteX69" fmla="*/ 7282789 w 8636594"/>
              <a:gd name="connsiteY69" fmla="*/ 1574303 h 6077471"/>
              <a:gd name="connsiteX70" fmla="*/ 7339643 w 8636594"/>
              <a:gd name="connsiteY70" fmla="*/ 1490113 h 6077471"/>
              <a:gd name="connsiteX71" fmla="*/ 7396957 w 8636594"/>
              <a:gd name="connsiteY71" fmla="*/ 1406503 h 6077471"/>
              <a:gd name="connsiteX72" fmla="*/ 7454781 w 8636594"/>
              <a:gd name="connsiteY72" fmla="*/ 1323526 h 6077471"/>
              <a:gd name="connsiteX73" fmla="*/ 7513161 w 8636594"/>
              <a:gd name="connsiteY73" fmla="*/ 1241237 h 6077471"/>
              <a:gd name="connsiteX74" fmla="*/ 7572144 w 8636594"/>
              <a:gd name="connsiteY74" fmla="*/ 1159689 h 6077471"/>
              <a:gd name="connsiteX75" fmla="*/ 7601877 w 8636594"/>
              <a:gd name="connsiteY75" fmla="*/ 1119210 h 6077471"/>
              <a:gd name="connsiteX76" fmla="*/ 7631779 w 8636594"/>
              <a:gd name="connsiteY76" fmla="*/ 1078937 h 6077471"/>
              <a:gd name="connsiteX77" fmla="*/ 7661855 w 8636594"/>
              <a:gd name="connsiteY77" fmla="*/ 1038876 h 6077471"/>
              <a:gd name="connsiteX78" fmla="*/ 7692111 w 8636594"/>
              <a:gd name="connsiteY78" fmla="*/ 999035 h 6077471"/>
              <a:gd name="connsiteX79" fmla="*/ 7722554 w 8636594"/>
              <a:gd name="connsiteY79" fmla="*/ 959419 h 6077471"/>
              <a:gd name="connsiteX80" fmla="*/ 7753190 w 8636594"/>
              <a:gd name="connsiteY80" fmla="*/ 920037 h 6077471"/>
              <a:gd name="connsiteX81" fmla="*/ 7784023 w 8636594"/>
              <a:gd name="connsiteY81" fmla="*/ 880894 h 6077471"/>
              <a:gd name="connsiteX82" fmla="*/ 7815061 w 8636594"/>
              <a:gd name="connsiteY82" fmla="*/ 841997 h 6077471"/>
              <a:gd name="connsiteX83" fmla="*/ 7846308 w 8636594"/>
              <a:gd name="connsiteY83" fmla="*/ 803354 h 6077471"/>
              <a:gd name="connsiteX84" fmla="*/ 7877772 w 8636594"/>
              <a:gd name="connsiteY84" fmla="*/ 764970 h 6077471"/>
              <a:gd name="connsiteX85" fmla="*/ 7909458 w 8636594"/>
              <a:gd name="connsiteY85" fmla="*/ 726853 h 6077471"/>
              <a:gd name="connsiteX86" fmla="*/ 7941371 w 8636594"/>
              <a:gd name="connsiteY86" fmla="*/ 689010 h 6077471"/>
              <a:gd name="connsiteX87" fmla="*/ 7973518 w 8636594"/>
              <a:gd name="connsiteY87" fmla="*/ 651447 h 6077471"/>
              <a:gd name="connsiteX88" fmla="*/ 8005905 w 8636594"/>
              <a:gd name="connsiteY88" fmla="*/ 614171 h 6077471"/>
              <a:gd name="connsiteX89" fmla="*/ 8038538 w 8636594"/>
              <a:gd name="connsiteY89" fmla="*/ 577189 h 6077471"/>
              <a:gd name="connsiteX90" fmla="*/ 8071421 w 8636594"/>
              <a:gd name="connsiteY90" fmla="*/ 540507 h 6077471"/>
              <a:gd name="connsiteX91" fmla="*/ 8104563 w 8636594"/>
              <a:gd name="connsiteY91" fmla="*/ 504132 h 6077471"/>
              <a:gd name="connsiteX92" fmla="*/ 8137967 w 8636594"/>
              <a:gd name="connsiteY92" fmla="*/ 468072 h 6077471"/>
              <a:gd name="connsiteX93" fmla="*/ 8171641 w 8636594"/>
              <a:gd name="connsiteY93" fmla="*/ 432332 h 6077471"/>
              <a:gd name="connsiteX94" fmla="*/ 8205590 w 8636594"/>
              <a:gd name="connsiteY94" fmla="*/ 396920 h 6077471"/>
              <a:gd name="connsiteX95" fmla="*/ 8239820 w 8636594"/>
              <a:gd name="connsiteY95" fmla="*/ 361843 h 6077471"/>
              <a:gd name="connsiteX96" fmla="*/ 8274337 w 8636594"/>
              <a:gd name="connsiteY96" fmla="*/ 327107 h 6077471"/>
              <a:gd name="connsiteX97" fmla="*/ 8309147 w 8636594"/>
              <a:gd name="connsiteY97" fmla="*/ 292718 h 6077471"/>
              <a:gd name="connsiteX98" fmla="*/ 8344256 w 8636594"/>
              <a:gd name="connsiteY98" fmla="*/ 258685 h 6077471"/>
              <a:gd name="connsiteX99" fmla="*/ 8379669 w 8636594"/>
              <a:gd name="connsiteY99" fmla="*/ 225013 h 6077471"/>
              <a:gd name="connsiteX100" fmla="*/ 8415394 w 8636594"/>
              <a:gd name="connsiteY100" fmla="*/ 191709 h 6077471"/>
              <a:gd name="connsiteX101" fmla="*/ 8451434 w 8636594"/>
              <a:gd name="connsiteY101" fmla="*/ 158780 h 6077471"/>
              <a:gd name="connsiteX102" fmla="*/ 8487798 w 8636594"/>
              <a:gd name="connsiteY102" fmla="*/ 126233 h 6077471"/>
              <a:gd name="connsiteX103" fmla="*/ 8524489 w 8636594"/>
              <a:gd name="connsiteY103" fmla="*/ 94075 h 6077471"/>
              <a:gd name="connsiteX104" fmla="*/ 8561515 w 8636594"/>
              <a:gd name="connsiteY104" fmla="*/ 62312 h 6077471"/>
              <a:gd name="connsiteX105" fmla="*/ 8598881 w 8636594"/>
              <a:gd name="connsiteY105" fmla="*/ 30951 h 6077471"/>
              <a:gd name="connsiteX106" fmla="*/ 8636594 w 8636594"/>
              <a:gd name="connsiteY106" fmla="*/ 0 h 6077471"/>
              <a:gd name="connsiteX0" fmla="*/ 8636594 w 8636594"/>
              <a:gd name="connsiteY0" fmla="*/ 0 h 6054733"/>
              <a:gd name="connsiteX1" fmla="*/ 5293 w 8636594"/>
              <a:gd name="connsiteY1" fmla="*/ 0 h 6054733"/>
              <a:gd name="connsiteX2" fmla="*/ 0 w 8636594"/>
              <a:gd name="connsiteY2" fmla="*/ 5587843 h 6054733"/>
              <a:gd name="connsiteX3" fmla="*/ 3762353 w 8636594"/>
              <a:gd name="connsiteY3" fmla="*/ 6054733 h 6054733"/>
              <a:gd name="connsiteX4" fmla="*/ 3802812 w 8636594"/>
              <a:gd name="connsiteY4" fmla="*/ 6031671 h 6054733"/>
              <a:gd name="connsiteX5" fmla="*/ 3842810 w 8636594"/>
              <a:gd name="connsiteY5" fmla="*/ 6008288 h 6054733"/>
              <a:gd name="connsiteX6" fmla="*/ 3882352 w 8636594"/>
              <a:gd name="connsiteY6" fmla="*/ 5984588 h 6054733"/>
              <a:gd name="connsiteX7" fmla="*/ 3921445 w 8636594"/>
              <a:gd name="connsiteY7" fmla="*/ 5960574 h 6054733"/>
              <a:gd name="connsiteX8" fmla="*/ 3960096 w 8636594"/>
              <a:gd name="connsiteY8" fmla="*/ 5936250 h 6054733"/>
              <a:gd name="connsiteX9" fmla="*/ 3998311 w 8636594"/>
              <a:gd name="connsiteY9" fmla="*/ 5911619 h 6054733"/>
              <a:gd name="connsiteX10" fmla="*/ 4036095 w 8636594"/>
              <a:gd name="connsiteY10" fmla="*/ 5886685 h 6054733"/>
              <a:gd name="connsiteX11" fmla="*/ 4073456 w 8636594"/>
              <a:gd name="connsiteY11" fmla="*/ 5861452 h 6054733"/>
              <a:gd name="connsiteX12" fmla="*/ 4110400 w 8636594"/>
              <a:gd name="connsiteY12" fmla="*/ 5835922 h 6054733"/>
              <a:gd name="connsiteX13" fmla="*/ 4146933 w 8636594"/>
              <a:gd name="connsiteY13" fmla="*/ 5810100 h 6054733"/>
              <a:gd name="connsiteX14" fmla="*/ 4183061 w 8636594"/>
              <a:gd name="connsiteY14" fmla="*/ 5783988 h 6054733"/>
              <a:gd name="connsiteX15" fmla="*/ 4218791 w 8636594"/>
              <a:gd name="connsiteY15" fmla="*/ 5757591 h 6054733"/>
              <a:gd name="connsiteX16" fmla="*/ 4254129 w 8636594"/>
              <a:gd name="connsiteY16" fmla="*/ 5730912 h 6054733"/>
              <a:gd name="connsiteX17" fmla="*/ 4289081 w 8636594"/>
              <a:gd name="connsiteY17" fmla="*/ 5703955 h 6054733"/>
              <a:gd name="connsiteX18" fmla="*/ 4323654 w 8636594"/>
              <a:gd name="connsiteY18" fmla="*/ 5676722 h 6054733"/>
              <a:gd name="connsiteX19" fmla="*/ 4357854 w 8636594"/>
              <a:gd name="connsiteY19" fmla="*/ 5649218 h 6054733"/>
              <a:gd name="connsiteX20" fmla="*/ 4391688 w 8636594"/>
              <a:gd name="connsiteY20" fmla="*/ 5621446 h 6054733"/>
              <a:gd name="connsiteX21" fmla="*/ 4425162 w 8636594"/>
              <a:gd name="connsiteY21" fmla="*/ 5593409 h 6054733"/>
              <a:gd name="connsiteX22" fmla="*/ 4458281 w 8636594"/>
              <a:gd name="connsiteY22" fmla="*/ 5565111 h 6054733"/>
              <a:gd name="connsiteX23" fmla="*/ 4491053 w 8636594"/>
              <a:gd name="connsiteY23" fmla="*/ 5536556 h 6054733"/>
              <a:gd name="connsiteX24" fmla="*/ 4523484 w 8636594"/>
              <a:gd name="connsiteY24" fmla="*/ 5507747 h 6054733"/>
              <a:gd name="connsiteX25" fmla="*/ 4555580 w 8636594"/>
              <a:gd name="connsiteY25" fmla="*/ 5478687 h 6054733"/>
              <a:gd name="connsiteX26" fmla="*/ 4587347 w 8636594"/>
              <a:gd name="connsiteY26" fmla="*/ 5449380 h 6054733"/>
              <a:gd name="connsiteX27" fmla="*/ 4618793 w 8636594"/>
              <a:gd name="connsiteY27" fmla="*/ 5419830 h 6054733"/>
              <a:gd name="connsiteX28" fmla="*/ 4649922 w 8636594"/>
              <a:gd name="connsiteY28" fmla="*/ 5390040 h 6054733"/>
              <a:gd name="connsiteX29" fmla="*/ 4680742 w 8636594"/>
              <a:gd name="connsiteY29" fmla="*/ 5360014 h 6054733"/>
              <a:gd name="connsiteX30" fmla="*/ 4711259 w 8636594"/>
              <a:gd name="connsiteY30" fmla="*/ 5329755 h 6054733"/>
              <a:gd name="connsiteX31" fmla="*/ 4741478 w 8636594"/>
              <a:gd name="connsiteY31" fmla="*/ 5299266 h 6054733"/>
              <a:gd name="connsiteX32" fmla="*/ 4771408 w 8636594"/>
              <a:gd name="connsiteY32" fmla="*/ 5268551 h 6054733"/>
              <a:gd name="connsiteX33" fmla="*/ 4801053 w 8636594"/>
              <a:gd name="connsiteY33" fmla="*/ 5237614 h 6054733"/>
              <a:gd name="connsiteX34" fmla="*/ 4830420 w 8636594"/>
              <a:gd name="connsiteY34" fmla="*/ 5206458 h 6054733"/>
              <a:gd name="connsiteX35" fmla="*/ 4859516 w 8636594"/>
              <a:gd name="connsiteY35" fmla="*/ 5175087 h 6054733"/>
              <a:gd name="connsiteX36" fmla="*/ 4888347 w 8636594"/>
              <a:gd name="connsiteY36" fmla="*/ 5143504 h 6054733"/>
              <a:gd name="connsiteX37" fmla="*/ 4916919 w 8636594"/>
              <a:gd name="connsiteY37" fmla="*/ 5111713 h 6054733"/>
              <a:gd name="connsiteX38" fmla="*/ 4945238 w 8636594"/>
              <a:gd name="connsiteY38" fmla="*/ 5079717 h 6054733"/>
              <a:gd name="connsiteX39" fmla="*/ 4973311 w 8636594"/>
              <a:gd name="connsiteY39" fmla="*/ 5047519 h 6054733"/>
              <a:gd name="connsiteX40" fmla="*/ 5001145 w 8636594"/>
              <a:gd name="connsiteY40" fmla="*/ 5015124 h 6054733"/>
              <a:gd name="connsiteX41" fmla="*/ 5028745 w 8636594"/>
              <a:gd name="connsiteY41" fmla="*/ 4982535 h 6054733"/>
              <a:gd name="connsiteX42" fmla="*/ 5056117 w 8636594"/>
              <a:gd name="connsiteY42" fmla="*/ 4949755 h 6054733"/>
              <a:gd name="connsiteX43" fmla="*/ 5083269 w 8636594"/>
              <a:gd name="connsiteY43" fmla="*/ 4916787 h 6054733"/>
              <a:gd name="connsiteX44" fmla="*/ 5110207 w 8636594"/>
              <a:gd name="connsiteY44" fmla="*/ 4883636 h 6054733"/>
              <a:gd name="connsiteX45" fmla="*/ 5136937 w 8636594"/>
              <a:gd name="connsiteY45" fmla="*/ 4850305 h 6054733"/>
              <a:gd name="connsiteX46" fmla="*/ 5163464 w 8636594"/>
              <a:gd name="connsiteY46" fmla="*/ 4816797 h 6054733"/>
              <a:gd name="connsiteX47" fmla="*/ 5215940 w 8636594"/>
              <a:gd name="connsiteY47" fmla="*/ 4749265 h 6054733"/>
              <a:gd name="connsiteX48" fmla="*/ 5267684 w 8636594"/>
              <a:gd name="connsiteY48" fmla="*/ 4681068 h 6054733"/>
              <a:gd name="connsiteX49" fmla="*/ 5318748 w 8636594"/>
              <a:gd name="connsiteY49" fmla="*/ 4612234 h 6054733"/>
              <a:gd name="connsiteX50" fmla="*/ 5369182 w 8636594"/>
              <a:gd name="connsiteY50" fmla="*/ 4542793 h 6054733"/>
              <a:gd name="connsiteX51" fmla="*/ 5419038 w 8636594"/>
              <a:gd name="connsiteY51" fmla="*/ 4472771 h 6054733"/>
              <a:gd name="connsiteX52" fmla="*/ 5468365 w 8636594"/>
              <a:gd name="connsiteY52" fmla="*/ 4402196 h 6054733"/>
              <a:gd name="connsiteX53" fmla="*/ 5517215 w 8636594"/>
              <a:gd name="connsiteY53" fmla="*/ 4331098 h 6054733"/>
              <a:gd name="connsiteX54" fmla="*/ 5565637 w 8636594"/>
              <a:gd name="connsiteY54" fmla="*/ 4259503 h 6054733"/>
              <a:gd name="connsiteX55" fmla="*/ 5613684 w 8636594"/>
              <a:gd name="connsiteY55" fmla="*/ 4187441 h 6054733"/>
              <a:gd name="connsiteX56" fmla="*/ 5685160 w 8636594"/>
              <a:gd name="connsiteY56" fmla="*/ 4078531 h 6054733"/>
              <a:gd name="connsiteX57" fmla="*/ 5756074 w 8636594"/>
              <a:gd name="connsiteY57" fmla="*/ 3968727 h 6054733"/>
              <a:gd name="connsiteX58" fmla="*/ 5873483 w 8636594"/>
              <a:gd name="connsiteY58" fmla="*/ 3783989 h 6054733"/>
              <a:gd name="connsiteX59" fmla="*/ 6203209 w 8636594"/>
              <a:gd name="connsiteY59" fmla="*/ 3258640 h 6054733"/>
              <a:gd name="connsiteX60" fmla="*/ 6299430 w 8636594"/>
              <a:gd name="connsiteY60" fmla="*/ 3107321 h 6054733"/>
              <a:gd name="connsiteX61" fmla="*/ 6372650 w 8636594"/>
              <a:gd name="connsiteY61" fmla="*/ 2993735 h 6054733"/>
              <a:gd name="connsiteX62" fmla="*/ 6453197 w 8636594"/>
              <a:gd name="connsiteY62" fmla="*/ 2869788 h 6054733"/>
              <a:gd name="connsiteX63" fmla="*/ 6564167 w 8636594"/>
              <a:gd name="connsiteY63" fmla="*/ 2696807 h 6054733"/>
              <a:gd name="connsiteX64" fmla="*/ 6976233 w 8636594"/>
              <a:gd name="connsiteY64" fmla="*/ 2045274 h 6054733"/>
              <a:gd name="connsiteX65" fmla="*/ 7086755 w 8636594"/>
              <a:gd name="connsiteY65" fmla="*/ 1872743 h 6054733"/>
              <a:gd name="connsiteX66" fmla="*/ 7170279 w 8636594"/>
              <a:gd name="connsiteY66" fmla="*/ 1744202 h 6054733"/>
              <a:gd name="connsiteX67" fmla="*/ 7226351 w 8636594"/>
              <a:gd name="connsiteY67" fmla="*/ 1659017 h 6054733"/>
              <a:gd name="connsiteX68" fmla="*/ 7282789 w 8636594"/>
              <a:gd name="connsiteY68" fmla="*/ 1574303 h 6054733"/>
              <a:gd name="connsiteX69" fmla="*/ 7339643 w 8636594"/>
              <a:gd name="connsiteY69" fmla="*/ 1490113 h 6054733"/>
              <a:gd name="connsiteX70" fmla="*/ 7396957 w 8636594"/>
              <a:gd name="connsiteY70" fmla="*/ 1406503 h 6054733"/>
              <a:gd name="connsiteX71" fmla="*/ 7454781 w 8636594"/>
              <a:gd name="connsiteY71" fmla="*/ 1323526 h 6054733"/>
              <a:gd name="connsiteX72" fmla="*/ 7513161 w 8636594"/>
              <a:gd name="connsiteY72" fmla="*/ 1241237 h 6054733"/>
              <a:gd name="connsiteX73" fmla="*/ 7572144 w 8636594"/>
              <a:gd name="connsiteY73" fmla="*/ 1159689 h 6054733"/>
              <a:gd name="connsiteX74" fmla="*/ 7601877 w 8636594"/>
              <a:gd name="connsiteY74" fmla="*/ 1119210 h 6054733"/>
              <a:gd name="connsiteX75" fmla="*/ 7631779 w 8636594"/>
              <a:gd name="connsiteY75" fmla="*/ 1078937 h 6054733"/>
              <a:gd name="connsiteX76" fmla="*/ 7661855 w 8636594"/>
              <a:gd name="connsiteY76" fmla="*/ 1038876 h 6054733"/>
              <a:gd name="connsiteX77" fmla="*/ 7692111 w 8636594"/>
              <a:gd name="connsiteY77" fmla="*/ 999035 h 6054733"/>
              <a:gd name="connsiteX78" fmla="*/ 7722554 w 8636594"/>
              <a:gd name="connsiteY78" fmla="*/ 959419 h 6054733"/>
              <a:gd name="connsiteX79" fmla="*/ 7753190 w 8636594"/>
              <a:gd name="connsiteY79" fmla="*/ 920037 h 6054733"/>
              <a:gd name="connsiteX80" fmla="*/ 7784023 w 8636594"/>
              <a:gd name="connsiteY80" fmla="*/ 880894 h 6054733"/>
              <a:gd name="connsiteX81" fmla="*/ 7815061 w 8636594"/>
              <a:gd name="connsiteY81" fmla="*/ 841997 h 6054733"/>
              <a:gd name="connsiteX82" fmla="*/ 7846308 w 8636594"/>
              <a:gd name="connsiteY82" fmla="*/ 803354 h 6054733"/>
              <a:gd name="connsiteX83" fmla="*/ 7877772 w 8636594"/>
              <a:gd name="connsiteY83" fmla="*/ 764970 h 6054733"/>
              <a:gd name="connsiteX84" fmla="*/ 7909458 w 8636594"/>
              <a:gd name="connsiteY84" fmla="*/ 726853 h 6054733"/>
              <a:gd name="connsiteX85" fmla="*/ 7941371 w 8636594"/>
              <a:gd name="connsiteY85" fmla="*/ 689010 h 6054733"/>
              <a:gd name="connsiteX86" fmla="*/ 7973518 w 8636594"/>
              <a:gd name="connsiteY86" fmla="*/ 651447 h 6054733"/>
              <a:gd name="connsiteX87" fmla="*/ 8005905 w 8636594"/>
              <a:gd name="connsiteY87" fmla="*/ 614171 h 6054733"/>
              <a:gd name="connsiteX88" fmla="*/ 8038538 w 8636594"/>
              <a:gd name="connsiteY88" fmla="*/ 577189 h 6054733"/>
              <a:gd name="connsiteX89" fmla="*/ 8071421 w 8636594"/>
              <a:gd name="connsiteY89" fmla="*/ 540507 h 6054733"/>
              <a:gd name="connsiteX90" fmla="*/ 8104563 w 8636594"/>
              <a:gd name="connsiteY90" fmla="*/ 504132 h 6054733"/>
              <a:gd name="connsiteX91" fmla="*/ 8137967 w 8636594"/>
              <a:gd name="connsiteY91" fmla="*/ 468072 h 6054733"/>
              <a:gd name="connsiteX92" fmla="*/ 8171641 w 8636594"/>
              <a:gd name="connsiteY92" fmla="*/ 432332 h 6054733"/>
              <a:gd name="connsiteX93" fmla="*/ 8205590 w 8636594"/>
              <a:gd name="connsiteY93" fmla="*/ 396920 h 6054733"/>
              <a:gd name="connsiteX94" fmla="*/ 8239820 w 8636594"/>
              <a:gd name="connsiteY94" fmla="*/ 361843 h 6054733"/>
              <a:gd name="connsiteX95" fmla="*/ 8274337 w 8636594"/>
              <a:gd name="connsiteY95" fmla="*/ 327107 h 6054733"/>
              <a:gd name="connsiteX96" fmla="*/ 8309147 w 8636594"/>
              <a:gd name="connsiteY96" fmla="*/ 292718 h 6054733"/>
              <a:gd name="connsiteX97" fmla="*/ 8344256 w 8636594"/>
              <a:gd name="connsiteY97" fmla="*/ 258685 h 6054733"/>
              <a:gd name="connsiteX98" fmla="*/ 8379669 w 8636594"/>
              <a:gd name="connsiteY98" fmla="*/ 225013 h 6054733"/>
              <a:gd name="connsiteX99" fmla="*/ 8415394 w 8636594"/>
              <a:gd name="connsiteY99" fmla="*/ 191709 h 6054733"/>
              <a:gd name="connsiteX100" fmla="*/ 8451434 w 8636594"/>
              <a:gd name="connsiteY100" fmla="*/ 158780 h 6054733"/>
              <a:gd name="connsiteX101" fmla="*/ 8487798 w 8636594"/>
              <a:gd name="connsiteY101" fmla="*/ 126233 h 6054733"/>
              <a:gd name="connsiteX102" fmla="*/ 8524489 w 8636594"/>
              <a:gd name="connsiteY102" fmla="*/ 94075 h 6054733"/>
              <a:gd name="connsiteX103" fmla="*/ 8561515 w 8636594"/>
              <a:gd name="connsiteY103" fmla="*/ 62312 h 6054733"/>
              <a:gd name="connsiteX104" fmla="*/ 8598881 w 8636594"/>
              <a:gd name="connsiteY104" fmla="*/ 30951 h 6054733"/>
              <a:gd name="connsiteX105" fmla="*/ 8636594 w 8636594"/>
              <a:gd name="connsiteY105" fmla="*/ 0 h 6054733"/>
              <a:gd name="connsiteX0" fmla="*/ 8636594 w 8636594"/>
              <a:gd name="connsiteY0" fmla="*/ 0 h 6031671"/>
              <a:gd name="connsiteX1" fmla="*/ 5293 w 8636594"/>
              <a:gd name="connsiteY1" fmla="*/ 0 h 6031671"/>
              <a:gd name="connsiteX2" fmla="*/ 0 w 8636594"/>
              <a:gd name="connsiteY2" fmla="*/ 5587843 h 6031671"/>
              <a:gd name="connsiteX3" fmla="*/ 3802812 w 8636594"/>
              <a:gd name="connsiteY3" fmla="*/ 6031671 h 6031671"/>
              <a:gd name="connsiteX4" fmla="*/ 3842810 w 8636594"/>
              <a:gd name="connsiteY4" fmla="*/ 6008288 h 6031671"/>
              <a:gd name="connsiteX5" fmla="*/ 3882352 w 8636594"/>
              <a:gd name="connsiteY5" fmla="*/ 5984588 h 6031671"/>
              <a:gd name="connsiteX6" fmla="*/ 3921445 w 8636594"/>
              <a:gd name="connsiteY6" fmla="*/ 5960574 h 6031671"/>
              <a:gd name="connsiteX7" fmla="*/ 3960096 w 8636594"/>
              <a:gd name="connsiteY7" fmla="*/ 5936250 h 6031671"/>
              <a:gd name="connsiteX8" fmla="*/ 3998311 w 8636594"/>
              <a:gd name="connsiteY8" fmla="*/ 5911619 h 6031671"/>
              <a:gd name="connsiteX9" fmla="*/ 4036095 w 8636594"/>
              <a:gd name="connsiteY9" fmla="*/ 5886685 h 6031671"/>
              <a:gd name="connsiteX10" fmla="*/ 4073456 w 8636594"/>
              <a:gd name="connsiteY10" fmla="*/ 5861452 h 6031671"/>
              <a:gd name="connsiteX11" fmla="*/ 4110400 w 8636594"/>
              <a:gd name="connsiteY11" fmla="*/ 5835922 h 6031671"/>
              <a:gd name="connsiteX12" fmla="*/ 4146933 w 8636594"/>
              <a:gd name="connsiteY12" fmla="*/ 5810100 h 6031671"/>
              <a:gd name="connsiteX13" fmla="*/ 4183061 w 8636594"/>
              <a:gd name="connsiteY13" fmla="*/ 5783988 h 6031671"/>
              <a:gd name="connsiteX14" fmla="*/ 4218791 w 8636594"/>
              <a:gd name="connsiteY14" fmla="*/ 5757591 h 6031671"/>
              <a:gd name="connsiteX15" fmla="*/ 4254129 w 8636594"/>
              <a:gd name="connsiteY15" fmla="*/ 5730912 h 6031671"/>
              <a:gd name="connsiteX16" fmla="*/ 4289081 w 8636594"/>
              <a:gd name="connsiteY16" fmla="*/ 5703955 h 6031671"/>
              <a:gd name="connsiteX17" fmla="*/ 4323654 w 8636594"/>
              <a:gd name="connsiteY17" fmla="*/ 5676722 h 6031671"/>
              <a:gd name="connsiteX18" fmla="*/ 4357854 w 8636594"/>
              <a:gd name="connsiteY18" fmla="*/ 5649218 h 6031671"/>
              <a:gd name="connsiteX19" fmla="*/ 4391688 w 8636594"/>
              <a:gd name="connsiteY19" fmla="*/ 5621446 h 6031671"/>
              <a:gd name="connsiteX20" fmla="*/ 4425162 w 8636594"/>
              <a:gd name="connsiteY20" fmla="*/ 5593409 h 6031671"/>
              <a:gd name="connsiteX21" fmla="*/ 4458281 w 8636594"/>
              <a:gd name="connsiteY21" fmla="*/ 5565111 h 6031671"/>
              <a:gd name="connsiteX22" fmla="*/ 4491053 w 8636594"/>
              <a:gd name="connsiteY22" fmla="*/ 5536556 h 6031671"/>
              <a:gd name="connsiteX23" fmla="*/ 4523484 w 8636594"/>
              <a:gd name="connsiteY23" fmla="*/ 5507747 h 6031671"/>
              <a:gd name="connsiteX24" fmla="*/ 4555580 w 8636594"/>
              <a:gd name="connsiteY24" fmla="*/ 5478687 h 6031671"/>
              <a:gd name="connsiteX25" fmla="*/ 4587347 w 8636594"/>
              <a:gd name="connsiteY25" fmla="*/ 5449380 h 6031671"/>
              <a:gd name="connsiteX26" fmla="*/ 4618793 w 8636594"/>
              <a:gd name="connsiteY26" fmla="*/ 5419830 h 6031671"/>
              <a:gd name="connsiteX27" fmla="*/ 4649922 w 8636594"/>
              <a:gd name="connsiteY27" fmla="*/ 5390040 h 6031671"/>
              <a:gd name="connsiteX28" fmla="*/ 4680742 w 8636594"/>
              <a:gd name="connsiteY28" fmla="*/ 5360014 h 6031671"/>
              <a:gd name="connsiteX29" fmla="*/ 4711259 w 8636594"/>
              <a:gd name="connsiteY29" fmla="*/ 5329755 h 6031671"/>
              <a:gd name="connsiteX30" fmla="*/ 4741478 w 8636594"/>
              <a:gd name="connsiteY30" fmla="*/ 5299266 h 6031671"/>
              <a:gd name="connsiteX31" fmla="*/ 4771408 w 8636594"/>
              <a:gd name="connsiteY31" fmla="*/ 5268551 h 6031671"/>
              <a:gd name="connsiteX32" fmla="*/ 4801053 w 8636594"/>
              <a:gd name="connsiteY32" fmla="*/ 5237614 h 6031671"/>
              <a:gd name="connsiteX33" fmla="*/ 4830420 w 8636594"/>
              <a:gd name="connsiteY33" fmla="*/ 5206458 h 6031671"/>
              <a:gd name="connsiteX34" fmla="*/ 4859516 w 8636594"/>
              <a:gd name="connsiteY34" fmla="*/ 5175087 h 6031671"/>
              <a:gd name="connsiteX35" fmla="*/ 4888347 w 8636594"/>
              <a:gd name="connsiteY35" fmla="*/ 5143504 h 6031671"/>
              <a:gd name="connsiteX36" fmla="*/ 4916919 w 8636594"/>
              <a:gd name="connsiteY36" fmla="*/ 5111713 h 6031671"/>
              <a:gd name="connsiteX37" fmla="*/ 4945238 w 8636594"/>
              <a:gd name="connsiteY37" fmla="*/ 5079717 h 6031671"/>
              <a:gd name="connsiteX38" fmla="*/ 4973311 w 8636594"/>
              <a:gd name="connsiteY38" fmla="*/ 5047519 h 6031671"/>
              <a:gd name="connsiteX39" fmla="*/ 5001145 w 8636594"/>
              <a:gd name="connsiteY39" fmla="*/ 5015124 h 6031671"/>
              <a:gd name="connsiteX40" fmla="*/ 5028745 w 8636594"/>
              <a:gd name="connsiteY40" fmla="*/ 4982535 h 6031671"/>
              <a:gd name="connsiteX41" fmla="*/ 5056117 w 8636594"/>
              <a:gd name="connsiteY41" fmla="*/ 4949755 h 6031671"/>
              <a:gd name="connsiteX42" fmla="*/ 5083269 w 8636594"/>
              <a:gd name="connsiteY42" fmla="*/ 4916787 h 6031671"/>
              <a:gd name="connsiteX43" fmla="*/ 5110207 w 8636594"/>
              <a:gd name="connsiteY43" fmla="*/ 4883636 h 6031671"/>
              <a:gd name="connsiteX44" fmla="*/ 5136937 w 8636594"/>
              <a:gd name="connsiteY44" fmla="*/ 4850305 h 6031671"/>
              <a:gd name="connsiteX45" fmla="*/ 5163464 w 8636594"/>
              <a:gd name="connsiteY45" fmla="*/ 4816797 h 6031671"/>
              <a:gd name="connsiteX46" fmla="*/ 5215940 w 8636594"/>
              <a:gd name="connsiteY46" fmla="*/ 4749265 h 6031671"/>
              <a:gd name="connsiteX47" fmla="*/ 5267684 w 8636594"/>
              <a:gd name="connsiteY47" fmla="*/ 4681068 h 6031671"/>
              <a:gd name="connsiteX48" fmla="*/ 5318748 w 8636594"/>
              <a:gd name="connsiteY48" fmla="*/ 4612234 h 6031671"/>
              <a:gd name="connsiteX49" fmla="*/ 5369182 w 8636594"/>
              <a:gd name="connsiteY49" fmla="*/ 4542793 h 6031671"/>
              <a:gd name="connsiteX50" fmla="*/ 5419038 w 8636594"/>
              <a:gd name="connsiteY50" fmla="*/ 4472771 h 6031671"/>
              <a:gd name="connsiteX51" fmla="*/ 5468365 w 8636594"/>
              <a:gd name="connsiteY51" fmla="*/ 4402196 h 6031671"/>
              <a:gd name="connsiteX52" fmla="*/ 5517215 w 8636594"/>
              <a:gd name="connsiteY52" fmla="*/ 4331098 h 6031671"/>
              <a:gd name="connsiteX53" fmla="*/ 5565637 w 8636594"/>
              <a:gd name="connsiteY53" fmla="*/ 4259503 h 6031671"/>
              <a:gd name="connsiteX54" fmla="*/ 5613684 w 8636594"/>
              <a:gd name="connsiteY54" fmla="*/ 4187441 h 6031671"/>
              <a:gd name="connsiteX55" fmla="*/ 5685160 w 8636594"/>
              <a:gd name="connsiteY55" fmla="*/ 4078531 h 6031671"/>
              <a:gd name="connsiteX56" fmla="*/ 5756074 w 8636594"/>
              <a:gd name="connsiteY56" fmla="*/ 3968727 h 6031671"/>
              <a:gd name="connsiteX57" fmla="*/ 5873483 w 8636594"/>
              <a:gd name="connsiteY57" fmla="*/ 3783989 h 6031671"/>
              <a:gd name="connsiteX58" fmla="*/ 6203209 w 8636594"/>
              <a:gd name="connsiteY58" fmla="*/ 3258640 h 6031671"/>
              <a:gd name="connsiteX59" fmla="*/ 6299430 w 8636594"/>
              <a:gd name="connsiteY59" fmla="*/ 3107321 h 6031671"/>
              <a:gd name="connsiteX60" fmla="*/ 6372650 w 8636594"/>
              <a:gd name="connsiteY60" fmla="*/ 2993735 h 6031671"/>
              <a:gd name="connsiteX61" fmla="*/ 6453197 w 8636594"/>
              <a:gd name="connsiteY61" fmla="*/ 2869788 h 6031671"/>
              <a:gd name="connsiteX62" fmla="*/ 6564167 w 8636594"/>
              <a:gd name="connsiteY62" fmla="*/ 2696807 h 6031671"/>
              <a:gd name="connsiteX63" fmla="*/ 6976233 w 8636594"/>
              <a:gd name="connsiteY63" fmla="*/ 2045274 h 6031671"/>
              <a:gd name="connsiteX64" fmla="*/ 7086755 w 8636594"/>
              <a:gd name="connsiteY64" fmla="*/ 1872743 h 6031671"/>
              <a:gd name="connsiteX65" fmla="*/ 7170279 w 8636594"/>
              <a:gd name="connsiteY65" fmla="*/ 1744202 h 6031671"/>
              <a:gd name="connsiteX66" fmla="*/ 7226351 w 8636594"/>
              <a:gd name="connsiteY66" fmla="*/ 1659017 h 6031671"/>
              <a:gd name="connsiteX67" fmla="*/ 7282789 w 8636594"/>
              <a:gd name="connsiteY67" fmla="*/ 1574303 h 6031671"/>
              <a:gd name="connsiteX68" fmla="*/ 7339643 w 8636594"/>
              <a:gd name="connsiteY68" fmla="*/ 1490113 h 6031671"/>
              <a:gd name="connsiteX69" fmla="*/ 7396957 w 8636594"/>
              <a:gd name="connsiteY69" fmla="*/ 1406503 h 6031671"/>
              <a:gd name="connsiteX70" fmla="*/ 7454781 w 8636594"/>
              <a:gd name="connsiteY70" fmla="*/ 1323526 h 6031671"/>
              <a:gd name="connsiteX71" fmla="*/ 7513161 w 8636594"/>
              <a:gd name="connsiteY71" fmla="*/ 1241237 h 6031671"/>
              <a:gd name="connsiteX72" fmla="*/ 7572144 w 8636594"/>
              <a:gd name="connsiteY72" fmla="*/ 1159689 h 6031671"/>
              <a:gd name="connsiteX73" fmla="*/ 7601877 w 8636594"/>
              <a:gd name="connsiteY73" fmla="*/ 1119210 h 6031671"/>
              <a:gd name="connsiteX74" fmla="*/ 7631779 w 8636594"/>
              <a:gd name="connsiteY74" fmla="*/ 1078937 h 6031671"/>
              <a:gd name="connsiteX75" fmla="*/ 7661855 w 8636594"/>
              <a:gd name="connsiteY75" fmla="*/ 1038876 h 6031671"/>
              <a:gd name="connsiteX76" fmla="*/ 7692111 w 8636594"/>
              <a:gd name="connsiteY76" fmla="*/ 999035 h 6031671"/>
              <a:gd name="connsiteX77" fmla="*/ 7722554 w 8636594"/>
              <a:gd name="connsiteY77" fmla="*/ 959419 h 6031671"/>
              <a:gd name="connsiteX78" fmla="*/ 7753190 w 8636594"/>
              <a:gd name="connsiteY78" fmla="*/ 920037 h 6031671"/>
              <a:gd name="connsiteX79" fmla="*/ 7784023 w 8636594"/>
              <a:gd name="connsiteY79" fmla="*/ 880894 h 6031671"/>
              <a:gd name="connsiteX80" fmla="*/ 7815061 w 8636594"/>
              <a:gd name="connsiteY80" fmla="*/ 841997 h 6031671"/>
              <a:gd name="connsiteX81" fmla="*/ 7846308 w 8636594"/>
              <a:gd name="connsiteY81" fmla="*/ 803354 h 6031671"/>
              <a:gd name="connsiteX82" fmla="*/ 7877772 w 8636594"/>
              <a:gd name="connsiteY82" fmla="*/ 764970 h 6031671"/>
              <a:gd name="connsiteX83" fmla="*/ 7909458 w 8636594"/>
              <a:gd name="connsiteY83" fmla="*/ 726853 h 6031671"/>
              <a:gd name="connsiteX84" fmla="*/ 7941371 w 8636594"/>
              <a:gd name="connsiteY84" fmla="*/ 689010 h 6031671"/>
              <a:gd name="connsiteX85" fmla="*/ 7973518 w 8636594"/>
              <a:gd name="connsiteY85" fmla="*/ 651447 h 6031671"/>
              <a:gd name="connsiteX86" fmla="*/ 8005905 w 8636594"/>
              <a:gd name="connsiteY86" fmla="*/ 614171 h 6031671"/>
              <a:gd name="connsiteX87" fmla="*/ 8038538 w 8636594"/>
              <a:gd name="connsiteY87" fmla="*/ 577189 h 6031671"/>
              <a:gd name="connsiteX88" fmla="*/ 8071421 w 8636594"/>
              <a:gd name="connsiteY88" fmla="*/ 540507 h 6031671"/>
              <a:gd name="connsiteX89" fmla="*/ 8104563 w 8636594"/>
              <a:gd name="connsiteY89" fmla="*/ 504132 h 6031671"/>
              <a:gd name="connsiteX90" fmla="*/ 8137967 w 8636594"/>
              <a:gd name="connsiteY90" fmla="*/ 468072 h 6031671"/>
              <a:gd name="connsiteX91" fmla="*/ 8171641 w 8636594"/>
              <a:gd name="connsiteY91" fmla="*/ 432332 h 6031671"/>
              <a:gd name="connsiteX92" fmla="*/ 8205590 w 8636594"/>
              <a:gd name="connsiteY92" fmla="*/ 396920 h 6031671"/>
              <a:gd name="connsiteX93" fmla="*/ 8239820 w 8636594"/>
              <a:gd name="connsiteY93" fmla="*/ 361843 h 6031671"/>
              <a:gd name="connsiteX94" fmla="*/ 8274337 w 8636594"/>
              <a:gd name="connsiteY94" fmla="*/ 327107 h 6031671"/>
              <a:gd name="connsiteX95" fmla="*/ 8309147 w 8636594"/>
              <a:gd name="connsiteY95" fmla="*/ 292718 h 6031671"/>
              <a:gd name="connsiteX96" fmla="*/ 8344256 w 8636594"/>
              <a:gd name="connsiteY96" fmla="*/ 258685 h 6031671"/>
              <a:gd name="connsiteX97" fmla="*/ 8379669 w 8636594"/>
              <a:gd name="connsiteY97" fmla="*/ 225013 h 6031671"/>
              <a:gd name="connsiteX98" fmla="*/ 8415394 w 8636594"/>
              <a:gd name="connsiteY98" fmla="*/ 191709 h 6031671"/>
              <a:gd name="connsiteX99" fmla="*/ 8451434 w 8636594"/>
              <a:gd name="connsiteY99" fmla="*/ 158780 h 6031671"/>
              <a:gd name="connsiteX100" fmla="*/ 8487798 w 8636594"/>
              <a:gd name="connsiteY100" fmla="*/ 126233 h 6031671"/>
              <a:gd name="connsiteX101" fmla="*/ 8524489 w 8636594"/>
              <a:gd name="connsiteY101" fmla="*/ 94075 h 6031671"/>
              <a:gd name="connsiteX102" fmla="*/ 8561515 w 8636594"/>
              <a:gd name="connsiteY102" fmla="*/ 62312 h 6031671"/>
              <a:gd name="connsiteX103" fmla="*/ 8598881 w 8636594"/>
              <a:gd name="connsiteY103" fmla="*/ 30951 h 6031671"/>
              <a:gd name="connsiteX104" fmla="*/ 8636594 w 8636594"/>
              <a:gd name="connsiteY104" fmla="*/ 0 h 6031671"/>
              <a:gd name="connsiteX0" fmla="*/ 8636594 w 8636594"/>
              <a:gd name="connsiteY0" fmla="*/ 0 h 6008288"/>
              <a:gd name="connsiteX1" fmla="*/ 5293 w 8636594"/>
              <a:gd name="connsiteY1" fmla="*/ 0 h 6008288"/>
              <a:gd name="connsiteX2" fmla="*/ 0 w 8636594"/>
              <a:gd name="connsiteY2" fmla="*/ 5587843 h 6008288"/>
              <a:gd name="connsiteX3" fmla="*/ 3842810 w 8636594"/>
              <a:gd name="connsiteY3" fmla="*/ 6008288 h 6008288"/>
              <a:gd name="connsiteX4" fmla="*/ 3882352 w 8636594"/>
              <a:gd name="connsiteY4" fmla="*/ 5984588 h 6008288"/>
              <a:gd name="connsiteX5" fmla="*/ 3921445 w 8636594"/>
              <a:gd name="connsiteY5" fmla="*/ 5960574 h 6008288"/>
              <a:gd name="connsiteX6" fmla="*/ 3960096 w 8636594"/>
              <a:gd name="connsiteY6" fmla="*/ 5936250 h 6008288"/>
              <a:gd name="connsiteX7" fmla="*/ 3998311 w 8636594"/>
              <a:gd name="connsiteY7" fmla="*/ 5911619 h 6008288"/>
              <a:gd name="connsiteX8" fmla="*/ 4036095 w 8636594"/>
              <a:gd name="connsiteY8" fmla="*/ 5886685 h 6008288"/>
              <a:gd name="connsiteX9" fmla="*/ 4073456 w 8636594"/>
              <a:gd name="connsiteY9" fmla="*/ 5861452 h 6008288"/>
              <a:gd name="connsiteX10" fmla="*/ 4110400 w 8636594"/>
              <a:gd name="connsiteY10" fmla="*/ 5835922 h 6008288"/>
              <a:gd name="connsiteX11" fmla="*/ 4146933 w 8636594"/>
              <a:gd name="connsiteY11" fmla="*/ 5810100 h 6008288"/>
              <a:gd name="connsiteX12" fmla="*/ 4183061 w 8636594"/>
              <a:gd name="connsiteY12" fmla="*/ 5783988 h 6008288"/>
              <a:gd name="connsiteX13" fmla="*/ 4218791 w 8636594"/>
              <a:gd name="connsiteY13" fmla="*/ 5757591 h 6008288"/>
              <a:gd name="connsiteX14" fmla="*/ 4254129 w 8636594"/>
              <a:gd name="connsiteY14" fmla="*/ 5730912 h 6008288"/>
              <a:gd name="connsiteX15" fmla="*/ 4289081 w 8636594"/>
              <a:gd name="connsiteY15" fmla="*/ 5703955 h 6008288"/>
              <a:gd name="connsiteX16" fmla="*/ 4323654 w 8636594"/>
              <a:gd name="connsiteY16" fmla="*/ 5676722 h 6008288"/>
              <a:gd name="connsiteX17" fmla="*/ 4357854 w 8636594"/>
              <a:gd name="connsiteY17" fmla="*/ 5649218 h 6008288"/>
              <a:gd name="connsiteX18" fmla="*/ 4391688 w 8636594"/>
              <a:gd name="connsiteY18" fmla="*/ 5621446 h 6008288"/>
              <a:gd name="connsiteX19" fmla="*/ 4425162 w 8636594"/>
              <a:gd name="connsiteY19" fmla="*/ 5593409 h 6008288"/>
              <a:gd name="connsiteX20" fmla="*/ 4458281 w 8636594"/>
              <a:gd name="connsiteY20" fmla="*/ 5565111 h 6008288"/>
              <a:gd name="connsiteX21" fmla="*/ 4491053 w 8636594"/>
              <a:gd name="connsiteY21" fmla="*/ 5536556 h 6008288"/>
              <a:gd name="connsiteX22" fmla="*/ 4523484 w 8636594"/>
              <a:gd name="connsiteY22" fmla="*/ 5507747 h 6008288"/>
              <a:gd name="connsiteX23" fmla="*/ 4555580 w 8636594"/>
              <a:gd name="connsiteY23" fmla="*/ 5478687 h 6008288"/>
              <a:gd name="connsiteX24" fmla="*/ 4587347 w 8636594"/>
              <a:gd name="connsiteY24" fmla="*/ 5449380 h 6008288"/>
              <a:gd name="connsiteX25" fmla="*/ 4618793 w 8636594"/>
              <a:gd name="connsiteY25" fmla="*/ 5419830 h 6008288"/>
              <a:gd name="connsiteX26" fmla="*/ 4649922 w 8636594"/>
              <a:gd name="connsiteY26" fmla="*/ 5390040 h 6008288"/>
              <a:gd name="connsiteX27" fmla="*/ 4680742 w 8636594"/>
              <a:gd name="connsiteY27" fmla="*/ 5360014 h 6008288"/>
              <a:gd name="connsiteX28" fmla="*/ 4711259 w 8636594"/>
              <a:gd name="connsiteY28" fmla="*/ 5329755 h 6008288"/>
              <a:gd name="connsiteX29" fmla="*/ 4741478 w 8636594"/>
              <a:gd name="connsiteY29" fmla="*/ 5299266 h 6008288"/>
              <a:gd name="connsiteX30" fmla="*/ 4771408 w 8636594"/>
              <a:gd name="connsiteY30" fmla="*/ 5268551 h 6008288"/>
              <a:gd name="connsiteX31" fmla="*/ 4801053 w 8636594"/>
              <a:gd name="connsiteY31" fmla="*/ 5237614 h 6008288"/>
              <a:gd name="connsiteX32" fmla="*/ 4830420 w 8636594"/>
              <a:gd name="connsiteY32" fmla="*/ 5206458 h 6008288"/>
              <a:gd name="connsiteX33" fmla="*/ 4859516 w 8636594"/>
              <a:gd name="connsiteY33" fmla="*/ 5175087 h 6008288"/>
              <a:gd name="connsiteX34" fmla="*/ 4888347 w 8636594"/>
              <a:gd name="connsiteY34" fmla="*/ 5143504 h 6008288"/>
              <a:gd name="connsiteX35" fmla="*/ 4916919 w 8636594"/>
              <a:gd name="connsiteY35" fmla="*/ 5111713 h 6008288"/>
              <a:gd name="connsiteX36" fmla="*/ 4945238 w 8636594"/>
              <a:gd name="connsiteY36" fmla="*/ 5079717 h 6008288"/>
              <a:gd name="connsiteX37" fmla="*/ 4973311 w 8636594"/>
              <a:gd name="connsiteY37" fmla="*/ 5047519 h 6008288"/>
              <a:gd name="connsiteX38" fmla="*/ 5001145 w 8636594"/>
              <a:gd name="connsiteY38" fmla="*/ 5015124 h 6008288"/>
              <a:gd name="connsiteX39" fmla="*/ 5028745 w 8636594"/>
              <a:gd name="connsiteY39" fmla="*/ 4982535 h 6008288"/>
              <a:gd name="connsiteX40" fmla="*/ 5056117 w 8636594"/>
              <a:gd name="connsiteY40" fmla="*/ 4949755 h 6008288"/>
              <a:gd name="connsiteX41" fmla="*/ 5083269 w 8636594"/>
              <a:gd name="connsiteY41" fmla="*/ 4916787 h 6008288"/>
              <a:gd name="connsiteX42" fmla="*/ 5110207 w 8636594"/>
              <a:gd name="connsiteY42" fmla="*/ 4883636 h 6008288"/>
              <a:gd name="connsiteX43" fmla="*/ 5136937 w 8636594"/>
              <a:gd name="connsiteY43" fmla="*/ 4850305 h 6008288"/>
              <a:gd name="connsiteX44" fmla="*/ 5163464 w 8636594"/>
              <a:gd name="connsiteY44" fmla="*/ 4816797 h 6008288"/>
              <a:gd name="connsiteX45" fmla="*/ 5215940 w 8636594"/>
              <a:gd name="connsiteY45" fmla="*/ 4749265 h 6008288"/>
              <a:gd name="connsiteX46" fmla="*/ 5267684 w 8636594"/>
              <a:gd name="connsiteY46" fmla="*/ 4681068 h 6008288"/>
              <a:gd name="connsiteX47" fmla="*/ 5318748 w 8636594"/>
              <a:gd name="connsiteY47" fmla="*/ 4612234 h 6008288"/>
              <a:gd name="connsiteX48" fmla="*/ 5369182 w 8636594"/>
              <a:gd name="connsiteY48" fmla="*/ 4542793 h 6008288"/>
              <a:gd name="connsiteX49" fmla="*/ 5419038 w 8636594"/>
              <a:gd name="connsiteY49" fmla="*/ 4472771 h 6008288"/>
              <a:gd name="connsiteX50" fmla="*/ 5468365 w 8636594"/>
              <a:gd name="connsiteY50" fmla="*/ 4402196 h 6008288"/>
              <a:gd name="connsiteX51" fmla="*/ 5517215 w 8636594"/>
              <a:gd name="connsiteY51" fmla="*/ 4331098 h 6008288"/>
              <a:gd name="connsiteX52" fmla="*/ 5565637 w 8636594"/>
              <a:gd name="connsiteY52" fmla="*/ 4259503 h 6008288"/>
              <a:gd name="connsiteX53" fmla="*/ 5613684 w 8636594"/>
              <a:gd name="connsiteY53" fmla="*/ 4187441 h 6008288"/>
              <a:gd name="connsiteX54" fmla="*/ 5685160 w 8636594"/>
              <a:gd name="connsiteY54" fmla="*/ 4078531 h 6008288"/>
              <a:gd name="connsiteX55" fmla="*/ 5756074 w 8636594"/>
              <a:gd name="connsiteY55" fmla="*/ 3968727 h 6008288"/>
              <a:gd name="connsiteX56" fmla="*/ 5873483 w 8636594"/>
              <a:gd name="connsiteY56" fmla="*/ 3783989 h 6008288"/>
              <a:gd name="connsiteX57" fmla="*/ 6203209 w 8636594"/>
              <a:gd name="connsiteY57" fmla="*/ 3258640 h 6008288"/>
              <a:gd name="connsiteX58" fmla="*/ 6299430 w 8636594"/>
              <a:gd name="connsiteY58" fmla="*/ 3107321 h 6008288"/>
              <a:gd name="connsiteX59" fmla="*/ 6372650 w 8636594"/>
              <a:gd name="connsiteY59" fmla="*/ 2993735 h 6008288"/>
              <a:gd name="connsiteX60" fmla="*/ 6453197 w 8636594"/>
              <a:gd name="connsiteY60" fmla="*/ 2869788 h 6008288"/>
              <a:gd name="connsiteX61" fmla="*/ 6564167 w 8636594"/>
              <a:gd name="connsiteY61" fmla="*/ 2696807 h 6008288"/>
              <a:gd name="connsiteX62" fmla="*/ 6976233 w 8636594"/>
              <a:gd name="connsiteY62" fmla="*/ 2045274 h 6008288"/>
              <a:gd name="connsiteX63" fmla="*/ 7086755 w 8636594"/>
              <a:gd name="connsiteY63" fmla="*/ 1872743 h 6008288"/>
              <a:gd name="connsiteX64" fmla="*/ 7170279 w 8636594"/>
              <a:gd name="connsiteY64" fmla="*/ 1744202 h 6008288"/>
              <a:gd name="connsiteX65" fmla="*/ 7226351 w 8636594"/>
              <a:gd name="connsiteY65" fmla="*/ 1659017 h 6008288"/>
              <a:gd name="connsiteX66" fmla="*/ 7282789 w 8636594"/>
              <a:gd name="connsiteY66" fmla="*/ 1574303 h 6008288"/>
              <a:gd name="connsiteX67" fmla="*/ 7339643 w 8636594"/>
              <a:gd name="connsiteY67" fmla="*/ 1490113 h 6008288"/>
              <a:gd name="connsiteX68" fmla="*/ 7396957 w 8636594"/>
              <a:gd name="connsiteY68" fmla="*/ 1406503 h 6008288"/>
              <a:gd name="connsiteX69" fmla="*/ 7454781 w 8636594"/>
              <a:gd name="connsiteY69" fmla="*/ 1323526 h 6008288"/>
              <a:gd name="connsiteX70" fmla="*/ 7513161 w 8636594"/>
              <a:gd name="connsiteY70" fmla="*/ 1241237 h 6008288"/>
              <a:gd name="connsiteX71" fmla="*/ 7572144 w 8636594"/>
              <a:gd name="connsiteY71" fmla="*/ 1159689 h 6008288"/>
              <a:gd name="connsiteX72" fmla="*/ 7601877 w 8636594"/>
              <a:gd name="connsiteY72" fmla="*/ 1119210 h 6008288"/>
              <a:gd name="connsiteX73" fmla="*/ 7631779 w 8636594"/>
              <a:gd name="connsiteY73" fmla="*/ 1078937 h 6008288"/>
              <a:gd name="connsiteX74" fmla="*/ 7661855 w 8636594"/>
              <a:gd name="connsiteY74" fmla="*/ 1038876 h 6008288"/>
              <a:gd name="connsiteX75" fmla="*/ 7692111 w 8636594"/>
              <a:gd name="connsiteY75" fmla="*/ 999035 h 6008288"/>
              <a:gd name="connsiteX76" fmla="*/ 7722554 w 8636594"/>
              <a:gd name="connsiteY76" fmla="*/ 959419 h 6008288"/>
              <a:gd name="connsiteX77" fmla="*/ 7753190 w 8636594"/>
              <a:gd name="connsiteY77" fmla="*/ 920037 h 6008288"/>
              <a:gd name="connsiteX78" fmla="*/ 7784023 w 8636594"/>
              <a:gd name="connsiteY78" fmla="*/ 880894 h 6008288"/>
              <a:gd name="connsiteX79" fmla="*/ 7815061 w 8636594"/>
              <a:gd name="connsiteY79" fmla="*/ 841997 h 6008288"/>
              <a:gd name="connsiteX80" fmla="*/ 7846308 w 8636594"/>
              <a:gd name="connsiteY80" fmla="*/ 803354 h 6008288"/>
              <a:gd name="connsiteX81" fmla="*/ 7877772 w 8636594"/>
              <a:gd name="connsiteY81" fmla="*/ 764970 h 6008288"/>
              <a:gd name="connsiteX82" fmla="*/ 7909458 w 8636594"/>
              <a:gd name="connsiteY82" fmla="*/ 726853 h 6008288"/>
              <a:gd name="connsiteX83" fmla="*/ 7941371 w 8636594"/>
              <a:gd name="connsiteY83" fmla="*/ 689010 h 6008288"/>
              <a:gd name="connsiteX84" fmla="*/ 7973518 w 8636594"/>
              <a:gd name="connsiteY84" fmla="*/ 651447 h 6008288"/>
              <a:gd name="connsiteX85" fmla="*/ 8005905 w 8636594"/>
              <a:gd name="connsiteY85" fmla="*/ 614171 h 6008288"/>
              <a:gd name="connsiteX86" fmla="*/ 8038538 w 8636594"/>
              <a:gd name="connsiteY86" fmla="*/ 577189 h 6008288"/>
              <a:gd name="connsiteX87" fmla="*/ 8071421 w 8636594"/>
              <a:gd name="connsiteY87" fmla="*/ 540507 h 6008288"/>
              <a:gd name="connsiteX88" fmla="*/ 8104563 w 8636594"/>
              <a:gd name="connsiteY88" fmla="*/ 504132 h 6008288"/>
              <a:gd name="connsiteX89" fmla="*/ 8137967 w 8636594"/>
              <a:gd name="connsiteY89" fmla="*/ 468072 h 6008288"/>
              <a:gd name="connsiteX90" fmla="*/ 8171641 w 8636594"/>
              <a:gd name="connsiteY90" fmla="*/ 432332 h 6008288"/>
              <a:gd name="connsiteX91" fmla="*/ 8205590 w 8636594"/>
              <a:gd name="connsiteY91" fmla="*/ 396920 h 6008288"/>
              <a:gd name="connsiteX92" fmla="*/ 8239820 w 8636594"/>
              <a:gd name="connsiteY92" fmla="*/ 361843 h 6008288"/>
              <a:gd name="connsiteX93" fmla="*/ 8274337 w 8636594"/>
              <a:gd name="connsiteY93" fmla="*/ 327107 h 6008288"/>
              <a:gd name="connsiteX94" fmla="*/ 8309147 w 8636594"/>
              <a:gd name="connsiteY94" fmla="*/ 292718 h 6008288"/>
              <a:gd name="connsiteX95" fmla="*/ 8344256 w 8636594"/>
              <a:gd name="connsiteY95" fmla="*/ 258685 h 6008288"/>
              <a:gd name="connsiteX96" fmla="*/ 8379669 w 8636594"/>
              <a:gd name="connsiteY96" fmla="*/ 225013 h 6008288"/>
              <a:gd name="connsiteX97" fmla="*/ 8415394 w 8636594"/>
              <a:gd name="connsiteY97" fmla="*/ 191709 h 6008288"/>
              <a:gd name="connsiteX98" fmla="*/ 8451434 w 8636594"/>
              <a:gd name="connsiteY98" fmla="*/ 158780 h 6008288"/>
              <a:gd name="connsiteX99" fmla="*/ 8487798 w 8636594"/>
              <a:gd name="connsiteY99" fmla="*/ 126233 h 6008288"/>
              <a:gd name="connsiteX100" fmla="*/ 8524489 w 8636594"/>
              <a:gd name="connsiteY100" fmla="*/ 94075 h 6008288"/>
              <a:gd name="connsiteX101" fmla="*/ 8561515 w 8636594"/>
              <a:gd name="connsiteY101" fmla="*/ 62312 h 6008288"/>
              <a:gd name="connsiteX102" fmla="*/ 8598881 w 8636594"/>
              <a:gd name="connsiteY102" fmla="*/ 30951 h 6008288"/>
              <a:gd name="connsiteX103" fmla="*/ 8636594 w 8636594"/>
              <a:gd name="connsiteY103" fmla="*/ 0 h 6008288"/>
              <a:gd name="connsiteX0" fmla="*/ 8636594 w 8636594"/>
              <a:gd name="connsiteY0" fmla="*/ 0 h 5984588"/>
              <a:gd name="connsiteX1" fmla="*/ 5293 w 8636594"/>
              <a:gd name="connsiteY1" fmla="*/ 0 h 5984588"/>
              <a:gd name="connsiteX2" fmla="*/ 0 w 8636594"/>
              <a:gd name="connsiteY2" fmla="*/ 5587843 h 5984588"/>
              <a:gd name="connsiteX3" fmla="*/ 3882352 w 8636594"/>
              <a:gd name="connsiteY3" fmla="*/ 5984588 h 5984588"/>
              <a:gd name="connsiteX4" fmla="*/ 3921445 w 8636594"/>
              <a:gd name="connsiteY4" fmla="*/ 5960574 h 5984588"/>
              <a:gd name="connsiteX5" fmla="*/ 3960096 w 8636594"/>
              <a:gd name="connsiteY5" fmla="*/ 5936250 h 5984588"/>
              <a:gd name="connsiteX6" fmla="*/ 3998311 w 8636594"/>
              <a:gd name="connsiteY6" fmla="*/ 5911619 h 5984588"/>
              <a:gd name="connsiteX7" fmla="*/ 4036095 w 8636594"/>
              <a:gd name="connsiteY7" fmla="*/ 5886685 h 5984588"/>
              <a:gd name="connsiteX8" fmla="*/ 4073456 w 8636594"/>
              <a:gd name="connsiteY8" fmla="*/ 5861452 h 5984588"/>
              <a:gd name="connsiteX9" fmla="*/ 4110400 w 8636594"/>
              <a:gd name="connsiteY9" fmla="*/ 5835922 h 5984588"/>
              <a:gd name="connsiteX10" fmla="*/ 4146933 w 8636594"/>
              <a:gd name="connsiteY10" fmla="*/ 5810100 h 5984588"/>
              <a:gd name="connsiteX11" fmla="*/ 4183061 w 8636594"/>
              <a:gd name="connsiteY11" fmla="*/ 5783988 h 5984588"/>
              <a:gd name="connsiteX12" fmla="*/ 4218791 w 8636594"/>
              <a:gd name="connsiteY12" fmla="*/ 5757591 h 5984588"/>
              <a:gd name="connsiteX13" fmla="*/ 4254129 w 8636594"/>
              <a:gd name="connsiteY13" fmla="*/ 5730912 h 5984588"/>
              <a:gd name="connsiteX14" fmla="*/ 4289081 w 8636594"/>
              <a:gd name="connsiteY14" fmla="*/ 5703955 h 5984588"/>
              <a:gd name="connsiteX15" fmla="*/ 4323654 w 8636594"/>
              <a:gd name="connsiteY15" fmla="*/ 5676722 h 5984588"/>
              <a:gd name="connsiteX16" fmla="*/ 4357854 w 8636594"/>
              <a:gd name="connsiteY16" fmla="*/ 5649218 h 5984588"/>
              <a:gd name="connsiteX17" fmla="*/ 4391688 w 8636594"/>
              <a:gd name="connsiteY17" fmla="*/ 5621446 h 5984588"/>
              <a:gd name="connsiteX18" fmla="*/ 4425162 w 8636594"/>
              <a:gd name="connsiteY18" fmla="*/ 5593409 h 5984588"/>
              <a:gd name="connsiteX19" fmla="*/ 4458281 w 8636594"/>
              <a:gd name="connsiteY19" fmla="*/ 5565111 h 5984588"/>
              <a:gd name="connsiteX20" fmla="*/ 4491053 w 8636594"/>
              <a:gd name="connsiteY20" fmla="*/ 5536556 h 5984588"/>
              <a:gd name="connsiteX21" fmla="*/ 4523484 w 8636594"/>
              <a:gd name="connsiteY21" fmla="*/ 5507747 h 5984588"/>
              <a:gd name="connsiteX22" fmla="*/ 4555580 w 8636594"/>
              <a:gd name="connsiteY22" fmla="*/ 5478687 h 5984588"/>
              <a:gd name="connsiteX23" fmla="*/ 4587347 w 8636594"/>
              <a:gd name="connsiteY23" fmla="*/ 5449380 h 5984588"/>
              <a:gd name="connsiteX24" fmla="*/ 4618793 w 8636594"/>
              <a:gd name="connsiteY24" fmla="*/ 5419830 h 5984588"/>
              <a:gd name="connsiteX25" fmla="*/ 4649922 w 8636594"/>
              <a:gd name="connsiteY25" fmla="*/ 5390040 h 5984588"/>
              <a:gd name="connsiteX26" fmla="*/ 4680742 w 8636594"/>
              <a:gd name="connsiteY26" fmla="*/ 5360014 h 5984588"/>
              <a:gd name="connsiteX27" fmla="*/ 4711259 w 8636594"/>
              <a:gd name="connsiteY27" fmla="*/ 5329755 h 5984588"/>
              <a:gd name="connsiteX28" fmla="*/ 4741478 w 8636594"/>
              <a:gd name="connsiteY28" fmla="*/ 5299266 h 5984588"/>
              <a:gd name="connsiteX29" fmla="*/ 4771408 w 8636594"/>
              <a:gd name="connsiteY29" fmla="*/ 5268551 h 5984588"/>
              <a:gd name="connsiteX30" fmla="*/ 4801053 w 8636594"/>
              <a:gd name="connsiteY30" fmla="*/ 5237614 h 5984588"/>
              <a:gd name="connsiteX31" fmla="*/ 4830420 w 8636594"/>
              <a:gd name="connsiteY31" fmla="*/ 5206458 h 5984588"/>
              <a:gd name="connsiteX32" fmla="*/ 4859516 w 8636594"/>
              <a:gd name="connsiteY32" fmla="*/ 5175087 h 5984588"/>
              <a:gd name="connsiteX33" fmla="*/ 4888347 w 8636594"/>
              <a:gd name="connsiteY33" fmla="*/ 5143504 h 5984588"/>
              <a:gd name="connsiteX34" fmla="*/ 4916919 w 8636594"/>
              <a:gd name="connsiteY34" fmla="*/ 5111713 h 5984588"/>
              <a:gd name="connsiteX35" fmla="*/ 4945238 w 8636594"/>
              <a:gd name="connsiteY35" fmla="*/ 5079717 h 5984588"/>
              <a:gd name="connsiteX36" fmla="*/ 4973311 w 8636594"/>
              <a:gd name="connsiteY36" fmla="*/ 5047519 h 5984588"/>
              <a:gd name="connsiteX37" fmla="*/ 5001145 w 8636594"/>
              <a:gd name="connsiteY37" fmla="*/ 5015124 h 5984588"/>
              <a:gd name="connsiteX38" fmla="*/ 5028745 w 8636594"/>
              <a:gd name="connsiteY38" fmla="*/ 4982535 h 5984588"/>
              <a:gd name="connsiteX39" fmla="*/ 5056117 w 8636594"/>
              <a:gd name="connsiteY39" fmla="*/ 4949755 h 5984588"/>
              <a:gd name="connsiteX40" fmla="*/ 5083269 w 8636594"/>
              <a:gd name="connsiteY40" fmla="*/ 4916787 h 5984588"/>
              <a:gd name="connsiteX41" fmla="*/ 5110207 w 8636594"/>
              <a:gd name="connsiteY41" fmla="*/ 4883636 h 5984588"/>
              <a:gd name="connsiteX42" fmla="*/ 5136937 w 8636594"/>
              <a:gd name="connsiteY42" fmla="*/ 4850305 h 5984588"/>
              <a:gd name="connsiteX43" fmla="*/ 5163464 w 8636594"/>
              <a:gd name="connsiteY43" fmla="*/ 4816797 h 5984588"/>
              <a:gd name="connsiteX44" fmla="*/ 5215940 w 8636594"/>
              <a:gd name="connsiteY44" fmla="*/ 4749265 h 5984588"/>
              <a:gd name="connsiteX45" fmla="*/ 5267684 w 8636594"/>
              <a:gd name="connsiteY45" fmla="*/ 4681068 h 5984588"/>
              <a:gd name="connsiteX46" fmla="*/ 5318748 w 8636594"/>
              <a:gd name="connsiteY46" fmla="*/ 4612234 h 5984588"/>
              <a:gd name="connsiteX47" fmla="*/ 5369182 w 8636594"/>
              <a:gd name="connsiteY47" fmla="*/ 4542793 h 5984588"/>
              <a:gd name="connsiteX48" fmla="*/ 5419038 w 8636594"/>
              <a:gd name="connsiteY48" fmla="*/ 4472771 h 5984588"/>
              <a:gd name="connsiteX49" fmla="*/ 5468365 w 8636594"/>
              <a:gd name="connsiteY49" fmla="*/ 4402196 h 5984588"/>
              <a:gd name="connsiteX50" fmla="*/ 5517215 w 8636594"/>
              <a:gd name="connsiteY50" fmla="*/ 4331098 h 5984588"/>
              <a:gd name="connsiteX51" fmla="*/ 5565637 w 8636594"/>
              <a:gd name="connsiteY51" fmla="*/ 4259503 h 5984588"/>
              <a:gd name="connsiteX52" fmla="*/ 5613684 w 8636594"/>
              <a:gd name="connsiteY52" fmla="*/ 4187441 h 5984588"/>
              <a:gd name="connsiteX53" fmla="*/ 5685160 w 8636594"/>
              <a:gd name="connsiteY53" fmla="*/ 4078531 h 5984588"/>
              <a:gd name="connsiteX54" fmla="*/ 5756074 w 8636594"/>
              <a:gd name="connsiteY54" fmla="*/ 3968727 h 5984588"/>
              <a:gd name="connsiteX55" fmla="*/ 5873483 w 8636594"/>
              <a:gd name="connsiteY55" fmla="*/ 3783989 h 5984588"/>
              <a:gd name="connsiteX56" fmla="*/ 6203209 w 8636594"/>
              <a:gd name="connsiteY56" fmla="*/ 3258640 h 5984588"/>
              <a:gd name="connsiteX57" fmla="*/ 6299430 w 8636594"/>
              <a:gd name="connsiteY57" fmla="*/ 3107321 h 5984588"/>
              <a:gd name="connsiteX58" fmla="*/ 6372650 w 8636594"/>
              <a:gd name="connsiteY58" fmla="*/ 2993735 h 5984588"/>
              <a:gd name="connsiteX59" fmla="*/ 6453197 w 8636594"/>
              <a:gd name="connsiteY59" fmla="*/ 2869788 h 5984588"/>
              <a:gd name="connsiteX60" fmla="*/ 6564167 w 8636594"/>
              <a:gd name="connsiteY60" fmla="*/ 2696807 h 5984588"/>
              <a:gd name="connsiteX61" fmla="*/ 6976233 w 8636594"/>
              <a:gd name="connsiteY61" fmla="*/ 2045274 h 5984588"/>
              <a:gd name="connsiteX62" fmla="*/ 7086755 w 8636594"/>
              <a:gd name="connsiteY62" fmla="*/ 1872743 h 5984588"/>
              <a:gd name="connsiteX63" fmla="*/ 7170279 w 8636594"/>
              <a:gd name="connsiteY63" fmla="*/ 1744202 h 5984588"/>
              <a:gd name="connsiteX64" fmla="*/ 7226351 w 8636594"/>
              <a:gd name="connsiteY64" fmla="*/ 1659017 h 5984588"/>
              <a:gd name="connsiteX65" fmla="*/ 7282789 w 8636594"/>
              <a:gd name="connsiteY65" fmla="*/ 1574303 h 5984588"/>
              <a:gd name="connsiteX66" fmla="*/ 7339643 w 8636594"/>
              <a:gd name="connsiteY66" fmla="*/ 1490113 h 5984588"/>
              <a:gd name="connsiteX67" fmla="*/ 7396957 w 8636594"/>
              <a:gd name="connsiteY67" fmla="*/ 1406503 h 5984588"/>
              <a:gd name="connsiteX68" fmla="*/ 7454781 w 8636594"/>
              <a:gd name="connsiteY68" fmla="*/ 1323526 h 5984588"/>
              <a:gd name="connsiteX69" fmla="*/ 7513161 w 8636594"/>
              <a:gd name="connsiteY69" fmla="*/ 1241237 h 5984588"/>
              <a:gd name="connsiteX70" fmla="*/ 7572144 w 8636594"/>
              <a:gd name="connsiteY70" fmla="*/ 1159689 h 5984588"/>
              <a:gd name="connsiteX71" fmla="*/ 7601877 w 8636594"/>
              <a:gd name="connsiteY71" fmla="*/ 1119210 h 5984588"/>
              <a:gd name="connsiteX72" fmla="*/ 7631779 w 8636594"/>
              <a:gd name="connsiteY72" fmla="*/ 1078937 h 5984588"/>
              <a:gd name="connsiteX73" fmla="*/ 7661855 w 8636594"/>
              <a:gd name="connsiteY73" fmla="*/ 1038876 h 5984588"/>
              <a:gd name="connsiteX74" fmla="*/ 7692111 w 8636594"/>
              <a:gd name="connsiteY74" fmla="*/ 999035 h 5984588"/>
              <a:gd name="connsiteX75" fmla="*/ 7722554 w 8636594"/>
              <a:gd name="connsiteY75" fmla="*/ 959419 h 5984588"/>
              <a:gd name="connsiteX76" fmla="*/ 7753190 w 8636594"/>
              <a:gd name="connsiteY76" fmla="*/ 920037 h 5984588"/>
              <a:gd name="connsiteX77" fmla="*/ 7784023 w 8636594"/>
              <a:gd name="connsiteY77" fmla="*/ 880894 h 5984588"/>
              <a:gd name="connsiteX78" fmla="*/ 7815061 w 8636594"/>
              <a:gd name="connsiteY78" fmla="*/ 841997 h 5984588"/>
              <a:gd name="connsiteX79" fmla="*/ 7846308 w 8636594"/>
              <a:gd name="connsiteY79" fmla="*/ 803354 h 5984588"/>
              <a:gd name="connsiteX80" fmla="*/ 7877772 w 8636594"/>
              <a:gd name="connsiteY80" fmla="*/ 764970 h 5984588"/>
              <a:gd name="connsiteX81" fmla="*/ 7909458 w 8636594"/>
              <a:gd name="connsiteY81" fmla="*/ 726853 h 5984588"/>
              <a:gd name="connsiteX82" fmla="*/ 7941371 w 8636594"/>
              <a:gd name="connsiteY82" fmla="*/ 689010 h 5984588"/>
              <a:gd name="connsiteX83" fmla="*/ 7973518 w 8636594"/>
              <a:gd name="connsiteY83" fmla="*/ 651447 h 5984588"/>
              <a:gd name="connsiteX84" fmla="*/ 8005905 w 8636594"/>
              <a:gd name="connsiteY84" fmla="*/ 614171 h 5984588"/>
              <a:gd name="connsiteX85" fmla="*/ 8038538 w 8636594"/>
              <a:gd name="connsiteY85" fmla="*/ 577189 h 5984588"/>
              <a:gd name="connsiteX86" fmla="*/ 8071421 w 8636594"/>
              <a:gd name="connsiteY86" fmla="*/ 540507 h 5984588"/>
              <a:gd name="connsiteX87" fmla="*/ 8104563 w 8636594"/>
              <a:gd name="connsiteY87" fmla="*/ 504132 h 5984588"/>
              <a:gd name="connsiteX88" fmla="*/ 8137967 w 8636594"/>
              <a:gd name="connsiteY88" fmla="*/ 468072 h 5984588"/>
              <a:gd name="connsiteX89" fmla="*/ 8171641 w 8636594"/>
              <a:gd name="connsiteY89" fmla="*/ 432332 h 5984588"/>
              <a:gd name="connsiteX90" fmla="*/ 8205590 w 8636594"/>
              <a:gd name="connsiteY90" fmla="*/ 396920 h 5984588"/>
              <a:gd name="connsiteX91" fmla="*/ 8239820 w 8636594"/>
              <a:gd name="connsiteY91" fmla="*/ 361843 h 5984588"/>
              <a:gd name="connsiteX92" fmla="*/ 8274337 w 8636594"/>
              <a:gd name="connsiteY92" fmla="*/ 327107 h 5984588"/>
              <a:gd name="connsiteX93" fmla="*/ 8309147 w 8636594"/>
              <a:gd name="connsiteY93" fmla="*/ 292718 h 5984588"/>
              <a:gd name="connsiteX94" fmla="*/ 8344256 w 8636594"/>
              <a:gd name="connsiteY94" fmla="*/ 258685 h 5984588"/>
              <a:gd name="connsiteX95" fmla="*/ 8379669 w 8636594"/>
              <a:gd name="connsiteY95" fmla="*/ 225013 h 5984588"/>
              <a:gd name="connsiteX96" fmla="*/ 8415394 w 8636594"/>
              <a:gd name="connsiteY96" fmla="*/ 191709 h 5984588"/>
              <a:gd name="connsiteX97" fmla="*/ 8451434 w 8636594"/>
              <a:gd name="connsiteY97" fmla="*/ 158780 h 5984588"/>
              <a:gd name="connsiteX98" fmla="*/ 8487798 w 8636594"/>
              <a:gd name="connsiteY98" fmla="*/ 126233 h 5984588"/>
              <a:gd name="connsiteX99" fmla="*/ 8524489 w 8636594"/>
              <a:gd name="connsiteY99" fmla="*/ 94075 h 5984588"/>
              <a:gd name="connsiteX100" fmla="*/ 8561515 w 8636594"/>
              <a:gd name="connsiteY100" fmla="*/ 62312 h 5984588"/>
              <a:gd name="connsiteX101" fmla="*/ 8598881 w 8636594"/>
              <a:gd name="connsiteY101" fmla="*/ 30951 h 5984588"/>
              <a:gd name="connsiteX102" fmla="*/ 8636594 w 8636594"/>
              <a:gd name="connsiteY102" fmla="*/ 0 h 5984588"/>
              <a:gd name="connsiteX0" fmla="*/ 8636594 w 8636594"/>
              <a:gd name="connsiteY0" fmla="*/ 0 h 5960574"/>
              <a:gd name="connsiteX1" fmla="*/ 5293 w 8636594"/>
              <a:gd name="connsiteY1" fmla="*/ 0 h 5960574"/>
              <a:gd name="connsiteX2" fmla="*/ 0 w 8636594"/>
              <a:gd name="connsiteY2" fmla="*/ 5587843 h 5960574"/>
              <a:gd name="connsiteX3" fmla="*/ 3921445 w 8636594"/>
              <a:gd name="connsiteY3" fmla="*/ 5960574 h 5960574"/>
              <a:gd name="connsiteX4" fmla="*/ 3960096 w 8636594"/>
              <a:gd name="connsiteY4" fmla="*/ 5936250 h 5960574"/>
              <a:gd name="connsiteX5" fmla="*/ 3998311 w 8636594"/>
              <a:gd name="connsiteY5" fmla="*/ 5911619 h 5960574"/>
              <a:gd name="connsiteX6" fmla="*/ 4036095 w 8636594"/>
              <a:gd name="connsiteY6" fmla="*/ 5886685 h 5960574"/>
              <a:gd name="connsiteX7" fmla="*/ 4073456 w 8636594"/>
              <a:gd name="connsiteY7" fmla="*/ 5861452 h 5960574"/>
              <a:gd name="connsiteX8" fmla="*/ 4110400 w 8636594"/>
              <a:gd name="connsiteY8" fmla="*/ 5835922 h 5960574"/>
              <a:gd name="connsiteX9" fmla="*/ 4146933 w 8636594"/>
              <a:gd name="connsiteY9" fmla="*/ 5810100 h 5960574"/>
              <a:gd name="connsiteX10" fmla="*/ 4183061 w 8636594"/>
              <a:gd name="connsiteY10" fmla="*/ 5783988 h 5960574"/>
              <a:gd name="connsiteX11" fmla="*/ 4218791 w 8636594"/>
              <a:gd name="connsiteY11" fmla="*/ 5757591 h 5960574"/>
              <a:gd name="connsiteX12" fmla="*/ 4254129 w 8636594"/>
              <a:gd name="connsiteY12" fmla="*/ 5730912 h 5960574"/>
              <a:gd name="connsiteX13" fmla="*/ 4289081 w 8636594"/>
              <a:gd name="connsiteY13" fmla="*/ 5703955 h 5960574"/>
              <a:gd name="connsiteX14" fmla="*/ 4323654 w 8636594"/>
              <a:gd name="connsiteY14" fmla="*/ 5676722 h 5960574"/>
              <a:gd name="connsiteX15" fmla="*/ 4357854 w 8636594"/>
              <a:gd name="connsiteY15" fmla="*/ 5649218 h 5960574"/>
              <a:gd name="connsiteX16" fmla="*/ 4391688 w 8636594"/>
              <a:gd name="connsiteY16" fmla="*/ 5621446 h 5960574"/>
              <a:gd name="connsiteX17" fmla="*/ 4425162 w 8636594"/>
              <a:gd name="connsiteY17" fmla="*/ 5593409 h 5960574"/>
              <a:gd name="connsiteX18" fmla="*/ 4458281 w 8636594"/>
              <a:gd name="connsiteY18" fmla="*/ 5565111 h 5960574"/>
              <a:gd name="connsiteX19" fmla="*/ 4491053 w 8636594"/>
              <a:gd name="connsiteY19" fmla="*/ 5536556 h 5960574"/>
              <a:gd name="connsiteX20" fmla="*/ 4523484 w 8636594"/>
              <a:gd name="connsiteY20" fmla="*/ 5507747 h 5960574"/>
              <a:gd name="connsiteX21" fmla="*/ 4555580 w 8636594"/>
              <a:gd name="connsiteY21" fmla="*/ 5478687 h 5960574"/>
              <a:gd name="connsiteX22" fmla="*/ 4587347 w 8636594"/>
              <a:gd name="connsiteY22" fmla="*/ 5449380 h 5960574"/>
              <a:gd name="connsiteX23" fmla="*/ 4618793 w 8636594"/>
              <a:gd name="connsiteY23" fmla="*/ 5419830 h 5960574"/>
              <a:gd name="connsiteX24" fmla="*/ 4649922 w 8636594"/>
              <a:gd name="connsiteY24" fmla="*/ 5390040 h 5960574"/>
              <a:gd name="connsiteX25" fmla="*/ 4680742 w 8636594"/>
              <a:gd name="connsiteY25" fmla="*/ 5360014 h 5960574"/>
              <a:gd name="connsiteX26" fmla="*/ 4711259 w 8636594"/>
              <a:gd name="connsiteY26" fmla="*/ 5329755 h 5960574"/>
              <a:gd name="connsiteX27" fmla="*/ 4741478 w 8636594"/>
              <a:gd name="connsiteY27" fmla="*/ 5299266 h 5960574"/>
              <a:gd name="connsiteX28" fmla="*/ 4771408 w 8636594"/>
              <a:gd name="connsiteY28" fmla="*/ 5268551 h 5960574"/>
              <a:gd name="connsiteX29" fmla="*/ 4801053 w 8636594"/>
              <a:gd name="connsiteY29" fmla="*/ 5237614 h 5960574"/>
              <a:gd name="connsiteX30" fmla="*/ 4830420 w 8636594"/>
              <a:gd name="connsiteY30" fmla="*/ 5206458 h 5960574"/>
              <a:gd name="connsiteX31" fmla="*/ 4859516 w 8636594"/>
              <a:gd name="connsiteY31" fmla="*/ 5175087 h 5960574"/>
              <a:gd name="connsiteX32" fmla="*/ 4888347 w 8636594"/>
              <a:gd name="connsiteY32" fmla="*/ 5143504 h 5960574"/>
              <a:gd name="connsiteX33" fmla="*/ 4916919 w 8636594"/>
              <a:gd name="connsiteY33" fmla="*/ 5111713 h 5960574"/>
              <a:gd name="connsiteX34" fmla="*/ 4945238 w 8636594"/>
              <a:gd name="connsiteY34" fmla="*/ 5079717 h 5960574"/>
              <a:gd name="connsiteX35" fmla="*/ 4973311 w 8636594"/>
              <a:gd name="connsiteY35" fmla="*/ 5047519 h 5960574"/>
              <a:gd name="connsiteX36" fmla="*/ 5001145 w 8636594"/>
              <a:gd name="connsiteY36" fmla="*/ 5015124 h 5960574"/>
              <a:gd name="connsiteX37" fmla="*/ 5028745 w 8636594"/>
              <a:gd name="connsiteY37" fmla="*/ 4982535 h 5960574"/>
              <a:gd name="connsiteX38" fmla="*/ 5056117 w 8636594"/>
              <a:gd name="connsiteY38" fmla="*/ 4949755 h 5960574"/>
              <a:gd name="connsiteX39" fmla="*/ 5083269 w 8636594"/>
              <a:gd name="connsiteY39" fmla="*/ 4916787 h 5960574"/>
              <a:gd name="connsiteX40" fmla="*/ 5110207 w 8636594"/>
              <a:gd name="connsiteY40" fmla="*/ 4883636 h 5960574"/>
              <a:gd name="connsiteX41" fmla="*/ 5136937 w 8636594"/>
              <a:gd name="connsiteY41" fmla="*/ 4850305 h 5960574"/>
              <a:gd name="connsiteX42" fmla="*/ 5163464 w 8636594"/>
              <a:gd name="connsiteY42" fmla="*/ 4816797 h 5960574"/>
              <a:gd name="connsiteX43" fmla="*/ 5215940 w 8636594"/>
              <a:gd name="connsiteY43" fmla="*/ 4749265 h 5960574"/>
              <a:gd name="connsiteX44" fmla="*/ 5267684 w 8636594"/>
              <a:gd name="connsiteY44" fmla="*/ 4681068 h 5960574"/>
              <a:gd name="connsiteX45" fmla="*/ 5318748 w 8636594"/>
              <a:gd name="connsiteY45" fmla="*/ 4612234 h 5960574"/>
              <a:gd name="connsiteX46" fmla="*/ 5369182 w 8636594"/>
              <a:gd name="connsiteY46" fmla="*/ 4542793 h 5960574"/>
              <a:gd name="connsiteX47" fmla="*/ 5419038 w 8636594"/>
              <a:gd name="connsiteY47" fmla="*/ 4472771 h 5960574"/>
              <a:gd name="connsiteX48" fmla="*/ 5468365 w 8636594"/>
              <a:gd name="connsiteY48" fmla="*/ 4402196 h 5960574"/>
              <a:gd name="connsiteX49" fmla="*/ 5517215 w 8636594"/>
              <a:gd name="connsiteY49" fmla="*/ 4331098 h 5960574"/>
              <a:gd name="connsiteX50" fmla="*/ 5565637 w 8636594"/>
              <a:gd name="connsiteY50" fmla="*/ 4259503 h 5960574"/>
              <a:gd name="connsiteX51" fmla="*/ 5613684 w 8636594"/>
              <a:gd name="connsiteY51" fmla="*/ 4187441 h 5960574"/>
              <a:gd name="connsiteX52" fmla="*/ 5685160 w 8636594"/>
              <a:gd name="connsiteY52" fmla="*/ 4078531 h 5960574"/>
              <a:gd name="connsiteX53" fmla="*/ 5756074 w 8636594"/>
              <a:gd name="connsiteY53" fmla="*/ 3968727 h 5960574"/>
              <a:gd name="connsiteX54" fmla="*/ 5873483 w 8636594"/>
              <a:gd name="connsiteY54" fmla="*/ 3783989 h 5960574"/>
              <a:gd name="connsiteX55" fmla="*/ 6203209 w 8636594"/>
              <a:gd name="connsiteY55" fmla="*/ 3258640 h 5960574"/>
              <a:gd name="connsiteX56" fmla="*/ 6299430 w 8636594"/>
              <a:gd name="connsiteY56" fmla="*/ 3107321 h 5960574"/>
              <a:gd name="connsiteX57" fmla="*/ 6372650 w 8636594"/>
              <a:gd name="connsiteY57" fmla="*/ 2993735 h 5960574"/>
              <a:gd name="connsiteX58" fmla="*/ 6453197 w 8636594"/>
              <a:gd name="connsiteY58" fmla="*/ 2869788 h 5960574"/>
              <a:gd name="connsiteX59" fmla="*/ 6564167 w 8636594"/>
              <a:gd name="connsiteY59" fmla="*/ 2696807 h 5960574"/>
              <a:gd name="connsiteX60" fmla="*/ 6976233 w 8636594"/>
              <a:gd name="connsiteY60" fmla="*/ 2045274 h 5960574"/>
              <a:gd name="connsiteX61" fmla="*/ 7086755 w 8636594"/>
              <a:gd name="connsiteY61" fmla="*/ 1872743 h 5960574"/>
              <a:gd name="connsiteX62" fmla="*/ 7170279 w 8636594"/>
              <a:gd name="connsiteY62" fmla="*/ 1744202 h 5960574"/>
              <a:gd name="connsiteX63" fmla="*/ 7226351 w 8636594"/>
              <a:gd name="connsiteY63" fmla="*/ 1659017 h 5960574"/>
              <a:gd name="connsiteX64" fmla="*/ 7282789 w 8636594"/>
              <a:gd name="connsiteY64" fmla="*/ 1574303 h 5960574"/>
              <a:gd name="connsiteX65" fmla="*/ 7339643 w 8636594"/>
              <a:gd name="connsiteY65" fmla="*/ 1490113 h 5960574"/>
              <a:gd name="connsiteX66" fmla="*/ 7396957 w 8636594"/>
              <a:gd name="connsiteY66" fmla="*/ 1406503 h 5960574"/>
              <a:gd name="connsiteX67" fmla="*/ 7454781 w 8636594"/>
              <a:gd name="connsiteY67" fmla="*/ 1323526 h 5960574"/>
              <a:gd name="connsiteX68" fmla="*/ 7513161 w 8636594"/>
              <a:gd name="connsiteY68" fmla="*/ 1241237 h 5960574"/>
              <a:gd name="connsiteX69" fmla="*/ 7572144 w 8636594"/>
              <a:gd name="connsiteY69" fmla="*/ 1159689 h 5960574"/>
              <a:gd name="connsiteX70" fmla="*/ 7601877 w 8636594"/>
              <a:gd name="connsiteY70" fmla="*/ 1119210 h 5960574"/>
              <a:gd name="connsiteX71" fmla="*/ 7631779 w 8636594"/>
              <a:gd name="connsiteY71" fmla="*/ 1078937 h 5960574"/>
              <a:gd name="connsiteX72" fmla="*/ 7661855 w 8636594"/>
              <a:gd name="connsiteY72" fmla="*/ 1038876 h 5960574"/>
              <a:gd name="connsiteX73" fmla="*/ 7692111 w 8636594"/>
              <a:gd name="connsiteY73" fmla="*/ 999035 h 5960574"/>
              <a:gd name="connsiteX74" fmla="*/ 7722554 w 8636594"/>
              <a:gd name="connsiteY74" fmla="*/ 959419 h 5960574"/>
              <a:gd name="connsiteX75" fmla="*/ 7753190 w 8636594"/>
              <a:gd name="connsiteY75" fmla="*/ 920037 h 5960574"/>
              <a:gd name="connsiteX76" fmla="*/ 7784023 w 8636594"/>
              <a:gd name="connsiteY76" fmla="*/ 880894 h 5960574"/>
              <a:gd name="connsiteX77" fmla="*/ 7815061 w 8636594"/>
              <a:gd name="connsiteY77" fmla="*/ 841997 h 5960574"/>
              <a:gd name="connsiteX78" fmla="*/ 7846308 w 8636594"/>
              <a:gd name="connsiteY78" fmla="*/ 803354 h 5960574"/>
              <a:gd name="connsiteX79" fmla="*/ 7877772 w 8636594"/>
              <a:gd name="connsiteY79" fmla="*/ 764970 h 5960574"/>
              <a:gd name="connsiteX80" fmla="*/ 7909458 w 8636594"/>
              <a:gd name="connsiteY80" fmla="*/ 726853 h 5960574"/>
              <a:gd name="connsiteX81" fmla="*/ 7941371 w 8636594"/>
              <a:gd name="connsiteY81" fmla="*/ 689010 h 5960574"/>
              <a:gd name="connsiteX82" fmla="*/ 7973518 w 8636594"/>
              <a:gd name="connsiteY82" fmla="*/ 651447 h 5960574"/>
              <a:gd name="connsiteX83" fmla="*/ 8005905 w 8636594"/>
              <a:gd name="connsiteY83" fmla="*/ 614171 h 5960574"/>
              <a:gd name="connsiteX84" fmla="*/ 8038538 w 8636594"/>
              <a:gd name="connsiteY84" fmla="*/ 577189 h 5960574"/>
              <a:gd name="connsiteX85" fmla="*/ 8071421 w 8636594"/>
              <a:gd name="connsiteY85" fmla="*/ 540507 h 5960574"/>
              <a:gd name="connsiteX86" fmla="*/ 8104563 w 8636594"/>
              <a:gd name="connsiteY86" fmla="*/ 504132 h 5960574"/>
              <a:gd name="connsiteX87" fmla="*/ 8137967 w 8636594"/>
              <a:gd name="connsiteY87" fmla="*/ 468072 h 5960574"/>
              <a:gd name="connsiteX88" fmla="*/ 8171641 w 8636594"/>
              <a:gd name="connsiteY88" fmla="*/ 432332 h 5960574"/>
              <a:gd name="connsiteX89" fmla="*/ 8205590 w 8636594"/>
              <a:gd name="connsiteY89" fmla="*/ 396920 h 5960574"/>
              <a:gd name="connsiteX90" fmla="*/ 8239820 w 8636594"/>
              <a:gd name="connsiteY90" fmla="*/ 361843 h 5960574"/>
              <a:gd name="connsiteX91" fmla="*/ 8274337 w 8636594"/>
              <a:gd name="connsiteY91" fmla="*/ 327107 h 5960574"/>
              <a:gd name="connsiteX92" fmla="*/ 8309147 w 8636594"/>
              <a:gd name="connsiteY92" fmla="*/ 292718 h 5960574"/>
              <a:gd name="connsiteX93" fmla="*/ 8344256 w 8636594"/>
              <a:gd name="connsiteY93" fmla="*/ 258685 h 5960574"/>
              <a:gd name="connsiteX94" fmla="*/ 8379669 w 8636594"/>
              <a:gd name="connsiteY94" fmla="*/ 225013 h 5960574"/>
              <a:gd name="connsiteX95" fmla="*/ 8415394 w 8636594"/>
              <a:gd name="connsiteY95" fmla="*/ 191709 h 5960574"/>
              <a:gd name="connsiteX96" fmla="*/ 8451434 w 8636594"/>
              <a:gd name="connsiteY96" fmla="*/ 158780 h 5960574"/>
              <a:gd name="connsiteX97" fmla="*/ 8487798 w 8636594"/>
              <a:gd name="connsiteY97" fmla="*/ 126233 h 5960574"/>
              <a:gd name="connsiteX98" fmla="*/ 8524489 w 8636594"/>
              <a:gd name="connsiteY98" fmla="*/ 94075 h 5960574"/>
              <a:gd name="connsiteX99" fmla="*/ 8561515 w 8636594"/>
              <a:gd name="connsiteY99" fmla="*/ 62312 h 5960574"/>
              <a:gd name="connsiteX100" fmla="*/ 8598881 w 8636594"/>
              <a:gd name="connsiteY100" fmla="*/ 30951 h 5960574"/>
              <a:gd name="connsiteX101" fmla="*/ 8636594 w 8636594"/>
              <a:gd name="connsiteY101" fmla="*/ 0 h 5960574"/>
              <a:gd name="connsiteX0" fmla="*/ 8636594 w 8636594"/>
              <a:gd name="connsiteY0" fmla="*/ 0 h 5936250"/>
              <a:gd name="connsiteX1" fmla="*/ 5293 w 8636594"/>
              <a:gd name="connsiteY1" fmla="*/ 0 h 5936250"/>
              <a:gd name="connsiteX2" fmla="*/ 0 w 8636594"/>
              <a:gd name="connsiteY2" fmla="*/ 5587843 h 5936250"/>
              <a:gd name="connsiteX3" fmla="*/ 3960096 w 8636594"/>
              <a:gd name="connsiteY3" fmla="*/ 5936250 h 5936250"/>
              <a:gd name="connsiteX4" fmla="*/ 3998311 w 8636594"/>
              <a:gd name="connsiteY4" fmla="*/ 5911619 h 5936250"/>
              <a:gd name="connsiteX5" fmla="*/ 4036095 w 8636594"/>
              <a:gd name="connsiteY5" fmla="*/ 5886685 h 5936250"/>
              <a:gd name="connsiteX6" fmla="*/ 4073456 w 8636594"/>
              <a:gd name="connsiteY6" fmla="*/ 5861452 h 5936250"/>
              <a:gd name="connsiteX7" fmla="*/ 4110400 w 8636594"/>
              <a:gd name="connsiteY7" fmla="*/ 5835922 h 5936250"/>
              <a:gd name="connsiteX8" fmla="*/ 4146933 w 8636594"/>
              <a:gd name="connsiteY8" fmla="*/ 5810100 h 5936250"/>
              <a:gd name="connsiteX9" fmla="*/ 4183061 w 8636594"/>
              <a:gd name="connsiteY9" fmla="*/ 5783988 h 5936250"/>
              <a:gd name="connsiteX10" fmla="*/ 4218791 w 8636594"/>
              <a:gd name="connsiteY10" fmla="*/ 5757591 h 5936250"/>
              <a:gd name="connsiteX11" fmla="*/ 4254129 w 8636594"/>
              <a:gd name="connsiteY11" fmla="*/ 5730912 h 5936250"/>
              <a:gd name="connsiteX12" fmla="*/ 4289081 w 8636594"/>
              <a:gd name="connsiteY12" fmla="*/ 5703955 h 5936250"/>
              <a:gd name="connsiteX13" fmla="*/ 4323654 w 8636594"/>
              <a:gd name="connsiteY13" fmla="*/ 5676722 h 5936250"/>
              <a:gd name="connsiteX14" fmla="*/ 4357854 w 8636594"/>
              <a:gd name="connsiteY14" fmla="*/ 5649218 h 5936250"/>
              <a:gd name="connsiteX15" fmla="*/ 4391688 w 8636594"/>
              <a:gd name="connsiteY15" fmla="*/ 5621446 h 5936250"/>
              <a:gd name="connsiteX16" fmla="*/ 4425162 w 8636594"/>
              <a:gd name="connsiteY16" fmla="*/ 5593409 h 5936250"/>
              <a:gd name="connsiteX17" fmla="*/ 4458281 w 8636594"/>
              <a:gd name="connsiteY17" fmla="*/ 5565111 h 5936250"/>
              <a:gd name="connsiteX18" fmla="*/ 4491053 w 8636594"/>
              <a:gd name="connsiteY18" fmla="*/ 5536556 h 5936250"/>
              <a:gd name="connsiteX19" fmla="*/ 4523484 w 8636594"/>
              <a:gd name="connsiteY19" fmla="*/ 5507747 h 5936250"/>
              <a:gd name="connsiteX20" fmla="*/ 4555580 w 8636594"/>
              <a:gd name="connsiteY20" fmla="*/ 5478687 h 5936250"/>
              <a:gd name="connsiteX21" fmla="*/ 4587347 w 8636594"/>
              <a:gd name="connsiteY21" fmla="*/ 5449380 h 5936250"/>
              <a:gd name="connsiteX22" fmla="*/ 4618793 w 8636594"/>
              <a:gd name="connsiteY22" fmla="*/ 5419830 h 5936250"/>
              <a:gd name="connsiteX23" fmla="*/ 4649922 w 8636594"/>
              <a:gd name="connsiteY23" fmla="*/ 5390040 h 5936250"/>
              <a:gd name="connsiteX24" fmla="*/ 4680742 w 8636594"/>
              <a:gd name="connsiteY24" fmla="*/ 5360014 h 5936250"/>
              <a:gd name="connsiteX25" fmla="*/ 4711259 w 8636594"/>
              <a:gd name="connsiteY25" fmla="*/ 5329755 h 5936250"/>
              <a:gd name="connsiteX26" fmla="*/ 4741478 w 8636594"/>
              <a:gd name="connsiteY26" fmla="*/ 5299266 h 5936250"/>
              <a:gd name="connsiteX27" fmla="*/ 4771408 w 8636594"/>
              <a:gd name="connsiteY27" fmla="*/ 5268551 h 5936250"/>
              <a:gd name="connsiteX28" fmla="*/ 4801053 w 8636594"/>
              <a:gd name="connsiteY28" fmla="*/ 5237614 h 5936250"/>
              <a:gd name="connsiteX29" fmla="*/ 4830420 w 8636594"/>
              <a:gd name="connsiteY29" fmla="*/ 5206458 h 5936250"/>
              <a:gd name="connsiteX30" fmla="*/ 4859516 w 8636594"/>
              <a:gd name="connsiteY30" fmla="*/ 5175087 h 5936250"/>
              <a:gd name="connsiteX31" fmla="*/ 4888347 w 8636594"/>
              <a:gd name="connsiteY31" fmla="*/ 5143504 h 5936250"/>
              <a:gd name="connsiteX32" fmla="*/ 4916919 w 8636594"/>
              <a:gd name="connsiteY32" fmla="*/ 5111713 h 5936250"/>
              <a:gd name="connsiteX33" fmla="*/ 4945238 w 8636594"/>
              <a:gd name="connsiteY33" fmla="*/ 5079717 h 5936250"/>
              <a:gd name="connsiteX34" fmla="*/ 4973311 w 8636594"/>
              <a:gd name="connsiteY34" fmla="*/ 5047519 h 5936250"/>
              <a:gd name="connsiteX35" fmla="*/ 5001145 w 8636594"/>
              <a:gd name="connsiteY35" fmla="*/ 5015124 h 5936250"/>
              <a:gd name="connsiteX36" fmla="*/ 5028745 w 8636594"/>
              <a:gd name="connsiteY36" fmla="*/ 4982535 h 5936250"/>
              <a:gd name="connsiteX37" fmla="*/ 5056117 w 8636594"/>
              <a:gd name="connsiteY37" fmla="*/ 4949755 h 5936250"/>
              <a:gd name="connsiteX38" fmla="*/ 5083269 w 8636594"/>
              <a:gd name="connsiteY38" fmla="*/ 4916787 h 5936250"/>
              <a:gd name="connsiteX39" fmla="*/ 5110207 w 8636594"/>
              <a:gd name="connsiteY39" fmla="*/ 4883636 h 5936250"/>
              <a:gd name="connsiteX40" fmla="*/ 5136937 w 8636594"/>
              <a:gd name="connsiteY40" fmla="*/ 4850305 h 5936250"/>
              <a:gd name="connsiteX41" fmla="*/ 5163464 w 8636594"/>
              <a:gd name="connsiteY41" fmla="*/ 4816797 h 5936250"/>
              <a:gd name="connsiteX42" fmla="*/ 5215940 w 8636594"/>
              <a:gd name="connsiteY42" fmla="*/ 4749265 h 5936250"/>
              <a:gd name="connsiteX43" fmla="*/ 5267684 w 8636594"/>
              <a:gd name="connsiteY43" fmla="*/ 4681068 h 5936250"/>
              <a:gd name="connsiteX44" fmla="*/ 5318748 w 8636594"/>
              <a:gd name="connsiteY44" fmla="*/ 4612234 h 5936250"/>
              <a:gd name="connsiteX45" fmla="*/ 5369182 w 8636594"/>
              <a:gd name="connsiteY45" fmla="*/ 4542793 h 5936250"/>
              <a:gd name="connsiteX46" fmla="*/ 5419038 w 8636594"/>
              <a:gd name="connsiteY46" fmla="*/ 4472771 h 5936250"/>
              <a:gd name="connsiteX47" fmla="*/ 5468365 w 8636594"/>
              <a:gd name="connsiteY47" fmla="*/ 4402196 h 5936250"/>
              <a:gd name="connsiteX48" fmla="*/ 5517215 w 8636594"/>
              <a:gd name="connsiteY48" fmla="*/ 4331098 h 5936250"/>
              <a:gd name="connsiteX49" fmla="*/ 5565637 w 8636594"/>
              <a:gd name="connsiteY49" fmla="*/ 4259503 h 5936250"/>
              <a:gd name="connsiteX50" fmla="*/ 5613684 w 8636594"/>
              <a:gd name="connsiteY50" fmla="*/ 4187441 h 5936250"/>
              <a:gd name="connsiteX51" fmla="*/ 5685160 w 8636594"/>
              <a:gd name="connsiteY51" fmla="*/ 4078531 h 5936250"/>
              <a:gd name="connsiteX52" fmla="*/ 5756074 w 8636594"/>
              <a:gd name="connsiteY52" fmla="*/ 3968727 h 5936250"/>
              <a:gd name="connsiteX53" fmla="*/ 5873483 w 8636594"/>
              <a:gd name="connsiteY53" fmla="*/ 3783989 h 5936250"/>
              <a:gd name="connsiteX54" fmla="*/ 6203209 w 8636594"/>
              <a:gd name="connsiteY54" fmla="*/ 3258640 h 5936250"/>
              <a:gd name="connsiteX55" fmla="*/ 6299430 w 8636594"/>
              <a:gd name="connsiteY55" fmla="*/ 3107321 h 5936250"/>
              <a:gd name="connsiteX56" fmla="*/ 6372650 w 8636594"/>
              <a:gd name="connsiteY56" fmla="*/ 2993735 h 5936250"/>
              <a:gd name="connsiteX57" fmla="*/ 6453197 w 8636594"/>
              <a:gd name="connsiteY57" fmla="*/ 2869788 h 5936250"/>
              <a:gd name="connsiteX58" fmla="*/ 6564167 w 8636594"/>
              <a:gd name="connsiteY58" fmla="*/ 2696807 h 5936250"/>
              <a:gd name="connsiteX59" fmla="*/ 6976233 w 8636594"/>
              <a:gd name="connsiteY59" fmla="*/ 2045274 h 5936250"/>
              <a:gd name="connsiteX60" fmla="*/ 7086755 w 8636594"/>
              <a:gd name="connsiteY60" fmla="*/ 1872743 h 5936250"/>
              <a:gd name="connsiteX61" fmla="*/ 7170279 w 8636594"/>
              <a:gd name="connsiteY61" fmla="*/ 1744202 h 5936250"/>
              <a:gd name="connsiteX62" fmla="*/ 7226351 w 8636594"/>
              <a:gd name="connsiteY62" fmla="*/ 1659017 h 5936250"/>
              <a:gd name="connsiteX63" fmla="*/ 7282789 w 8636594"/>
              <a:gd name="connsiteY63" fmla="*/ 1574303 h 5936250"/>
              <a:gd name="connsiteX64" fmla="*/ 7339643 w 8636594"/>
              <a:gd name="connsiteY64" fmla="*/ 1490113 h 5936250"/>
              <a:gd name="connsiteX65" fmla="*/ 7396957 w 8636594"/>
              <a:gd name="connsiteY65" fmla="*/ 1406503 h 5936250"/>
              <a:gd name="connsiteX66" fmla="*/ 7454781 w 8636594"/>
              <a:gd name="connsiteY66" fmla="*/ 1323526 h 5936250"/>
              <a:gd name="connsiteX67" fmla="*/ 7513161 w 8636594"/>
              <a:gd name="connsiteY67" fmla="*/ 1241237 h 5936250"/>
              <a:gd name="connsiteX68" fmla="*/ 7572144 w 8636594"/>
              <a:gd name="connsiteY68" fmla="*/ 1159689 h 5936250"/>
              <a:gd name="connsiteX69" fmla="*/ 7601877 w 8636594"/>
              <a:gd name="connsiteY69" fmla="*/ 1119210 h 5936250"/>
              <a:gd name="connsiteX70" fmla="*/ 7631779 w 8636594"/>
              <a:gd name="connsiteY70" fmla="*/ 1078937 h 5936250"/>
              <a:gd name="connsiteX71" fmla="*/ 7661855 w 8636594"/>
              <a:gd name="connsiteY71" fmla="*/ 1038876 h 5936250"/>
              <a:gd name="connsiteX72" fmla="*/ 7692111 w 8636594"/>
              <a:gd name="connsiteY72" fmla="*/ 999035 h 5936250"/>
              <a:gd name="connsiteX73" fmla="*/ 7722554 w 8636594"/>
              <a:gd name="connsiteY73" fmla="*/ 959419 h 5936250"/>
              <a:gd name="connsiteX74" fmla="*/ 7753190 w 8636594"/>
              <a:gd name="connsiteY74" fmla="*/ 920037 h 5936250"/>
              <a:gd name="connsiteX75" fmla="*/ 7784023 w 8636594"/>
              <a:gd name="connsiteY75" fmla="*/ 880894 h 5936250"/>
              <a:gd name="connsiteX76" fmla="*/ 7815061 w 8636594"/>
              <a:gd name="connsiteY76" fmla="*/ 841997 h 5936250"/>
              <a:gd name="connsiteX77" fmla="*/ 7846308 w 8636594"/>
              <a:gd name="connsiteY77" fmla="*/ 803354 h 5936250"/>
              <a:gd name="connsiteX78" fmla="*/ 7877772 w 8636594"/>
              <a:gd name="connsiteY78" fmla="*/ 764970 h 5936250"/>
              <a:gd name="connsiteX79" fmla="*/ 7909458 w 8636594"/>
              <a:gd name="connsiteY79" fmla="*/ 726853 h 5936250"/>
              <a:gd name="connsiteX80" fmla="*/ 7941371 w 8636594"/>
              <a:gd name="connsiteY80" fmla="*/ 689010 h 5936250"/>
              <a:gd name="connsiteX81" fmla="*/ 7973518 w 8636594"/>
              <a:gd name="connsiteY81" fmla="*/ 651447 h 5936250"/>
              <a:gd name="connsiteX82" fmla="*/ 8005905 w 8636594"/>
              <a:gd name="connsiteY82" fmla="*/ 614171 h 5936250"/>
              <a:gd name="connsiteX83" fmla="*/ 8038538 w 8636594"/>
              <a:gd name="connsiteY83" fmla="*/ 577189 h 5936250"/>
              <a:gd name="connsiteX84" fmla="*/ 8071421 w 8636594"/>
              <a:gd name="connsiteY84" fmla="*/ 540507 h 5936250"/>
              <a:gd name="connsiteX85" fmla="*/ 8104563 w 8636594"/>
              <a:gd name="connsiteY85" fmla="*/ 504132 h 5936250"/>
              <a:gd name="connsiteX86" fmla="*/ 8137967 w 8636594"/>
              <a:gd name="connsiteY86" fmla="*/ 468072 h 5936250"/>
              <a:gd name="connsiteX87" fmla="*/ 8171641 w 8636594"/>
              <a:gd name="connsiteY87" fmla="*/ 432332 h 5936250"/>
              <a:gd name="connsiteX88" fmla="*/ 8205590 w 8636594"/>
              <a:gd name="connsiteY88" fmla="*/ 396920 h 5936250"/>
              <a:gd name="connsiteX89" fmla="*/ 8239820 w 8636594"/>
              <a:gd name="connsiteY89" fmla="*/ 361843 h 5936250"/>
              <a:gd name="connsiteX90" fmla="*/ 8274337 w 8636594"/>
              <a:gd name="connsiteY90" fmla="*/ 327107 h 5936250"/>
              <a:gd name="connsiteX91" fmla="*/ 8309147 w 8636594"/>
              <a:gd name="connsiteY91" fmla="*/ 292718 h 5936250"/>
              <a:gd name="connsiteX92" fmla="*/ 8344256 w 8636594"/>
              <a:gd name="connsiteY92" fmla="*/ 258685 h 5936250"/>
              <a:gd name="connsiteX93" fmla="*/ 8379669 w 8636594"/>
              <a:gd name="connsiteY93" fmla="*/ 225013 h 5936250"/>
              <a:gd name="connsiteX94" fmla="*/ 8415394 w 8636594"/>
              <a:gd name="connsiteY94" fmla="*/ 191709 h 5936250"/>
              <a:gd name="connsiteX95" fmla="*/ 8451434 w 8636594"/>
              <a:gd name="connsiteY95" fmla="*/ 158780 h 5936250"/>
              <a:gd name="connsiteX96" fmla="*/ 8487798 w 8636594"/>
              <a:gd name="connsiteY96" fmla="*/ 126233 h 5936250"/>
              <a:gd name="connsiteX97" fmla="*/ 8524489 w 8636594"/>
              <a:gd name="connsiteY97" fmla="*/ 94075 h 5936250"/>
              <a:gd name="connsiteX98" fmla="*/ 8561515 w 8636594"/>
              <a:gd name="connsiteY98" fmla="*/ 62312 h 5936250"/>
              <a:gd name="connsiteX99" fmla="*/ 8598881 w 8636594"/>
              <a:gd name="connsiteY99" fmla="*/ 30951 h 5936250"/>
              <a:gd name="connsiteX100" fmla="*/ 8636594 w 8636594"/>
              <a:gd name="connsiteY100" fmla="*/ 0 h 5936250"/>
              <a:gd name="connsiteX0" fmla="*/ 8636594 w 8636594"/>
              <a:gd name="connsiteY0" fmla="*/ 0 h 5911619"/>
              <a:gd name="connsiteX1" fmla="*/ 5293 w 8636594"/>
              <a:gd name="connsiteY1" fmla="*/ 0 h 5911619"/>
              <a:gd name="connsiteX2" fmla="*/ 0 w 8636594"/>
              <a:gd name="connsiteY2" fmla="*/ 5587843 h 5911619"/>
              <a:gd name="connsiteX3" fmla="*/ 3998311 w 8636594"/>
              <a:gd name="connsiteY3" fmla="*/ 5911619 h 5911619"/>
              <a:gd name="connsiteX4" fmla="*/ 4036095 w 8636594"/>
              <a:gd name="connsiteY4" fmla="*/ 5886685 h 5911619"/>
              <a:gd name="connsiteX5" fmla="*/ 4073456 w 8636594"/>
              <a:gd name="connsiteY5" fmla="*/ 5861452 h 5911619"/>
              <a:gd name="connsiteX6" fmla="*/ 4110400 w 8636594"/>
              <a:gd name="connsiteY6" fmla="*/ 5835922 h 5911619"/>
              <a:gd name="connsiteX7" fmla="*/ 4146933 w 8636594"/>
              <a:gd name="connsiteY7" fmla="*/ 5810100 h 5911619"/>
              <a:gd name="connsiteX8" fmla="*/ 4183061 w 8636594"/>
              <a:gd name="connsiteY8" fmla="*/ 5783988 h 5911619"/>
              <a:gd name="connsiteX9" fmla="*/ 4218791 w 8636594"/>
              <a:gd name="connsiteY9" fmla="*/ 5757591 h 5911619"/>
              <a:gd name="connsiteX10" fmla="*/ 4254129 w 8636594"/>
              <a:gd name="connsiteY10" fmla="*/ 5730912 h 5911619"/>
              <a:gd name="connsiteX11" fmla="*/ 4289081 w 8636594"/>
              <a:gd name="connsiteY11" fmla="*/ 5703955 h 5911619"/>
              <a:gd name="connsiteX12" fmla="*/ 4323654 w 8636594"/>
              <a:gd name="connsiteY12" fmla="*/ 5676722 h 5911619"/>
              <a:gd name="connsiteX13" fmla="*/ 4357854 w 8636594"/>
              <a:gd name="connsiteY13" fmla="*/ 5649218 h 5911619"/>
              <a:gd name="connsiteX14" fmla="*/ 4391688 w 8636594"/>
              <a:gd name="connsiteY14" fmla="*/ 5621446 h 5911619"/>
              <a:gd name="connsiteX15" fmla="*/ 4425162 w 8636594"/>
              <a:gd name="connsiteY15" fmla="*/ 5593409 h 5911619"/>
              <a:gd name="connsiteX16" fmla="*/ 4458281 w 8636594"/>
              <a:gd name="connsiteY16" fmla="*/ 5565111 h 5911619"/>
              <a:gd name="connsiteX17" fmla="*/ 4491053 w 8636594"/>
              <a:gd name="connsiteY17" fmla="*/ 5536556 h 5911619"/>
              <a:gd name="connsiteX18" fmla="*/ 4523484 w 8636594"/>
              <a:gd name="connsiteY18" fmla="*/ 5507747 h 5911619"/>
              <a:gd name="connsiteX19" fmla="*/ 4555580 w 8636594"/>
              <a:gd name="connsiteY19" fmla="*/ 5478687 h 5911619"/>
              <a:gd name="connsiteX20" fmla="*/ 4587347 w 8636594"/>
              <a:gd name="connsiteY20" fmla="*/ 5449380 h 5911619"/>
              <a:gd name="connsiteX21" fmla="*/ 4618793 w 8636594"/>
              <a:gd name="connsiteY21" fmla="*/ 5419830 h 5911619"/>
              <a:gd name="connsiteX22" fmla="*/ 4649922 w 8636594"/>
              <a:gd name="connsiteY22" fmla="*/ 5390040 h 5911619"/>
              <a:gd name="connsiteX23" fmla="*/ 4680742 w 8636594"/>
              <a:gd name="connsiteY23" fmla="*/ 5360014 h 5911619"/>
              <a:gd name="connsiteX24" fmla="*/ 4711259 w 8636594"/>
              <a:gd name="connsiteY24" fmla="*/ 5329755 h 5911619"/>
              <a:gd name="connsiteX25" fmla="*/ 4741478 w 8636594"/>
              <a:gd name="connsiteY25" fmla="*/ 5299266 h 5911619"/>
              <a:gd name="connsiteX26" fmla="*/ 4771408 w 8636594"/>
              <a:gd name="connsiteY26" fmla="*/ 5268551 h 5911619"/>
              <a:gd name="connsiteX27" fmla="*/ 4801053 w 8636594"/>
              <a:gd name="connsiteY27" fmla="*/ 5237614 h 5911619"/>
              <a:gd name="connsiteX28" fmla="*/ 4830420 w 8636594"/>
              <a:gd name="connsiteY28" fmla="*/ 5206458 h 5911619"/>
              <a:gd name="connsiteX29" fmla="*/ 4859516 w 8636594"/>
              <a:gd name="connsiteY29" fmla="*/ 5175087 h 5911619"/>
              <a:gd name="connsiteX30" fmla="*/ 4888347 w 8636594"/>
              <a:gd name="connsiteY30" fmla="*/ 5143504 h 5911619"/>
              <a:gd name="connsiteX31" fmla="*/ 4916919 w 8636594"/>
              <a:gd name="connsiteY31" fmla="*/ 5111713 h 5911619"/>
              <a:gd name="connsiteX32" fmla="*/ 4945238 w 8636594"/>
              <a:gd name="connsiteY32" fmla="*/ 5079717 h 5911619"/>
              <a:gd name="connsiteX33" fmla="*/ 4973311 w 8636594"/>
              <a:gd name="connsiteY33" fmla="*/ 5047519 h 5911619"/>
              <a:gd name="connsiteX34" fmla="*/ 5001145 w 8636594"/>
              <a:gd name="connsiteY34" fmla="*/ 5015124 h 5911619"/>
              <a:gd name="connsiteX35" fmla="*/ 5028745 w 8636594"/>
              <a:gd name="connsiteY35" fmla="*/ 4982535 h 5911619"/>
              <a:gd name="connsiteX36" fmla="*/ 5056117 w 8636594"/>
              <a:gd name="connsiteY36" fmla="*/ 4949755 h 5911619"/>
              <a:gd name="connsiteX37" fmla="*/ 5083269 w 8636594"/>
              <a:gd name="connsiteY37" fmla="*/ 4916787 h 5911619"/>
              <a:gd name="connsiteX38" fmla="*/ 5110207 w 8636594"/>
              <a:gd name="connsiteY38" fmla="*/ 4883636 h 5911619"/>
              <a:gd name="connsiteX39" fmla="*/ 5136937 w 8636594"/>
              <a:gd name="connsiteY39" fmla="*/ 4850305 h 5911619"/>
              <a:gd name="connsiteX40" fmla="*/ 5163464 w 8636594"/>
              <a:gd name="connsiteY40" fmla="*/ 4816797 h 5911619"/>
              <a:gd name="connsiteX41" fmla="*/ 5215940 w 8636594"/>
              <a:gd name="connsiteY41" fmla="*/ 4749265 h 5911619"/>
              <a:gd name="connsiteX42" fmla="*/ 5267684 w 8636594"/>
              <a:gd name="connsiteY42" fmla="*/ 4681068 h 5911619"/>
              <a:gd name="connsiteX43" fmla="*/ 5318748 w 8636594"/>
              <a:gd name="connsiteY43" fmla="*/ 4612234 h 5911619"/>
              <a:gd name="connsiteX44" fmla="*/ 5369182 w 8636594"/>
              <a:gd name="connsiteY44" fmla="*/ 4542793 h 5911619"/>
              <a:gd name="connsiteX45" fmla="*/ 5419038 w 8636594"/>
              <a:gd name="connsiteY45" fmla="*/ 4472771 h 5911619"/>
              <a:gd name="connsiteX46" fmla="*/ 5468365 w 8636594"/>
              <a:gd name="connsiteY46" fmla="*/ 4402196 h 5911619"/>
              <a:gd name="connsiteX47" fmla="*/ 5517215 w 8636594"/>
              <a:gd name="connsiteY47" fmla="*/ 4331098 h 5911619"/>
              <a:gd name="connsiteX48" fmla="*/ 5565637 w 8636594"/>
              <a:gd name="connsiteY48" fmla="*/ 4259503 h 5911619"/>
              <a:gd name="connsiteX49" fmla="*/ 5613684 w 8636594"/>
              <a:gd name="connsiteY49" fmla="*/ 4187441 h 5911619"/>
              <a:gd name="connsiteX50" fmla="*/ 5685160 w 8636594"/>
              <a:gd name="connsiteY50" fmla="*/ 4078531 h 5911619"/>
              <a:gd name="connsiteX51" fmla="*/ 5756074 w 8636594"/>
              <a:gd name="connsiteY51" fmla="*/ 3968727 h 5911619"/>
              <a:gd name="connsiteX52" fmla="*/ 5873483 w 8636594"/>
              <a:gd name="connsiteY52" fmla="*/ 3783989 h 5911619"/>
              <a:gd name="connsiteX53" fmla="*/ 6203209 w 8636594"/>
              <a:gd name="connsiteY53" fmla="*/ 3258640 h 5911619"/>
              <a:gd name="connsiteX54" fmla="*/ 6299430 w 8636594"/>
              <a:gd name="connsiteY54" fmla="*/ 3107321 h 5911619"/>
              <a:gd name="connsiteX55" fmla="*/ 6372650 w 8636594"/>
              <a:gd name="connsiteY55" fmla="*/ 2993735 h 5911619"/>
              <a:gd name="connsiteX56" fmla="*/ 6453197 w 8636594"/>
              <a:gd name="connsiteY56" fmla="*/ 2869788 h 5911619"/>
              <a:gd name="connsiteX57" fmla="*/ 6564167 w 8636594"/>
              <a:gd name="connsiteY57" fmla="*/ 2696807 h 5911619"/>
              <a:gd name="connsiteX58" fmla="*/ 6976233 w 8636594"/>
              <a:gd name="connsiteY58" fmla="*/ 2045274 h 5911619"/>
              <a:gd name="connsiteX59" fmla="*/ 7086755 w 8636594"/>
              <a:gd name="connsiteY59" fmla="*/ 1872743 h 5911619"/>
              <a:gd name="connsiteX60" fmla="*/ 7170279 w 8636594"/>
              <a:gd name="connsiteY60" fmla="*/ 1744202 h 5911619"/>
              <a:gd name="connsiteX61" fmla="*/ 7226351 w 8636594"/>
              <a:gd name="connsiteY61" fmla="*/ 1659017 h 5911619"/>
              <a:gd name="connsiteX62" fmla="*/ 7282789 w 8636594"/>
              <a:gd name="connsiteY62" fmla="*/ 1574303 h 5911619"/>
              <a:gd name="connsiteX63" fmla="*/ 7339643 w 8636594"/>
              <a:gd name="connsiteY63" fmla="*/ 1490113 h 5911619"/>
              <a:gd name="connsiteX64" fmla="*/ 7396957 w 8636594"/>
              <a:gd name="connsiteY64" fmla="*/ 1406503 h 5911619"/>
              <a:gd name="connsiteX65" fmla="*/ 7454781 w 8636594"/>
              <a:gd name="connsiteY65" fmla="*/ 1323526 h 5911619"/>
              <a:gd name="connsiteX66" fmla="*/ 7513161 w 8636594"/>
              <a:gd name="connsiteY66" fmla="*/ 1241237 h 5911619"/>
              <a:gd name="connsiteX67" fmla="*/ 7572144 w 8636594"/>
              <a:gd name="connsiteY67" fmla="*/ 1159689 h 5911619"/>
              <a:gd name="connsiteX68" fmla="*/ 7601877 w 8636594"/>
              <a:gd name="connsiteY68" fmla="*/ 1119210 h 5911619"/>
              <a:gd name="connsiteX69" fmla="*/ 7631779 w 8636594"/>
              <a:gd name="connsiteY69" fmla="*/ 1078937 h 5911619"/>
              <a:gd name="connsiteX70" fmla="*/ 7661855 w 8636594"/>
              <a:gd name="connsiteY70" fmla="*/ 1038876 h 5911619"/>
              <a:gd name="connsiteX71" fmla="*/ 7692111 w 8636594"/>
              <a:gd name="connsiteY71" fmla="*/ 999035 h 5911619"/>
              <a:gd name="connsiteX72" fmla="*/ 7722554 w 8636594"/>
              <a:gd name="connsiteY72" fmla="*/ 959419 h 5911619"/>
              <a:gd name="connsiteX73" fmla="*/ 7753190 w 8636594"/>
              <a:gd name="connsiteY73" fmla="*/ 920037 h 5911619"/>
              <a:gd name="connsiteX74" fmla="*/ 7784023 w 8636594"/>
              <a:gd name="connsiteY74" fmla="*/ 880894 h 5911619"/>
              <a:gd name="connsiteX75" fmla="*/ 7815061 w 8636594"/>
              <a:gd name="connsiteY75" fmla="*/ 841997 h 5911619"/>
              <a:gd name="connsiteX76" fmla="*/ 7846308 w 8636594"/>
              <a:gd name="connsiteY76" fmla="*/ 803354 h 5911619"/>
              <a:gd name="connsiteX77" fmla="*/ 7877772 w 8636594"/>
              <a:gd name="connsiteY77" fmla="*/ 764970 h 5911619"/>
              <a:gd name="connsiteX78" fmla="*/ 7909458 w 8636594"/>
              <a:gd name="connsiteY78" fmla="*/ 726853 h 5911619"/>
              <a:gd name="connsiteX79" fmla="*/ 7941371 w 8636594"/>
              <a:gd name="connsiteY79" fmla="*/ 689010 h 5911619"/>
              <a:gd name="connsiteX80" fmla="*/ 7973518 w 8636594"/>
              <a:gd name="connsiteY80" fmla="*/ 651447 h 5911619"/>
              <a:gd name="connsiteX81" fmla="*/ 8005905 w 8636594"/>
              <a:gd name="connsiteY81" fmla="*/ 614171 h 5911619"/>
              <a:gd name="connsiteX82" fmla="*/ 8038538 w 8636594"/>
              <a:gd name="connsiteY82" fmla="*/ 577189 h 5911619"/>
              <a:gd name="connsiteX83" fmla="*/ 8071421 w 8636594"/>
              <a:gd name="connsiteY83" fmla="*/ 540507 h 5911619"/>
              <a:gd name="connsiteX84" fmla="*/ 8104563 w 8636594"/>
              <a:gd name="connsiteY84" fmla="*/ 504132 h 5911619"/>
              <a:gd name="connsiteX85" fmla="*/ 8137967 w 8636594"/>
              <a:gd name="connsiteY85" fmla="*/ 468072 h 5911619"/>
              <a:gd name="connsiteX86" fmla="*/ 8171641 w 8636594"/>
              <a:gd name="connsiteY86" fmla="*/ 432332 h 5911619"/>
              <a:gd name="connsiteX87" fmla="*/ 8205590 w 8636594"/>
              <a:gd name="connsiteY87" fmla="*/ 396920 h 5911619"/>
              <a:gd name="connsiteX88" fmla="*/ 8239820 w 8636594"/>
              <a:gd name="connsiteY88" fmla="*/ 361843 h 5911619"/>
              <a:gd name="connsiteX89" fmla="*/ 8274337 w 8636594"/>
              <a:gd name="connsiteY89" fmla="*/ 327107 h 5911619"/>
              <a:gd name="connsiteX90" fmla="*/ 8309147 w 8636594"/>
              <a:gd name="connsiteY90" fmla="*/ 292718 h 5911619"/>
              <a:gd name="connsiteX91" fmla="*/ 8344256 w 8636594"/>
              <a:gd name="connsiteY91" fmla="*/ 258685 h 5911619"/>
              <a:gd name="connsiteX92" fmla="*/ 8379669 w 8636594"/>
              <a:gd name="connsiteY92" fmla="*/ 225013 h 5911619"/>
              <a:gd name="connsiteX93" fmla="*/ 8415394 w 8636594"/>
              <a:gd name="connsiteY93" fmla="*/ 191709 h 5911619"/>
              <a:gd name="connsiteX94" fmla="*/ 8451434 w 8636594"/>
              <a:gd name="connsiteY94" fmla="*/ 158780 h 5911619"/>
              <a:gd name="connsiteX95" fmla="*/ 8487798 w 8636594"/>
              <a:gd name="connsiteY95" fmla="*/ 126233 h 5911619"/>
              <a:gd name="connsiteX96" fmla="*/ 8524489 w 8636594"/>
              <a:gd name="connsiteY96" fmla="*/ 94075 h 5911619"/>
              <a:gd name="connsiteX97" fmla="*/ 8561515 w 8636594"/>
              <a:gd name="connsiteY97" fmla="*/ 62312 h 5911619"/>
              <a:gd name="connsiteX98" fmla="*/ 8598881 w 8636594"/>
              <a:gd name="connsiteY98" fmla="*/ 30951 h 5911619"/>
              <a:gd name="connsiteX99" fmla="*/ 8636594 w 8636594"/>
              <a:gd name="connsiteY99" fmla="*/ 0 h 5911619"/>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073456 w 8636594"/>
              <a:gd name="connsiteY4" fmla="*/ 5861452 h 5886685"/>
              <a:gd name="connsiteX5" fmla="*/ 4110400 w 8636594"/>
              <a:gd name="connsiteY5" fmla="*/ 5835922 h 5886685"/>
              <a:gd name="connsiteX6" fmla="*/ 4146933 w 8636594"/>
              <a:gd name="connsiteY6" fmla="*/ 5810100 h 5886685"/>
              <a:gd name="connsiteX7" fmla="*/ 4183061 w 8636594"/>
              <a:gd name="connsiteY7" fmla="*/ 5783988 h 5886685"/>
              <a:gd name="connsiteX8" fmla="*/ 4218791 w 8636594"/>
              <a:gd name="connsiteY8" fmla="*/ 5757591 h 5886685"/>
              <a:gd name="connsiteX9" fmla="*/ 4254129 w 8636594"/>
              <a:gd name="connsiteY9" fmla="*/ 5730912 h 5886685"/>
              <a:gd name="connsiteX10" fmla="*/ 4289081 w 8636594"/>
              <a:gd name="connsiteY10" fmla="*/ 5703955 h 5886685"/>
              <a:gd name="connsiteX11" fmla="*/ 4323654 w 8636594"/>
              <a:gd name="connsiteY11" fmla="*/ 5676722 h 5886685"/>
              <a:gd name="connsiteX12" fmla="*/ 4357854 w 8636594"/>
              <a:gd name="connsiteY12" fmla="*/ 5649218 h 5886685"/>
              <a:gd name="connsiteX13" fmla="*/ 4391688 w 8636594"/>
              <a:gd name="connsiteY13" fmla="*/ 5621446 h 5886685"/>
              <a:gd name="connsiteX14" fmla="*/ 4425162 w 8636594"/>
              <a:gd name="connsiteY14" fmla="*/ 5593409 h 5886685"/>
              <a:gd name="connsiteX15" fmla="*/ 4458281 w 8636594"/>
              <a:gd name="connsiteY15" fmla="*/ 5565111 h 5886685"/>
              <a:gd name="connsiteX16" fmla="*/ 4491053 w 8636594"/>
              <a:gd name="connsiteY16" fmla="*/ 5536556 h 5886685"/>
              <a:gd name="connsiteX17" fmla="*/ 4523484 w 8636594"/>
              <a:gd name="connsiteY17" fmla="*/ 5507747 h 5886685"/>
              <a:gd name="connsiteX18" fmla="*/ 4555580 w 8636594"/>
              <a:gd name="connsiteY18" fmla="*/ 5478687 h 5886685"/>
              <a:gd name="connsiteX19" fmla="*/ 4587347 w 8636594"/>
              <a:gd name="connsiteY19" fmla="*/ 5449380 h 5886685"/>
              <a:gd name="connsiteX20" fmla="*/ 4618793 w 8636594"/>
              <a:gd name="connsiteY20" fmla="*/ 5419830 h 5886685"/>
              <a:gd name="connsiteX21" fmla="*/ 4649922 w 8636594"/>
              <a:gd name="connsiteY21" fmla="*/ 5390040 h 5886685"/>
              <a:gd name="connsiteX22" fmla="*/ 4680742 w 8636594"/>
              <a:gd name="connsiteY22" fmla="*/ 5360014 h 5886685"/>
              <a:gd name="connsiteX23" fmla="*/ 4711259 w 8636594"/>
              <a:gd name="connsiteY23" fmla="*/ 5329755 h 5886685"/>
              <a:gd name="connsiteX24" fmla="*/ 4741478 w 8636594"/>
              <a:gd name="connsiteY24" fmla="*/ 5299266 h 5886685"/>
              <a:gd name="connsiteX25" fmla="*/ 4771408 w 8636594"/>
              <a:gd name="connsiteY25" fmla="*/ 5268551 h 5886685"/>
              <a:gd name="connsiteX26" fmla="*/ 4801053 w 8636594"/>
              <a:gd name="connsiteY26" fmla="*/ 5237614 h 5886685"/>
              <a:gd name="connsiteX27" fmla="*/ 4830420 w 8636594"/>
              <a:gd name="connsiteY27" fmla="*/ 5206458 h 5886685"/>
              <a:gd name="connsiteX28" fmla="*/ 4859516 w 8636594"/>
              <a:gd name="connsiteY28" fmla="*/ 5175087 h 5886685"/>
              <a:gd name="connsiteX29" fmla="*/ 4888347 w 8636594"/>
              <a:gd name="connsiteY29" fmla="*/ 5143504 h 5886685"/>
              <a:gd name="connsiteX30" fmla="*/ 4916919 w 8636594"/>
              <a:gd name="connsiteY30" fmla="*/ 5111713 h 5886685"/>
              <a:gd name="connsiteX31" fmla="*/ 4945238 w 8636594"/>
              <a:gd name="connsiteY31" fmla="*/ 5079717 h 5886685"/>
              <a:gd name="connsiteX32" fmla="*/ 4973311 w 8636594"/>
              <a:gd name="connsiteY32" fmla="*/ 5047519 h 5886685"/>
              <a:gd name="connsiteX33" fmla="*/ 5001145 w 8636594"/>
              <a:gd name="connsiteY33" fmla="*/ 5015124 h 5886685"/>
              <a:gd name="connsiteX34" fmla="*/ 5028745 w 8636594"/>
              <a:gd name="connsiteY34" fmla="*/ 4982535 h 5886685"/>
              <a:gd name="connsiteX35" fmla="*/ 5056117 w 8636594"/>
              <a:gd name="connsiteY35" fmla="*/ 4949755 h 5886685"/>
              <a:gd name="connsiteX36" fmla="*/ 5083269 w 8636594"/>
              <a:gd name="connsiteY36" fmla="*/ 4916787 h 5886685"/>
              <a:gd name="connsiteX37" fmla="*/ 5110207 w 8636594"/>
              <a:gd name="connsiteY37" fmla="*/ 4883636 h 5886685"/>
              <a:gd name="connsiteX38" fmla="*/ 5136937 w 8636594"/>
              <a:gd name="connsiteY38" fmla="*/ 4850305 h 5886685"/>
              <a:gd name="connsiteX39" fmla="*/ 5163464 w 8636594"/>
              <a:gd name="connsiteY39" fmla="*/ 4816797 h 5886685"/>
              <a:gd name="connsiteX40" fmla="*/ 5215940 w 8636594"/>
              <a:gd name="connsiteY40" fmla="*/ 4749265 h 5886685"/>
              <a:gd name="connsiteX41" fmla="*/ 5267684 w 8636594"/>
              <a:gd name="connsiteY41" fmla="*/ 4681068 h 5886685"/>
              <a:gd name="connsiteX42" fmla="*/ 5318748 w 8636594"/>
              <a:gd name="connsiteY42" fmla="*/ 4612234 h 5886685"/>
              <a:gd name="connsiteX43" fmla="*/ 5369182 w 8636594"/>
              <a:gd name="connsiteY43" fmla="*/ 4542793 h 5886685"/>
              <a:gd name="connsiteX44" fmla="*/ 5419038 w 8636594"/>
              <a:gd name="connsiteY44" fmla="*/ 4472771 h 5886685"/>
              <a:gd name="connsiteX45" fmla="*/ 5468365 w 8636594"/>
              <a:gd name="connsiteY45" fmla="*/ 4402196 h 5886685"/>
              <a:gd name="connsiteX46" fmla="*/ 5517215 w 8636594"/>
              <a:gd name="connsiteY46" fmla="*/ 4331098 h 5886685"/>
              <a:gd name="connsiteX47" fmla="*/ 5565637 w 8636594"/>
              <a:gd name="connsiteY47" fmla="*/ 4259503 h 5886685"/>
              <a:gd name="connsiteX48" fmla="*/ 5613684 w 8636594"/>
              <a:gd name="connsiteY48" fmla="*/ 4187441 h 5886685"/>
              <a:gd name="connsiteX49" fmla="*/ 5685160 w 8636594"/>
              <a:gd name="connsiteY49" fmla="*/ 4078531 h 5886685"/>
              <a:gd name="connsiteX50" fmla="*/ 5756074 w 8636594"/>
              <a:gd name="connsiteY50" fmla="*/ 3968727 h 5886685"/>
              <a:gd name="connsiteX51" fmla="*/ 5873483 w 8636594"/>
              <a:gd name="connsiteY51" fmla="*/ 3783989 h 5886685"/>
              <a:gd name="connsiteX52" fmla="*/ 6203209 w 8636594"/>
              <a:gd name="connsiteY52" fmla="*/ 3258640 h 5886685"/>
              <a:gd name="connsiteX53" fmla="*/ 6299430 w 8636594"/>
              <a:gd name="connsiteY53" fmla="*/ 3107321 h 5886685"/>
              <a:gd name="connsiteX54" fmla="*/ 6372650 w 8636594"/>
              <a:gd name="connsiteY54" fmla="*/ 2993735 h 5886685"/>
              <a:gd name="connsiteX55" fmla="*/ 6453197 w 8636594"/>
              <a:gd name="connsiteY55" fmla="*/ 2869788 h 5886685"/>
              <a:gd name="connsiteX56" fmla="*/ 6564167 w 8636594"/>
              <a:gd name="connsiteY56" fmla="*/ 2696807 h 5886685"/>
              <a:gd name="connsiteX57" fmla="*/ 6976233 w 8636594"/>
              <a:gd name="connsiteY57" fmla="*/ 2045274 h 5886685"/>
              <a:gd name="connsiteX58" fmla="*/ 7086755 w 8636594"/>
              <a:gd name="connsiteY58" fmla="*/ 1872743 h 5886685"/>
              <a:gd name="connsiteX59" fmla="*/ 7170279 w 8636594"/>
              <a:gd name="connsiteY59" fmla="*/ 1744202 h 5886685"/>
              <a:gd name="connsiteX60" fmla="*/ 7226351 w 8636594"/>
              <a:gd name="connsiteY60" fmla="*/ 1659017 h 5886685"/>
              <a:gd name="connsiteX61" fmla="*/ 7282789 w 8636594"/>
              <a:gd name="connsiteY61" fmla="*/ 1574303 h 5886685"/>
              <a:gd name="connsiteX62" fmla="*/ 7339643 w 8636594"/>
              <a:gd name="connsiteY62" fmla="*/ 1490113 h 5886685"/>
              <a:gd name="connsiteX63" fmla="*/ 7396957 w 8636594"/>
              <a:gd name="connsiteY63" fmla="*/ 1406503 h 5886685"/>
              <a:gd name="connsiteX64" fmla="*/ 7454781 w 8636594"/>
              <a:gd name="connsiteY64" fmla="*/ 1323526 h 5886685"/>
              <a:gd name="connsiteX65" fmla="*/ 7513161 w 8636594"/>
              <a:gd name="connsiteY65" fmla="*/ 1241237 h 5886685"/>
              <a:gd name="connsiteX66" fmla="*/ 7572144 w 8636594"/>
              <a:gd name="connsiteY66" fmla="*/ 1159689 h 5886685"/>
              <a:gd name="connsiteX67" fmla="*/ 7601877 w 8636594"/>
              <a:gd name="connsiteY67" fmla="*/ 1119210 h 5886685"/>
              <a:gd name="connsiteX68" fmla="*/ 7631779 w 8636594"/>
              <a:gd name="connsiteY68" fmla="*/ 1078937 h 5886685"/>
              <a:gd name="connsiteX69" fmla="*/ 7661855 w 8636594"/>
              <a:gd name="connsiteY69" fmla="*/ 1038876 h 5886685"/>
              <a:gd name="connsiteX70" fmla="*/ 7692111 w 8636594"/>
              <a:gd name="connsiteY70" fmla="*/ 999035 h 5886685"/>
              <a:gd name="connsiteX71" fmla="*/ 7722554 w 8636594"/>
              <a:gd name="connsiteY71" fmla="*/ 959419 h 5886685"/>
              <a:gd name="connsiteX72" fmla="*/ 7753190 w 8636594"/>
              <a:gd name="connsiteY72" fmla="*/ 920037 h 5886685"/>
              <a:gd name="connsiteX73" fmla="*/ 7784023 w 8636594"/>
              <a:gd name="connsiteY73" fmla="*/ 880894 h 5886685"/>
              <a:gd name="connsiteX74" fmla="*/ 7815061 w 8636594"/>
              <a:gd name="connsiteY74" fmla="*/ 841997 h 5886685"/>
              <a:gd name="connsiteX75" fmla="*/ 7846308 w 8636594"/>
              <a:gd name="connsiteY75" fmla="*/ 803354 h 5886685"/>
              <a:gd name="connsiteX76" fmla="*/ 7877772 w 8636594"/>
              <a:gd name="connsiteY76" fmla="*/ 764970 h 5886685"/>
              <a:gd name="connsiteX77" fmla="*/ 7909458 w 8636594"/>
              <a:gd name="connsiteY77" fmla="*/ 726853 h 5886685"/>
              <a:gd name="connsiteX78" fmla="*/ 7941371 w 8636594"/>
              <a:gd name="connsiteY78" fmla="*/ 689010 h 5886685"/>
              <a:gd name="connsiteX79" fmla="*/ 7973518 w 8636594"/>
              <a:gd name="connsiteY79" fmla="*/ 651447 h 5886685"/>
              <a:gd name="connsiteX80" fmla="*/ 8005905 w 8636594"/>
              <a:gd name="connsiteY80" fmla="*/ 614171 h 5886685"/>
              <a:gd name="connsiteX81" fmla="*/ 8038538 w 8636594"/>
              <a:gd name="connsiteY81" fmla="*/ 577189 h 5886685"/>
              <a:gd name="connsiteX82" fmla="*/ 8071421 w 8636594"/>
              <a:gd name="connsiteY82" fmla="*/ 540507 h 5886685"/>
              <a:gd name="connsiteX83" fmla="*/ 8104563 w 8636594"/>
              <a:gd name="connsiteY83" fmla="*/ 504132 h 5886685"/>
              <a:gd name="connsiteX84" fmla="*/ 8137967 w 8636594"/>
              <a:gd name="connsiteY84" fmla="*/ 468072 h 5886685"/>
              <a:gd name="connsiteX85" fmla="*/ 8171641 w 8636594"/>
              <a:gd name="connsiteY85" fmla="*/ 432332 h 5886685"/>
              <a:gd name="connsiteX86" fmla="*/ 8205590 w 8636594"/>
              <a:gd name="connsiteY86" fmla="*/ 396920 h 5886685"/>
              <a:gd name="connsiteX87" fmla="*/ 8239820 w 8636594"/>
              <a:gd name="connsiteY87" fmla="*/ 361843 h 5886685"/>
              <a:gd name="connsiteX88" fmla="*/ 8274337 w 8636594"/>
              <a:gd name="connsiteY88" fmla="*/ 327107 h 5886685"/>
              <a:gd name="connsiteX89" fmla="*/ 8309147 w 8636594"/>
              <a:gd name="connsiteY89" fmla="*/ 292718 h 5886685"/>
              <a:gd name="connsiteX90" fmla="*/ 8344256 w 8636594"/>
              <a:gd name="connsiteY90" fmla="*/ 258685 h 5886685"/>
              <a:gd name="connsiteX91" fmla="*/ 8379669 w 8636594"/>
              <a:gd name="connsiteY91" fmla="*/ 225013 h 5886685"/>
              <a:gd name="connsiteX92" fmla="*/ 8415394 w 8636594"/>
              <a:gd name="connsiteY92" fmla="*/ 191709 h 5886685"/>
              <a:gd name="connsiteX93" fmla="*/ 8451434 w 8636594"/>
              <a:gd name="connsiteY93" fmla="*/ 158780 h 5886685"/>
              <a:gd name="connsiteX94" fmla="*/ 8487798 w 8636594"/>
              <a:gd name="connsiteY94" fmla="*/ 126233 h 5886685"/>
              <a:gd name="connsiteX95" fmla="*/ 8524489 w 8636594"/>
              <a:gd name="connsiteY95" fmla="*/ 94075 h 5886685"/>
              <a:gd name="connsiteX96" fmla="*/ 8561515 w 8636594"/>
              <a:gd name="connsiteY96" fmla="*/ 62312 h 5886685"/>
              <a:gd name="connsiteX97" fmla="*/ 8598881 w 8636594"/>
              <a:gd name="connsiteY97" fmla="*/ 30951 h 5886685"/>
              <a:gd name="connsiteX98" fmla="*/ 8636594 w 8636594"/>
              <a:gd name="connsiteY98" fmla="*/ 0 h 5886685"/>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110400 w 8636594"/>
              <a:gd name="connsiteY4" fmla="*/ 5835922 h 5886685"/>
              <a:gd name="connsiteX5" fmla="*/ 4146933 w 8636594"/>
              <a:gd name="connsiteY5" fmla="*/ 5810100 h 5886685"/>
              <a:gd name="connsiteX6" fmla="*/ 4183061 w 8636594"/>
              <a:gd name="connsiteY6" fmla="*/ 5783988 h 5886685"/>
              <a:gd name="connsiteX7" fmla="*/ 4218791 w 8636594"/>
              <a:gd name="connsiteY7" fmla="*/ 5757591 h 5886685"/>
              <a:gd name="connsiteX8" fmla="*/ 4254129 w 8636594"/>
              <a:gd name="connsiteY8" fmla="*/ 5730912 h 5886685"/>
              <a:gd name="connsiteX9" fmla="*/ 4289081 w 8636594"/>
              <a:gd name="connsiteY9" fmla="*/ 5703955 h 5886685"/>
              <a:gd name="connsiteX10" fmla="*/ 4323654 w 8636594"/>
              <a:gd name="connsiteY10" fmla="*/ 5676722 h 5886685"/>
              <a:gd name="connsiteX11" fmla="*/ 4357854 w 8636594"/>
              <a:gd name="connsiteY11" fmla="*/ 5649218 h 5886685"/>
              <a:gd name="connsiteX12" fmla="*/ 4391688 w 8636594"/>
              <a:gd name="connsiteY12" fmla="*/ 5621446 h 5886685"/>
              <a:gd name="connsiteX13" fmla="*/ 4425162 w 8636594"/>
              <a:gd name="connsiteY13" fmla="*/ 5593409 h 5886685"/>
              <a:gd name="connsiteX14" fmla="*/ 4458281 w 8636594"/>
              <a:gd name="connsiteY14" fmla="*/ 5565111 h 5886685"/>
              <a:gd name="connsiteX15" fmla="*/ 4491053 w 8636594"/>
              <a:gd name="connsiteY15" fmla="*/ 5536556 h 5886685"/>
              <a:gd name="connsiteX16" fmla="*/ 4523484 w 8636594"/>
              <a:gd name="connsiteY16" fmla="*/ 5507747 h 5886685"/>
              <a:gd name="connsiteX17" fmla="*/ 4555580 w 8636594"/>
              <a:gd name="connsiteY17" fmla="*/ 5478687 h 5886685"/>
              <a:gd name="connsiteX18" fmla="*/ 4587347 w 8636594"/>
              <a:gd name="connsiteY18" fmla="*/ 5449380 h 5886685"/>
              <a:gd name="connsiteX19" fmla="*/ 4618793 w 8636594"/>
              <a:gd name="connsiteY19" fmla="*/ 5419830 h 5886685"/>
              <a:gd name="connsiteX20" fmla="*/ 4649922 w 8636594"/>
              <a:gd name="connsiteY20" fmla="*/ 5390040 h 5886685"/>
              <a:gd name="connsiteX21" fmla="*/ 4680742 w 8636594"/>
              <a:gd name="connsiteY21" fmla="*/ 5360014 h 5886685"/>
              <a:gd name="connsiteX22" fmla="*/ 4711259 w 8636594"/>
              <a:gd name="connsiteY22" fmla="*/ 5329755 h 5886685"/>
              <a:gd name="connsiteX23" fmla="*/ 4741478 w 8636594"/>
              <a:gd name="connsiteY23" fmla="*/ 5299266 h 5886685"/>
              <a:gd name="connsiteX24" fmla="*/ 4771408 w 8636594"/>
              <a:gd name="connsiteY24" fmla="*/ 5268551 h 5886685"/>
              <a:gd name="connsiteX25" fmla="*/ 4801053 w 8636594"/>
              <a:gd name="connsiteY25" fmla="*/ 5237614 h 5886685"/>
              <a:gd name="connsiteX26" fmla="*/ 4830420 w 8636594"/>
              <a:gd name="connsiteY26" fmla="*/ 5206458 h 5886685"/>
              <a:gd name="connsiteX27" fmla="*/ 4859516 w 8636594"/>
              <a:gd name="connsiteY27" fmla="*/ 5175087 h 5886685"/>
              <a:gd name="connsiteX28" fmla="*/ 4888347 w 8636594"/>
              <a:gd name="connsiteY28" fmla="*/ 5143504 h 5886685"/>
              <a:gd name="connsiteX29" fmla="*/ 4916919 w 8636594"/>
              <a:gd name="connsiteY29" fmla="*/ 5111713 h 5886685"/>
              <a:gd name="connsiteX30" fmla="*/ 4945238 w 8636594"/>
              <a:gd name="connsiteY30" fmla="*/ 5079717 h 5886685"/>
              <a:gd name="connsiteX31" fmla="*/ 4973311 w 8636594"/>
              <a:gd name="connsiteY31" fmla="*/ 5047519 h 5886685"/>
              <a:gd name="connsiteX32" fmla="*/ 5001145 w 8636594"/>
              <a:gd name="connsiteY32" fmla="*/ 5015124 h 5886685"/>
              <a:gd name="connsiteX33" fmla="*/ 5028745 w 8636594"/>
              <a:gd name="connsiteY33" fmla="*/ 4982535 h 5886685"/>
              <a:gd name="connsiteX34" fmla="*/ 5056117 w 8636594"/>
              <a:gd name="connsiteY34" fmla="*/ 4949755 h 5886685"/>
              <a:gd name="connsiteX35" fmla="*/ 5083269 w 8636594"/>
              <a:gd name="connsiteY35" fmla="*/ 4916787 h 5886685"/>
              <a:gd name="connsiteX36" fmla="*/ 5110207 w 8636594"/>
              <a:gd name="connsiteY36" fmla="*/ 4883636 h 5886685"/>
              <a:gd name="connsiteX37" fmla="*/ 5136937 w 8636594"/>
              <a:gd name="connsiteY37" fmla="*/ 4850305 h 5886685"/>
              <a:gd name="connsiteX38" fmla="*/ 5163464 w 8636594"/>
              <a:gd name="connsiteY38" fmla="*/ 4816797 h 5886685"/>
              <a:gd name="connsiteX39" fmla="*/ 5215940 w 8636594"/>
              <a:gd name="connsiteY39" fmla="*/ 4749265 h 5886685"/>
              <a:gd name="connsiteX40" fmla="*/ 5267684 w 8636594"/>
              <a:gd name="connsiteY40" fmla="*/ 4681068 h 5886685"/>
              <a:gd name="connsiteX41" fmla="*/ 5318748 w 8636594"/>
              <a:gd name="connsiteY41" fmla="*/ 4612234 h 5886685"/>
              <a:gd name="connsiteX42" fmla="*/ 5369182 w 8636594"/>
              <a:gd name="connsiteY42" fmla="*/ 4542793 h 5886685"/>
              <a:gd name="connsiteX43" fmla="*/ 5419038 w 8636594"/>
              <a:gd name="connsiteY43" fmla="*/ 4472771 h 5886685"/>
              <a:gd name="connsiteX44" fmla="*/ 5468365 w 8636594"/>
              <a:gd name="connsiteY44" fmla="*/ 4402196 h 5886685"/>
              <a:gd name="connsiteX45" fmla="*/ 5517215 w 8636594"/>
              <a:gd name="connsiteY45" fmla="*/ 4331098 h 5886685"/>
              <a:gd name="connsiteX46" fmla="*/ 5565637 w 8636594"/>
              <a:gd name="connsiteY46" fmla="*/ 4259503 h 5886685"/>
              <a:gd name="connsiteX47" fmla="*/ 5613684 w 8636594"/>
              <a:gd name="connsiteY47" fmla="*/ 4187441 h 5886685"/>
              <a:gd name="connsiteX48" fmla="*/ 5685160 w 8636594"/>
              <a:gd name="connsiteY48" fmla="*/ 4078531 h 5886685"/>
              <a:gd name="connsiteX49" fmla="*/ 5756074 w 8636594"/>
              <a:gd name="connsiteY49" fmla="*/ 3968727 h 5886685"/>
              <a:gd name="connsiteX50" fmla="*/ 5873483 w 8636594"/>
              <a:gd name="connsiteY50" fmla="*/ 3783989 h 5886685"/>
              <a:gd name="connsiteX51" fmla="*/ 6203209 w 8636594"/>
              <a:gd name="connsiteY51" fmla="*/ 3258640 h 5886685"/>
              <a:gd name="connsiteX52" fmla="*/ 6299430 w 8636594"/>
              <a:gd name="connsiteY52" fmla="*/ 3107321 h 5886685"/>
              <a:gd name="connsiteX53" fmla="*/ 6372650 w 8636594"/>
              <a:gd name="connsiteY53" fmla="*/ 2993735 h 5886685"/>
              <a:gd name="connsiteX54" fmla="*/ 6453197 w 8636594"/>
              <a:gd name="connsiteY54" fmla="*/ 2869788 h 5886685"/>
              <a:gd name="connsiteX55" fmla="*/ 6564167 w 8636594"/>
              <a:gd name="connsiteY55" fmla="*/ 2696807 h 5886685"/>
              <a:gd name="connsiteX56" fmla="*/ 6976233 w 8636594"/>
              <a:gd name="connsiteY56" fmla="*/ 2045274 h 5886685"/>
              <a:gd name="connsiteX57" fmla="*/ 7086755 w 8636594"/>
              <a:gd name="connsiteY57" fmla="*/ 1872743 h 5886685"/>
              <a:gd name="connsiteX58" fmla="*/ 7170279 w 8636594"/>
              <a:gd name="connsiteY58" fmla="*/ 1744202 h 5886685"/>
              <a:gd name="connsiteX59" fmla="*/ 7226351 w 8636594"/>
              <a:gd name="connsiteY59" fmla="*/ 1659017 h 5886685"/>
              <a:gd name="connsiteX60" fmla="*/ 7282789 w 8636594"/>
              <a:gd name="connsiteY60" fmla="*/ 1574303 h 5886685"/>
              <a:gd name="connsiteX61" fmla="*/ 7339643 w 8636594"/>
              <a:gd name="connsiteY61" fmla="*/ 1490113 h 5886685"/>
              <a:gd name="connsiteX62" fmla="*/ 7396957 w 8636594"/>
              <a:gd name="connsiteY62" fmla="*/ 1406503 h 5886685"/>
              <a:gd name="connsiteX63" fmla="*/ 7454781 w 8636594"/>
              <a:gd name="connsiteY63" fmla="*/ 1323526 h 5886685"/>
              <a:gd name="connsiteX64" fmla="*/ 7513161 w 8636594"/>
              <a:gd name="connsiteY64" fmla="*/ 1241237 h 5886685"/>
              <a:gd name="connsiteX65" fmla="*/ 7572144 w 8636594"/>
              <a:gd name="connsiteY65" fmla="*/ 1159689 h 5886685"/>
              <a:gd name="connsiteX66" fmla="*/ 7601877 w 8636594"/>
              <a:gd name="connsiteY66" fmla="*/ 1119210 h 5886685"/>
              <a:gd name="connsiteX67" fmla="*/ 7631779 w 8636594"/>
              <a:gd name="connsiteY67" fmla="*/ 1078937 h 5886685"/>
              <a:gd name="connsiteX68" fmla="*/ 7661855 w 8636594"/>
              <a:gd name="connsiteY68" fmla="*/ 1038876 h 5886685"/>
              <a:gd name="connsiteX69" fmla="*/ 7692111 w 8636594"/>
              <a:gd name="connsiteY69" fmla="*/ 999035 h 5886685"/>
              <a:gd name="connsiteX70" fmla="*/ 7722554 w 8636594"/>
              <a:gd name="connsiteY70" fmla="*/ 959419 h 5886685"/>
              <a:gd name="connsiteX71" fmla="*/ 7753190 w 8636594"/>
              <a:gd name="connsiteY71" fmla="*/ 920037 h 5886685"/>
              <a:gd name="connsiteX72" fmla="*/ 7784023 w 8636594"/>
              <a:gd name="connsiteY72" fmla="*/ 880894 h 5886685"/>
              <a:gd name="connsiteX73" fmla="*/ 7815061 w 8636594"/>
              <a:gd name="connsiteY73" fmla="*/ 841997 h 5886685"/>
              <a:gd name="connsiteX74" fmla="*/ 7846308 w 8636594"/>
              <a:gd name="connsiteY74" fmla="*/ 803354 h 5886685"/>
              <a:gd name="connsiteX75" fmla="*/ 7877772 w 8636594"/>
              <a:gd name="connsiteY75" fmla="*/ 764970 h 5886685"/>
              <a:gd name="connsiteX76" fmla="*/ 7909458 w 8636594"/>
              <a:gd name="connsiteY76" fmla="*/ 726853 h 5886685"/>
              <a:gd name="connsiteX77" fmla="*/ 7941371 w 8636594"/>
              <a:gd name="connsiteY77" fmla="*/ 689010 h 5886685"/>
              <a:gd name="connsiteX78" fmla="*/ 7973518 w 8636594"/>
              <a:gd name="connsiteY78" fmla="*/ 651447 h 5886685"/>
              <a:gd name="connsiteX79" fmla="*/ 8005905 w 8636594"/>
              <a:gd name="connsiteY79" fmla="*/ 614171 h 5886685"/>
              <a:gd name="connsiteX80" fmla="*/ 8038538 w 8636594"/>
              <a:gd name="connsiteY80" fmla="*/ 577189 h 5886685"/>
              <a:gd name="connsiteX81" fmla="*/ 8071421 w 8636594"/>
              <a:gd name="connsiteY81" fmla="*/ 540507 h 5886685"/>
              <a:gd name="connsiteX82" fmla="*/ 8104563 w 8636594"/>
              <a:gd name="connsiteY82" fmla="*/ 504132 h 5886685"/>
              <a:gd name="connsiteX83" fmla="*/ 8137967 w 8636594"/>
              <a:gd name="connsiteY83" fmla="*/ 468072 h 5886685"/>
              <a:gd name="connsiteX84" fmla="*/ 8171641 w 8636594"/>
              <a:gd name="connsiteY84" fmla="*/ 432332 h 5886685"/>
              <a:gd name="connsiteX85" fmla="*/ 8205590 w 8636594"/>
              <a:gd name="connsiteY85" fmla="*/ 396920 h 5886685"/>
              <a:gd name="connsiteX86" fmla="*/ 8239820 w 8636594"/>
              <a:gd name="connsiteY86" fmla="*/ 361843 h 5886685"/>
              <a:gd name="connsiteX87" fmla="*/ 8274337 w 8636594"/>
              <a:gd name="connsiteY87" fmla="*/ 327107 h 5886685"/>
              <a:gd name="connsiteX88" fmla="*/ 8309147 w 8636594"/>
              <a:gd name="connsiteY88" fmla="*/ 292718 h 5886685"/>
              <a:gd name="connsiteX89" fmla="*/ 8344256 w 8636594"/>
              <a:gd name="connsiteY89" fmla="*/ 258685 h 5886685"/>
              <a:gd name="connsiteX90" fmla="*/ 8379669 w 8636594"/>
              <a:gd name="connsiteY90" fmla="*/ 225013 h 5886685"/>
              <a:gd name="connsiteX91" fmla="*/ 8415394 w 8636594"/>
              <a:gd name="connsiteY91" fmla="*/ 191709 h 5886685"/>
              <a:gd name="connsiteX92" fmla="*/ 8451434 w 8636594"/>
              <a:gd name="connsiteY92" fmla="*/ 158780 h 5886685"/>
              <a:gd name="connsiteX93" fmla="*/ 8487798 w 8636594"/>
              <a:gd name="connsiteY93" fmla="*/ 126233 h 5886685"/>
              <a:gd name="connsiteX94" fmla="*/ 8524489 w 8636594"/>
              <a:gd name="connsiteY94" fmla="*/ 94075 h 5886685"/>
              <a:gd name="connsiteX95" fmla="*/ 8561515 w 8636594"/>
              <a:gd name="connsiteY95" fmla="*/ 62312 h 5886685"/>
              <a:gd name="connsiteX96" fmla="*/ 8598881 w 8636594"/>
              <a:gd name="connsiteY96" fmla="*/ 30951 h 5886685"/>
              <a:gd name="connsiteX97" fmla="*/ 8636594 w 8636594"/>
              <a:gd name="connsiteY97" fmla="*/ 0 h 5886685"/>
              <a:gd name="connsiteX0" fmla="*/ 8636594 w 8636594"/>
              <a:gd name="connsiteY0" fmla="*/ 0 h 5835922"/>
              <a:gd name="connsiteX1" fmla="*/ 5293 w 8636594"/>
              <a:gd name="connsiteY1" fmla="*/ 0 h 5835922"/>
              <a:gd name="connsiteX2" fmla="*/ 0 w 8636594"/>
              <a:gd name="connsiteY2" fmla="*/ 5587843 h 5835922"/>
              <a:gd name="connsiteX3" fmla="*/ 4110400 w 8636594"/>
              <a:gd name="connsiteY3" fmla="*/ 5835922 h 5835922"/>
              <a:gd name="connsiteX4" fmla="*/ 4146933 w 8636594"/>
              <a:gd name="connsiteY4" fmla="*/ 5810100 h 5835922"/>
              <a:gd name="connsiteX5" fmla="*/ 4183061 w 8636594"/>
              <a:gd name="connsiteY5" fmla="*/ 5783988 h 5835922"/>
              <a:gd name="connsiteX6" fmla="*/ 4218791 w 8636594"/>
              <a:gd name="connsiteY6" fmla="*/ 5757591 h 5835922"/>
              <a:gd name="connsiteX7" fmla="*/ 4254129 w 8636594"/>
              <a:gd name="connsiteY7" fmla="*/ 5730912 h 5835922"/>
              <a:gd name="connsiteX8" fmla="*/ 4289081 w 8636594"/>
              <a:gd name="connsiteY8" fmla="*/ 5703955 h 5835922"/>
              <a:gd name="connsiteX9" fmla="*/ 4323654 w 8636594"/>
              <a:gd name="connsiteY9" fmla="*/ 5676722 h 5835922"/>
              <a:gd name="connsiteX10" fmla="*/ 4357854 w 8636594"/>
              <a:gd name="connsiteY10" fmla="*/ 5649218 h 5835922"/>
              <a:gd name="connsiteX11" fmla="*/ 4391688 w 8636594"/>
              <a:gd name="connsiteY11" fmla="*/ 5621446 h 5835922"/>
              <a:gd name="connsiteX12" fmla="*/ 4425162 w 8636594"/>
              <a:gd name="connsiteY12" fmla="*/ 5593409 h 5835922"/>
              <a:gd name="connsiteX13" fmla="*/ 4458281 w 8636594"/>
              <a:gd name="connsiteY13" fmla="*/ 5565111 h 5835922"/>
              <a:gd name="connsiteX14" fmla="*/ 4491053 w 8636594"/>
              <a:gd name="connsiteY14" fmla="*/ 5536556 h 5835922"/>
              <a:gd name="connsiteX15" fmla="*/ 4523484 w 8636594"/>
              <a:gd name="connsiteY15" fmla="*/ 5507747 h 5835922"/>
              <a:gd name="connsiteX16" fmla="*/ 4555580 w 8636594"/>
              <a:gd name="connsiteY16" fmla="*/ 5478687 h 5835922"/>
              <a:gd name="connsiteX17" fmla="*/ 4587347 w 8636594"/>
              <a:gd name="connsiteY17" fmla="*/ 5449380 h 5835922"/>
              <a:gd name="connsiteX18" fmla="*/ 4618793 w 8636594"/>
              <a:gd name="connsiteY18" fmla="*/ 5419830 h 5835922"/>
              <a:gd name="connsiteX19" fmla="*/ 4649922 w 8636594"/>
              <a:gd name="connsiteY19" fmla="*/ 5390040 h 5835922"/>
              <a:gd name="connsiteX20" fmla="*/ 4680742 w 8636594"/>
              <a:gd name="connsiteY20" fmla="*/ 5360014 h 5835922"/>
              <a:gd name="connsiteX21" fmla="*/ 4711259 w 8636594"/>
              <a:gd name="connsiteY21" fmla="*/ 5329755 h 5835922"/>
              <a:gd name="connsiteX22" fmla="*/ 4741478 w 8636594"/>
              <a:gd name="connsiteY22" fmla="*/ 5299266 h 5835922"/>
              <a:gd name="connsiteX23" fmla="*/ 4771408 w 8636594"/>
              <a:gd name="connsiteY23" fmla="*/ 5268551 h 5835922"/>
              <a:gd name="connsiteX24" fmla="*/ 4801053 w 8636594"/>
              <a:gd name="connsiteY24" fmla="*/ 5237614 h 5835922"/>
              <a:gd name="connsiteX25" fmla="*/ 4830420 w 8636594"/>
              <a:gd name="connsiteY25" fmla="*/ 5206458 h 5835922"/>
              <a:gd name="connsiteX26" fmla="*/ 4859516 w 8636594"/>
              <a:gd name="connsiteY26" fmla="*/ 5175087 h 5835922"/>
              <a:gd name="connsiteX27" fmla="*/ 4888347 w 8636594"/>
              <a:gd name="connsiteY27" fmla="*/ 5143504 h 5835922"/>
              <a:gd name="connsiteX28" fmla="*/ 4916919 w 8636594"/>
              <a:gd name="connsiteY28" fmla="*/ 5111713 h 5835922"/>
              <a:gd name="connsiteX29" fmla="*/ 4945238 w 8636594"/>
              <a:gd name="connsiteY29" fmla="*/ 5079717 h 5835922"/>
              <a:gd name="connsiteX30" fmla="*/ 4973311 w 8636594"/>
              <a:gd name="connsiteY30" fmla="*/ 5047519 h 5835922"/>
              <a:gd name="connsiteX31" fmla="*/ 5001145 w 8636594"/>
              <a:gd name="connsiteY31" fmla="*/ 5015124 h 5835922"/>
              <a:gd name="connsiteX32" fmla="*/ 5028745 w 8636594"/>
              <a:gd name="connsiteY32" fmla="*/ 4982535 h 5835922"/>
              <a:gd name="connsiteX33" fmla="*/ 5056117 w 8636594"/>
              <a:gd name="connsiteY33" fmla="*/ 4949755 h 5835922"/>
              <a:gd name="connsiteX34" fmla="*/ 5083269 w 8636594"/>
              <a:gd name="connsiteY34" fmla="*/ 4916787 h 5835922"/>
              <a:gd name="connsiteX35" fmla="*/ 5110207 w 8636594"/>
              <a:gd name="connsiteY35" fmla="*/ 4883636 h 5835922"/>
              <a:gd name="connsiteX36" fmla="*/ 5136937 w 8636594"/>
              <a:gd name="connsiteY36" fmla="*/ 4850305 h 5835922"/>
              <a:gd name="connsiteX37" fmla="*/ 5163464 w 8636594"/>
              <a:gd name="connsiteY37" fmla="*/ 4816797 h 5835922"/>
              <a:gd name="connsiteX38" fmla="*/ 5215940 w 8636594"/>
              <a:gd name="connsiteY38" fmla="*/ 4749265 h 5835922"/>
              <a:gd name="connsiteX39" fmla="*/ 5267684 w 8636594"/>
              <a:gd name="connsiteY39" fmla="*/ 4681068 h 5835922"/>
              <a:gd name="connsiteX40" fmla="*/ 5318748 w 8636594"/>
              <a:gd name="connsiteY40" fmla="*/ 4612234 h 5835922"/>
              <a:gd name="connsiteX41" fmla="*/ 5369182 w 8636594"/>
              <a:gd name="connsiteY41" fmla="*/ 4542793 h 5835922"/>
              <a:gd name="connsiteX42" fmla="*/ 5419038 w 8636594"/>
              <a:gd name="connsiteY42" fmla="*/ 4472771 h 5835922"/>
              <a:gd name="connsiteX43" fmla="*/ 5468365 w 8636594"/>
              <a:gd name="connsiteY43" fmla="*/ 4402196 h 5835922"/>
              <a:gd name="connsiteX44" fmla="*/ 5517215 w 8636594"/>
              <a:gd name="connsiteY44" fmla="*/ 4331098 h 5835922"/>
              <a:gd name="connsiteX45" fmla="*/ 5565637 w 8636594"/>
              <a:gd name="connsiteY45" fmla="*/ 4259503 h 5835922"/>
              <a:gd name="connsiteX46" fmla="*/ 5613684 w 8636594"/>
              <a:gd name="connsiteY46" fmla="*/ 4187441 h 5835922"/>
              <a:gd name="connsiteX47" fmla="*/ 5685160 w 8636594"/>
              <a:gd name="connsiteY47" fmla="*/ 4078531 h 5835922"/>
              <a:gd name="connsiteX48" fmla="*/ 5756074 w 8636594"/>
              <a:gd name="connsiteY48" fmla="*/ 3968727 h 5835922"/>
              <a:gd name="connsiteX49" fmla="*/ 5873483 w 8636594"/>
              <a:gd name="connsiteY49" fmla="*/ 3783989 h 5835922"/>
              <a:gd name="connsiteX50" fmla="*/ 6203209 w 8636594"/>
              <a:gd name="connsiteY50" fmla="*/ 3258640 h 5835922"/>
              <a:gd name="connsiteX51" fmla="*/ 6299430 w 8636594"/>
              <a:gd name="connsiteY51" fmla="*/ 3107321 h 5835922"/>
              <a:gd name="connsiteX52" fmla="*/ 6372650 w 8636594"/>
              <a:gd name="connsiteY52" fmla="*/ 2993735 h 5835922"/>
              <a:gd name="connsiteX53" fmla="*/ 6453197 w 8636594"/>
              <a:gd name="connsiteY53" fmla="*/ 2869788 h 5835922"/>
              <a:gd name="connsiteX54" fmla="*/ 6564167 w 8636594"/>
              <a:gd name="connsiteY54" fmla="*/ 2696807 h 5835922"/>
              <a:gd name="connsiteX55" fmla="*/ 6976233 w 8636594"/>
              <a:gd name="connsiteY55" fmla="*/ 2045274 h 5835922"/>
              <a:gd name="connsiteX56" fmla="*/ 7086755 w 8636594"/>
              <a:gd name="connsiteY56" fmla="*/ 1872743 h 5835922"/>
              <a:gd name="connsiteX57" fmla="*/ 7170279 w 8636594"/>
              <a:gd name="connsiteY57" fmla="*/ 1744202 h 5835922"/>
              <a:gd name="connsiteX58" fmla="*/ 7226351 w 8636594"/>
              <a:gd name="connsiteY58" fmla="*/ 1659017 h 5835922"/>
              <a:gd name="connsiteX59" fmla="*/ 7282789 w 8636594"/>
              <a:gd name="connsiteY59" fmla="*/ 1574303 h 5835922"/>
              <a:gd name="connsiteX60" fmla="*/ 7339643 w 8636594"/>
              <a:gd name="connsiteY60" fmla="*/ 1490113 h 5835922"/>
              <a:gd name="connsiteX61" fmla="*/ 7396957 w 8636594"/>
              <a:gd name="connsiteY61" fmla="*/ 1406503 h 5835922"/>
              <a:gd name="connsiteX62" fmla="*/ 7454781 w 8636594"/>
              <a:gd name="connsiteY62" fmla="*/ 1323526 h 5835922"/>
              <a:gd name="connsiteX63" fmla="*/ 7513161 w 8636594"/>
              <a:gd name="connsiteY63" fmla="*/ 1241237 h 5835922"/>
              <a:gd name="connsiteX64" fmla="*/ 7572144 w 8636594"/>
              <a:gd name="connsiteY64" fmla="*/ 1159689 h 5835922"/>
              <a:gd name="connsiteX65" fmla="*/ 7601877 w 8636594"/>
              <a:gd name="connsiteY65" fmla="*/ 1119210 h 5835922"/>
              <a:gd name="connsiteX66" fmla="*/ 7631779 w 8636594"/>
              <a:gd name="connsiteY66" fmla="*/ 1078937 h 5835922"/>
              <a:gd name="connsiteX67" fmla="*/ 7661855 w 8636594"/>
              <a:gd name="connsiteY67" fmla="*/ 1038876 h 5835922"/>
              <a:gd name="connsiteX68" fmla="*/ 7692111 w 8636594"/>
              <a:gd name="connsiteY68" fmla="*/ 999035 h 5835922"/>
              <a:gd name="connsiteX69" fmla="*/ 7722554 w 8636594"/>
              <a:gd name="connsiteY69" fmla="*/ 959419 h 5835922"/>
              <a:gd name="connsiteX70" fmla="*/ 7753190 w 8636594"/>
              <a:gd name="connsiteY70" fmla="*/ 920037 h 5835922"/>
              <a:gd name="connsiteX71" fmla="*/ 7784023 w 8636594"/>
              <a:gd name="connsiteY71" fmla="*/ 880894 h 5835922"/>
              <a:gd name="connsiteX72" fmla="*/ 7815061 w 8636594"/>
              <a:gd name="connsiteY72" fmla="*/ 841997 h 5835922"/>
              <a:gd name="connsiteX73" fmla="*/ 7846308 w 8636594"/>
              <a:gd name="connsiteY73" fmla="*/ 803354 h 5835922"/>
              <a:gd name="connsiteX74" fmla="*/ 7877772 w 8636594"/>
              <a:gd name="connsiteY74" fmla="*/ 764970 h 5835922"/>
              <a:gd name="connsiteX75" fmla="*/ 7909458 w 8636594"/>
              <a:gd name="connsiteY75" fmla="*/ 726853 h 5835922"/>
              <a:gd name="connsiteX76" fmla="*/ 7941371 w 8636594"/>
              <a:gd name="connsiteY76" fmla="*/ 689010 h 5835922"/>
              <a:gd name="connsiteX77" fmla="*/ 7973518 w 8636594"/>
              <a:gd name="connsiteY77" fmla="*/ 651447 h 5835922"/>
              <a:gd name="connsiteX78" fmla="*/ 8005905 w 8636594"/>
              <a:gd name="connsiteY78" fmla="*/ 614171 h 5835922"/>
              <a:gd name="connsiteX79" fmla="*/ 8038538 w 8636594"/>
              <a:gd name="connsiteY79" fmla="*/ 577189 h 5835922"/>
              <a:gd name="connsiteX80" fmla="*/ 8071421 w 8636594"/>
              <a:gd name="connsiteY80" fmla="*/ 540507 h 5835922"/>
              <a:gd name="connsiteX81" fmla="*/ 8104563 w 8636594"/>
              <a:gd name="connsiteY81" fmla="*/ 504132 h 5835922"/>
              <a:gd name="connsiteX82" fmla="*/ 8137967 w 8636594"/>
              <a:gd name="connsiteY82" fmla="*/ 468072 h 5835922"/>
              <a:gd name="connsiteX83" fmla="*/ 8171641 w 8636594"/>
              <a:gd name="connsiteY83" fmla="*/ 432332 h 5835922"/>
              <a:gd name="connsiteX84" fmla="*/ 8205590 w 8636594"/>
              <a:gd name="connsiteY84" fmla="*/ 396920 h 5835922"/>
              <a:gd name="connsiteX85" fmla="*/ 8239820 w 8636594"/>
              <a:gd name="connsiteY85" fmla="*/ 361843 h 5835922"/>
              <a:gd name="connsiteX86" fmla="*/ 8274337 w 8636594"/>
              <a:gd name="connsiteY86" fmla="*/ 327107 h 5835922"/>
              <a:gd name="connsiteX87" fmla="*/ 8309147 w 8636594"/>
              <a:gd name="connsiteY87" fmla="*/ 292718 h 5835922"/>
              <a:gd name="connsiteX88" fmla="*/ 8344256 w 8636594"/>
              <a:gd name="connsiteY88" fmla="*/ 258685 h 5835922"/>
              <a:gd name="connsiteX89" fmla="*/ 8379669 w 8636594"/>
              <a:gd name="connsiteY89" fmla="*/ 225013 h 5835922"/>
              <a:gd name="connsiteX90" fmla="*/ 8415394 w 8636594"/>
              <a:gd name="connsiteY90" fmla="*/ 191709 h 5835922"/>
              <a:gd name="connsiteX91" fmla="*/ 8451434 w 8636594"/>
              <a:gd name="connsiteY91" fmla="*/ 158780 h 5835922"/>
              <a:gd name="connsiteX92" fmla="*/ 8487798 w 8636594"/>
              <a:gd name="connsiteY92" fmla="*/ 126233 h 5835922"/>
              <a:gd name="connsiteX93" fmla="*/ 8524489 w 8636594"/>
              <a:gd name="connsiteY93" fmla="*/ 94075 h 5835922"/>
              <a:gd name="connsiteX94" fmla="*/ 8561515 w 8636594"/>
              <a:gd name="connsiteY94" fmla="*/ 62312 h 5835922"/>
              <a:gd name="connsiteX95" fmla="*/ 8598881 w 8636594"/>
              <a:gd name="connsiteY95" fmla="*/ 30951 h 5835922"/>
              <a:gd name="connsiteX96" fmla="*/ 8636594 w 8636594"/>
              <a:gd name="connsiteY96" fmla="*/ 0 h 5835922"/>
              <a:gd name="connsiteX0" fmla="*/ 8636594 w 8636594"/>
              <a:gd name="connsiteY0" fmla="*/ 0 h 5810100"/>
              <a:gd name="connsiteX1" fmla="*/ 5293 w 8636594"/>
              <a:gd name="connsiteY1" fmla="*/ 0 h 5810100"/>
              <a:gd name="connsiteX2" fmla="*/ 0 w 8636594"/>
              <a:gd name="connsiteY2" fmla="*/ 5587843 h 5810100"/>
              <a:gd name="connsiteX3" fmla="*/ 4146933 w 8636594"/>
              <a:gd name="connsiteY3" fmla="*/ 5810100 h 5810100"/>
              <a:gd name="connsiteX4" fmla="*/ 4183061 w 8636594"/>
              <a:gd name="connsiteY4" fmla="*/ 5783988 h 5810100"/>
              <a:gd name="connsiteX5" fmla="*/ 4218791 w 8636594"/>
              <a:gd name="connsiteY5" fmla="*/ 5757591 h 5810100"/>
              <a:gd name="connsiteX6" fmla="*/ 4254129 w 8636594"/>
              <a:gd name="connsiteY6" fmla="*/ 5730912 h 5810100"/>
              <a:gd name="connsiteX7" fmla="*/ 4289081 w 8636594"/>
              <a:gd name="connsiteY7" fmla="*/ 5703955 h 5810100"/>
              <a:gd name="connsiteX8" fmla="*/ 4323654 w 8636594"/>
              <a:gd name="connsiteY8" fmla="*/ 5676722 h 5810100"/>
              <a:gd name="connsiteX9" fmla="*/ 4357854 w 8636594"/>
              <a:gd name="connsiteY9" fmla="*/ 5649218 h 5810100"/>
              <a:gd name="connsiteX10" fmla="*/ 4391688 w 8636594"/>
              <a:gd name="connsiteY10" fmla="*/ 5621446 h 5810100"/>
              <a:gd name="connsiteX11" fmla="*/ 4425162 w 8636594"/>
              <a:gd name="connsiteY11" fmla="*/ 5593409 h 5810100"/>
              <a:gd name="connsiteX12" fmla="*/ 4458281 w 8636594"/>
              <a:gd name="connsiteY12" fmla="*/ 5565111 h 5810100"/>
              <a:gd name="connsiteX13" fmla="*/ 4491053 w 8636594"/>
              <a:gd name="connsiteY13" fmla="*/ 5536556 h 5810100"/>
              <a:gd name="connsiteX14" fmla="*/ 4523484 w 8636594"/>
              <a:gd name="connsiteY14" fmla="*/ 5507747 h 5810100"/>
              <a:gd name="connsiteX15" fmla="*/ 4555580 w 8636594"/>
              <a:gd name="connsiteY15" fmla="*/ 5478687 h 5810100"/>
              <a:gd name="connsiteX16" fmla="*/ 4587347 w 8636594"/>
              <a:gd name="connsiteY16" fmla="*/ 5449380 h 5810100"/>
              <a:gd name="connsiteX17" fmla="*/ 4618793 w 8636594"/>
              <a:gd name="connsiteY17" fmla="*/ 5419830 h 5810100"/>
              <a:gd name="connsiteX18" fmla="*/ 4649922 w 8636594"/>
              <a:gd name="connsiteY18" fmla="*/ 5390040 h 5810100"/>
              <a:gd name="connsiteX19" fmla="*/ 4680742 w 8636594"/>
              <a:gd name="connsiteY19" fmla="*/ 5360014 h 5810100"/>
              <a:gd name="connsiteX20" fmla="*/ 4711259 w 8636594"/>
              <a:gd name="connsiteY20" fmla="*/ 5329755 h 5810100"/>
              <a:gd name="connsiteX21" fmla="*/ 4741478 w 8636594"/>
              <a:gd name="connsiteY21" fmla="*/ 5299266 h 5810100"/>
              <a:gd name="connsiteX22" fmla="*/ 4771408 w 8636594"/>
              <a:gd name="connsiteY22" fmla="*/ 5268551 h 5810100"/>
              <a:gd name="connsiteX23" fmla="*/ 4801053 w 8636594"/>
              <a:gd name="connsiteY23" fmla="*/ 5237614 h 5810100"/>
              <a:gd name="connsiteX24" fmla="*/ 4830420 w 8636594"/>
              <a:gd name="connsiteY24" fmla="*/ 5206458 h 5810100"/>
              <a:gd name="connsiteX25" fmla="*/ 4859516 w 8636594"/>
              <a:gd name="connsiteY25" fmla="*/ 5175087 h 5810100"/>
              <a:gd name="connsiteX26" fmla="*/ 4888347 w 8636594"/>
              <a:gd name="connsiteY26" fmla="*/ 5143504 h 5810100"/>
              <a:gd name="connsiteX27" fmla="*/ 4916919 w 8636594"/>
              <a:gd name="connsiteY27" fmla="*/ 5111713 h 5810100"/>
              <a:gd name="connsiteX28" fmla="*/ 4945238 w 8636594"/>
              <a:gd name="connsiteY28" fmla="*/ 5079717 h 5810100"/>
              <a:gd name="connsiteX29" fmla="*/ 4973311 w 8636594"/>
              <a:gd name="connsiteY29" fmla="*/ 5047519 h 5810100"/>
              <a:gd name="connsiteX30" fmla="*/ 5001145 w 8636594"/>
              <a:gd name="connsiteY30" fmla="*/ 5015124 h 5810100"/>
              <a:gd name="connsiteX31" fmla="*/ 5028745 w 8636594"/>
              <a:gd name="connsiteY31" fmla="*/ 4982535 h 5810100"/>
              <a:gd name="connsiteX32" fmla="*/ 5056117 w 8636594"/>
              <a:gd name="connsiteY32" fmla="*/ 4949755 h 5810100"/>
              <a:gd name="connsiteX33" fmla="*/ 5083269 w 8636594"/>
              <a:gd name="connsiteY33" fmla="*/ 4916787 h 5810100"/>
              <a:gd name="connsiteX34" fmla="*/ 5110207 w 8636594"/>
              <a:gd name="connsiteY34" fmla="*/ 4883636 h 5810100"/>
              <a:gd name="connsiteX35" fmla="*/ 5136937 w 8636594"/>
              <a:gd name="connsiteY35" fmla="*/ 4850305 h 5810100"/>
              <a:gd name="connsiteX36" fmla="*/ 5163464 w 8636594"/>
              <a:gd name="connsiteY36" fmla="*/ 4816797 h 5810100"/>
              <a:gd name="connsiteX37" fmla="*/ 5215940 w 8636594"/>
              <a:gd name="connsiteY37" fmla="*/ 4749265 h 5810100"/>
              <a:gd name="connsiteX38" fmla="*/ 5267684 w 8636594"/>
              <a:gd name="connsiteY38" fmla="*/ 4681068 h 5810100"/>
              <a:gd name="connsiteX39" fmla="*/ 5318748 w 8636594"/>
              <a:gd name="connsiteY39" fmla="*/ 4612234 h 5810100"/>
              <a:gd name="connsiteX40" fmla="*/ 5369182 w 8636594"/>
              <a:gd name="connsiteY40" fmla="*/ 4542793 h 5810100"/>
              <a:gd name="connsiteX41" fmla="*/ 5419038 w 8636594"/>
              <a:gd name="connsiteY41" fmla="*/ 4472771 h 5810100"/>
              <a:gd name="connsiteX42" fmla="*/ 5468365 w 8636594"/>
              <a:gd name="connsiteY42" fmla="*/ 4402196 h 5810100"/>
              <a:gd name="connsiteX43" fmla="*/ 5517215 w 8636594"/>
              <a:gd name="connsiteY43" fmla="*/ 4331098 h 5810100"/>
              <a:gd name="connsiteX44" fmla="*/ 5565637 w 8636594"/>
              <a:gd name="connsiteY44" fmla="*/ 4259503 h 5810100"/>
              <a:gd name="connsiteX45" fmla="*/ 5613684 w 8636594"/>
              <a:gd name="connsiteY45" fmla="*/ 4187441 h 5810100"/>
              <a:gd name="connsiteX46" fmla="*/ 5685160 w 8636594"/>
              <a:gd name="connsiteY46" fmla="*/ 4078531 h 5810100"/>
              <a:gd name="connsiteX47" fmla="*/ 5756074 w 8636594"/>
              <a:gd name="connsiteY47" fmla="*/ 3968727 h 5810100"/>
              <a:gd name="connsiteX48" fmla="*/ 5873483 w 8636594"/>
              <a:gd name="connsiteY48" fmla="*/ 3783989 h 5810100"/>
              <a:gd name="connsiteX49" fmla="*/ 6203209 w 8636594"/>
              <a:gd name="connsiteY49" fmla="*/ 3258640 h 5810100"/>
              <a:gd name="connsiteX50" fmla="*/ 6299430 w 8636594"/>
              <a:gd name="connsiteY50" fmla="*/ 3107321 h 5810100"/>
              <a:gd name="connsiteX51" fmla="*/ 6372650 w 8636594"/>
              <a:gd name="connsiteY51" fmla="*/ 2993735 h 5810100"/>
              <a:gd name="connsiteX52" fmla="*/ 6453197 w 8636594"/>
              <a:gd name="connsiteY52" fmla="*/ 2869788 h 5810100"/>
              <a:gd name="connsiteX53" fmla="*/ 6564167 w 8636594"/>
              <a:gd name="connsiteY53" fmla="*/ 2696807 h 5810100"/>
              <a:gd name="connsiteX54" fmla="*/ 6976233 w 8636594"/>
              <a:gd name="connsiteY54" fmla="*/ 2045274 h 5810100"/>
              <a:gd name="connsiteX55" fmla="*/ 7086755 w 8636594"/>
              <a:gd name="connsiteY55" fmla="*/ 1872743 h 5810100"/>
              <a:gd name="connsiteX56" fmla="*/ 7170279 w 8636594"/>
              <a:gd name="connsiteY56" fmla="*/ 1744202 h 5810100"/>
              <a:gd name="connsiteX57" fmla="*/ 7226351 w 8636594"/>
              <a:gd name="connsiteY57" fmla="*/ 1659017 h 5810100"/>
              <a:gd name="connsiteX58" fmla="*/ 7282789 w 8636594"/>
              <a:gd name="connsiteY58" fmla="*/ 1574303 h 5810100"/>
              <a:gd name="connsiteX59" fmla="*/ 7339643 w 8636594"/>
              <a:gd name="connsiteY59" fmla="*/ 1490113 h 5810100"/>
              <a:gd name="connsiteX60" fmla="*/ 7396957 w 8636594"/>
              <a:gd name="connsiteY60" fmla="*/ 1406503 h 5810100"/>
              <a:gd name="connsiteX61" fmla="*/ 7454781 w 8636594"/>
              <a:gd name="connsiteY61" fmla="*/ 1323526 h 5810100"/>
              <a:gd name="connsiteX62" fmla="*/ 7513161 w 8636594"/>
              <a:gd name="connsiteY62" fmla="*/ 1241237 h 5810100"/>
              <a:gd name="connsiteX63" fmla="*/ 7572144 w 8636594"/>
              <a:gd name="connsiteY63" fmla="*/ 1159689 h 5810100"/>
              <a:gd name="connsiteX64" fmla="*/ 7601877 w 8636594"/>
              <a:gd name="connsiteY64" fmla="*/ 1119210 h 5810100"/>
              <a:gd name="connsiteX65" fmla="*/ 7631779 w 8636594"/>
              <a:gd name="connsiteY65" fmla="*/ 1078937 h 5810100"/>
              <a:gd name="connsiteX66" fmla="*/ 7661855 w 8636594"/>
              <a:gd name="connsiteY66" fmla="*/ 1038876 h 5810100"/>
              <a:gd name="connsiteX67" fmla="*/ 7692111 w 8636594"/>
              <a:gd name="connsiteY67" fmla="*/ 999035 h 5810100"/>
              <a:gd name="connsiteX68" fmla="*/ 7722554 w 8636594"/>
              <a:gd name="connsiteY68" fmla="*/ 959419 h 5810100"/>
              <a:gd name="connsiteX69" fmla="*/ 7753190 w 8636594"/>
              <a:gd name="connsiteY69" fmla="*/ 920037 h 5810100"/>
              <a:gd name="connsiteX70" fmla="*/ 7784023 w 8636594"/>
              <a:gd name="connsiteY70" fmla="*/ 880894 h 5810100"/>
              <a:gd name="connsiteX71" fmla="*/ 7815061 w 8636594"/>
              <a:gd name="connsiteY71" fmla="*/ 841997 h 5810100"/>
              <a:gd name="connsiteX72" fmla="*/ 7846308 w 8636594"/>
              <a:gd name="connsiteY72" fmla="*/ 803354 h 5810100"/>
              <a:gd name="connsiteX73" fmla="*/ 7877772 w 8636594"/>
              <a:gd name="connsiteY73" fmla="*/ 764970 h 5810100"/>
              <a:gd name="connsiteX74" fmla="*/ 7909458 w 8636594"/>
              <a:gd name="connsiteY74" fmla="*/ 726853 h 5810100"/>
              <a:gd name="connsiteX75" fmla="*/ 7941371 w 8636594"/>
              <a:gd name="connsiteY75" fmla="*/ 689010 h 5810100"/>
              <a:gd name="connsiteX76" fmla="*/ 7973518 w 8636594"/>
              <a:gd name="connsiteY76" fmla="*/ 651447 h 5810100"/>
              <a:gd name="connsiteX77" fmla="*/ 8005905 w 8636594"/>
              <a:gd name="connsiteY77" fmla="*/ 614171 h 5810100"/>
              <a:gd name="connsiteX78" fmla="*/ 8038538 w 8636594"/>
              <a:gd name="connsiteY78" fmla="*/ 577189 h 5810100"/>
              <a:gd name="connsiteX79" fmla="*/ 8071421 w 8636594"/>
              <a:gd name="connsiteY79" fmla="*/ 540507 h 5810100"/>
              <a:gd name="connsiteX80" fmla="*/ 8104563 w 8636594"/>
              <a:gd name="connsiteY80" fmla="*/ 504132 h 5810100"/>
              <a:gd name="connsiteX81" fmla="*/ 8137967 w 8636594"/>
              <a:gd name="connsiteY81" fmla="*/ 468072 h 5810100"/>
              <a:gd name="connsiteX82" fmla="*/ 8171641 w 8636594"/>
              <a:gd name="connsiteY82" fmla="*/ 432332 h 5810100"/>
              <a:gd name="connsiteX83" fmla="*/ 8205590 w 8636594"/>
              <a:gd name="connsiteY83" fmla="*/ 396920 h 5810100"/>
              <a:gd name="connsiteX84" fmla="*/ 8239820 w 8636594"/>
              <a:gd name="connsiteY84" fmla="*/ 361843 h 5810100"/>
              <a:gd name="connsiteX85" fmla="*/ 8274337 w 8636594"/>
              <a:gd name="connsiteY85" fmla="*/ 327107 h 5810100"/>
              <a:gd name="connsiteX86" fmla="*/ 8309147 w 8636594"/>
              <a:gd name="connsiteY86" fmla="*/ 292718 h 5810100"/>
              <a:gd name="connsiteX87" fmla="*/ 8344256 w 8636594"/>
              <a:gd name="connsiteY87" fmla="*/ 258685 h 5810100"/>
              <a:gd name="connsiteX88" fmla="*/ 8379669 w 8636594"/>
              <a:gd name="connsiteY88" fmla="*/ 225013 h 5810100"/>
              <a:gd name="connsiteX89" fmla="*/ 8415394 w 8636594"/>
              <a:gd name="connsiteY89" fmla="*/ 191709 h 5810100"/>
              <a:gd name="connsiteX90" fmla="*/ 8451434 w 8636594"/>
              <a:gd name="connsiteY90" fmla="*/ 158780 h 5810100"/>
              <a:gd name="connsiteX91" fmla="*/ 8487798 w 8636594"/>
              <a:gd name="connsiteY91" fmla="*/ 126233 h 5810100"/>
              <a:gd name="connsiteX92" fmla="*/ 8524489 w 8636594"/>
              <a:gd name="connsiteY92" fmla="*/ 94075 h 5810100"/>
              <a:gd name="connsiteX93" fmla="*/ 8561515 w 8636594"/>
              <a:gd name="connsiteY93" fmla="*/ 62312 h 5810100"/>
              <a:gd name="connsiteX94" fmla="*/ 8598881 w 8636594"/>
              <a:gd name="connsiteY94" fmla="*/ 30951 h 5810100"/>
              <a:gd name="connsiteX95" fmla="*/ 8636594 w 8636594"/>
              <a:gd name="connsiteY95" fmla="*/ 0 h 5810100"/>
              <a:gd name="connsiteX0" fmla="*/ 8636594 w 8636594"/>
              <a:gd name="connsiteY0" fmla="*/ 0 h 5783988"/>
              <a:gd name="connsiteX1" fmla="*/ 5293 w 8636594"/>
              <a:gd name="connsiteY1" fmla="*/ 0 h 5783988"/>
              <a:gd name="connsiteX2" fmla="*/ 0 w 8636594"/>
              <a:gd name="connsiteY2" fmla="*/ 5587843 h 5783988"/>
              <a:gd name="connsiteX3" fmla="*/ 4183061 w 8636594"/>
              <a:gd name="connsiteY3" fmla="*/ 5783988 h 5783988"/>
              <a:gd name="connsiteX4" fmla="*/ 4218791 w 8636594"/>
              <a:gd name="connsiteY4" fmla="*/ 5757591 h 5783988"/>
              <a:gd name="connsiteX5" fmla="*/ 4254129 w 8636594"/>
              <a:gd name="connsiteY5" fmla="*/ 5730912 h 5783988"/>
              <a:gd name="connsiteX6" fmla="*/ 4289081 w 8636594"/>
              <a:gd name="connsiteY6" fmla="*/ 5703955 h 5783988"/>
              <a:gd name="connsiteX7" fmla="*/ 4323654 w 8636594"/>
              <a:gd name="connsiteY7" fmla="*/ 5676722 h 5783988"/>
              <a:gd name="connsiteX8" fmla="*/ 4357854 w 8636594"/>
              <a:gd name="connsiteY8" fmla="*/ 5649218 h 5783988"/>
              <a:gd name="connsiteX9" fmla="*/ 4391688 w 8636594"/>
              <a:gd name="connsiteY9" fmla="*/ 5621446 h 5783988"/>
              <a:gd name="connsiteX10" fmla="*/ 4425162 w 8636594"/>
              <a:gd name="connsiteY10" fmla="*/ 5593409 h 5783988"/>
              <a:gd name="connsiteX11" fmla="*/ 4458281 w 8636594"/>
              <a:gd name="connsiteY11" fmla="*/ 5565111 h 5783988"/>
              <a:gd name="connsiteX12" fmla="*/ 4491053 w 8636594"/>
              <a:gd name="connsiteY12" fmla="*/ 5536556 h 5783988"/>
              <a:gd name="connsiteX13" fmla="*/ 4523484 w 8636594"/>
              <a:gd name="connsiteY13" fmla="*/ 5507747 h 5783988"/>
              <a:gd name="connsiteX14" fmla="*/ 4555580 w 8636594"/>
              <a:gd name="connsiteY14" fmla="*/ 5478687 h 5783988"/>
              <a:gd name="connsiteX15" fmla="*/ 4587347 w 8636594"/>
              <a:gd name="connsiteY15" fmla="*/ 5449380 h 5783988"/>
              <a:gd name="connsiteX16" fmla="*/ 4618793 w 8636594"/>
              <a:gd name="connsiteY16" fmla="*/ 5419830 h 5783988"/>
              <a:gd name="connsiteX17" fmla="*/ 4649922 w 8636594"/>
              <a:gd name="connsiteY17" fmla="*/ 5390040 h 5783988"/>
              <a:gd name="connsiteX18" fmla="*/ 4680742 w 8636594"/>
              <a:gd name="connsiteY18" fmla="*/ 5360014 h 5783988"/>
              <a:gd name="connsiteX19" fmla="*/ 4711259 w 8636594"/>
              <a:gd name="connsiteY19" fmla="*/ 5329755 h 5783988"/>
              <a:gd name="connsiteX20" fmla="*/ 4741478 w 8636594"/>
              <a:gd name="connsiteY20" fmla="*/ 5299266 h 5783988"/>
              <a:gd name="connsiteX21" fmla="*/ 4771408 w 8636594"/>
              <a:gd name="connsiteY21" fmla="*/ 5268551 h 5783988"/>
              <a:gd name="connsiteX22" fmla="*/ 4801053 w 8636594"/>
              <a:gd name="connsiteY22" fmla="*/ 5237614 h 5783988"/>
              <a:gd name="connsiteX23" fmla="*/ 4830420 w 8636594"/>
              <a:gd name="connsiteY23" fmla="*/ 5206458 h 5783988"/>
              <a:gd name="connsiteX24" fmla="*/ 4859516 w 8636594"/>
              <a:gd name="connsiteY24" fmla="*/ 5175087 h 5783988"/>
              <a:gd name="connsiteX25" fmla="*/ 4888347 w 8636594"/>
              <a:gd name="connsiteY25" fmla="*/ 5143504 h 5783988"/>
              <a:gd name="connsiteX26" fmla="*/ 4916919 w 8636594"/>
              <a:gd name="connsiteY26" fmla="*/ 5111713 h 5783988"/>
              <a:gd name="connsiteX27" fmla="*/ 4945238 w 8636594"/>
              <a:gd name="connsiteY27" fmla="*/ 5079717 h 5783988"/>
              <a:gd name="connsiteX28" fmla="*/ 4973311 w 8636594"/>
              <a:gd name="connsiteY28" fmla="*/ 5047519 h 5783988"/>
              <a:gd name="connsiteX29" fmla="*/ 5001145 w 8636594"/>
              <a:gd name="connsiteY29" fmla="*/ 5015124 h 5783988"/>
              <a:gd name="connsiteX30" fmla="*/ 5028745 w 8636594"/>
              <a:gd name="connsiteY30" fmla="*/ 4982535 h 5783988"/>
              <a:gd name="connsiteX31" fmla="*/ 5056117 w 8636594"/>
              <a:gd name="connsiteY31" fmla="*/ 4949755 h 5783988"/>
              <a:gd name="connsiteX32" fmla="*/ 5083269 w 8636594"/>
              <a:gd name="connsiteY32" fmla="*/ 4916787 h 5783988"/>
              <a:gd name="connsiteX33" fmla="*/ 5110207 w 8636594"/>
              <a:gd name="connsiteY33" fmla="*/ 4883636 h 5783988"/>
              <a:gd name="connsiteX34" fmla="*/ 5136937 w 8636594"/>
              <a:gd name="connsiteY34" fmla="*/ 4850305 h 5783988"/>
              <a:gd name="connsiteX35" fmla="*/ 5163464 w 8636594"/>
              <a:gd name="connsiteY35" fmla="*/ 4816797 h 5783988"/>
              <a:gd name="connsiteX36" fmla="*/ 5215940 w 8636594"/>
              <a:gd name="connsiteY36" fmla="*/ 4749265 h 5783988"/>
              <a:gd name="connsiteX37" fmla="*/ 5267684 w 8636594"/>
              <a:gd name="connsiteY37" fmla="*/ 4681068 h 5783988"/>
              <a:gd name="connsiteX38" fmla="*/ 5318748 w 8636594"/>
              <a:gd name="connsiteY38" fmla="*/ 4612234 h 5783988"/>
              <a:gd name="connsiteX39" fmla="*/ 5369182 w 8636594"/>
              <a:gd name="connsiteY39" fmla="*/ 4542793 h 5783988"/>
              <a:gd name="connsiteX40" fmla="*/ 5419038 w 8636594"/>
              <a:gd name="connsiteY40" fmla="*/ 4472771 h 5783988"/>
              <a:gd name="connsiteX41" fmla="*/ 5468365 w 8636594"/>
              <a:gd name="connsiteY41" fmla="*/ 4402196 h 5783988"/>
              <a:gd name="connsiteX42" fmla="*/ 5517215 w 8636594"/>
              <a:gd name="connsiteY42" fmla="*/ 4331098 h 5783988"/>
              <a:gd name="connsiteX43" fmla="*/ 5565637 w 8636594"/>
              <a:gd name="connsiteY43" fmla="*/ 4259503 h 5783988"/>
              <a:gd name="connsiteX44" fmla="*/ 5613684 w 8636594"/>
              <a:gd name="connsiteY44" fmla="*/ 4187441 h 5783988"/>
              <a:gd name="connsiteX45" fmla="*/ 5685160 w 8636594"/>
              <a:gd name="connsiteY45" fmla="*/ 4078531 h 5783988"/>
              <a:gd name="connsiteX46" fmla="*/ 5756074 w 8636594"/>
              <a:gd name="connsiteY46" fmla="*/ 3968727 h 5783988"/>
              <a:gd name="connsiteX47" fmla="*/ 5873483 w 8636594"/>
              <a:gd name="connsiteY47" fmla="*/ 3783989 h 5783988"/>
              <a:gd name="connsiteX48" fmla="*/ 6203209 w 8636594"/>
              <a:gd name="connsiteY48" fmla="*/ 3258640 h 5783988"/>
              <a:gd name="connsiteX49" fmla="*/ 6299430 w 8636594"/>
              <a:gd name="connsiteY49" fmla="*/ 3107321 h 5783988"/>
              <a:gd name="connsiteX50" fmla="*/ 6372650 w 8636594"/>
              <a:gd name="connsiteY50" fmla="*/ 2993735 h 5783988"/>
              <a:gd name="connsiteX51" fmla="*/ 6453197 w 8636594"/>
              <a:gd name="connsiteY51" fmla="*/ 2869788 h 5783988"/>
              <a:gd name="connsiteX52" fmla="*/ 6564167 w 8636594"/>
              <a:gd name="connsiteY52" fmla="*/ 2696807 h 5783988"/>
              <a:gd name="connsiteX53" fmla="*/ 6976233 w 8636594"/>
              <a:gd name="connsiteY53" fmla="*/ 2045274 h 5783988"/>
              <a:gd name="connsiteX54" fmla="*/ 7086755 w 8636594"/>
              <a:gd name="connsiteY54" fmla="*/ 1872743 h 5783988"/>
              <a:gd name="connsiteX55" fmla="*/ 7170279 w 8636594"/>
              <a:gd name="connsiteY55" fmla="*/ 1744202 h 5783988"/>
              <a:gd name="connsiteX56" fmla="*/ 7226351 w 8636594"/>
              <a:gd name="connsiteY56" fmla="*/ 1659017 h 5783988"/>
              <a:gd name="connsiteX57" fmla="*/ 7282789 w 8636594"/>
              <a:gd name="connsiteY57" fmla="*/ 1574303 h 5783988"/>
              <a:gd name="connsiteX58" fmla="*/ 7339643 w 8636594"/>
              <a:gd name="connsiteY58" fmla="*/ 1490113 h 5783988"/>
              <a:gd name="connsiteX59" fmla="*/ 7396957 w 8636594"/>
              <a:gd name="connsiteY59" fmla="*/ 1406503 h 5783988"/>
              <a:gd name="connsiteX60" fmla="*/ 7454781 w 8636594"/>
              <a:gd name="connsiteY60" fmla="*/ 1323526 h 5783988"/>
              <a:gd name="connsiteX61" fmla="*/ 7513161 w 8636594"/>
              <a:gd name="connsiteY61" fmla="*/ 1241237 h 5783988"/>
              <a:gd name="connsiteX62" fmla="*/ 7572144 w 8636594"/>
              <a:gd name="connsiteY62" fmla="*/ 1159689 h 5783988"/>
              <a:gd name="connsiteX63" fmla="*/ 7601877 w 8636594"/>
              <a:gd name="connsiteY63" fmla="*/ 1119210 h 5783988"/>
              <a:gd name="connsiteX64" fmla="*/ 7631779 w 8636594"/>
              <a:gd name="connsiteY64" fmla="*/ 1078937 h 5783988"/>
              <a:gd name="connsiteX65" fmla="*/ 7661855 w 8636594"/>
              <a:gd name="connsiteY65" fmla="*/ 1038876 h 5783988"/>
              <a:gd name="connsiteX66" fmla="*/ 7692111 w 8636594"/>
              <a:gd name="connsiteY66" fmla="*/ 999035 h 5783988"/>
              <a:gd name="connsiteX67" fmla="*/ 7722554 w 8636594"/>
              <a:gd name="connsiteY67" fmla="*/ 959419 h 5783988"/>
              <a:gd name="connsiteX68" fmla="*/ 7753190 w 8636594"/>
              <a:gd name="connsiteY68" fmla="*/ 920037 h 5783988"/>
              <a:gd name="connsiteX69" fmla="*/ 7784023 w 8636594"/>
              <a:gd name="connsiteY69" fmla="*/ 880894 h 5783988"/>
              <a:gd name="connsiteX70" fmla="*/ 7815061 w 8636594"/>
              <a:gd name="connsiteY70" fmla="*/ 841997 h 5783988"/>
              <a:gd name="connsiteX71" fmla="*/ 7846308 w 8636594"/>
              <a:gd name="connsiteY71" fmla="*/ 803354 h 5783988"/>
              <a:gd name="connsiteX72" fmla="*/ 7877772 w 8636594"/>
              <a:gd name="connsiteY72" fmla="*/ 764970 h 5783988"/>
              <a:gd name="connsiteX73" fmla="*/ 7909458 w 8636594"/>
              <a:gd name="connsiteY73" fmla="*/ 726853 h 5783988"/>
              <a:gd name="connsiteX74" fmla="*/ 7941371 w 8636594"/>
              <a:gd name="connsiteY74" fmla="*/ 689010 h 5783988"/>
              <a:gd name="connsiteX75" fmla="*/ 7973518 w 8636594"/>
              <a:gd name="connsiteY75" fmla="*/ 651447 h 5783988"/>
              <a:gd name="connsiteX76" fmla="*/ 8005905 w 8636594"/>
              <a:gd name="connsiteY76" fmla="*/ 614171 h 5783988"/>
              <a:gd name="connsiteX77" fmla="*/ 8038538 w 8636594"/>
              <a:gd name="connsiteY77" fmla="*/ 577189 h 5783988"/>
              <a:gd name="connsiteX78" fmla="*/ 8071421 w 8636594"/>
              <a:gd name="connsiteY78" fmla="*/ 540507 h 5783988"/>
              <a:gd name="connsiteX79" fmla="*/ 8104563 w 8636594"/>
              <a:gd name="connsiteY79" fmla="*/ 504132 h 5783988"/>
              <a:gd name="connsiteX80" fmla="*/ 8137967 w 8636594"/>
              <a:gd name="connsiteY80" fmla="*/ 468072 h 5783988"/>
              <a:gd name="connsiteX81" fmla="*/ 8171641 w 8636594"/>
              <a:gd name="connsiteY81" fmla="*/ 432332 h 5783988"/>
              <a:gd name="connsiteX82" fmla="*/ 8205590 w 8636594"/>
              <a:gd name="connsiteY82" fmla="*/ 396920 h 5783988"/>
              <a:gd name="connsiteX83" fmla="*/ 8239820 w 8636594"/>
              <a:gd name="connsiteY83" fmla="*/ 361843 h 5783988"/>
              <a:gd name="connsiteX84" fmla="*/ 8274337 w 8636594"/>
              <a:gd name="connsiteY84" fmla="*/ 327107 h 5783988"/>
              <a:gd name="connsiteX85" fmla="*/ 8309147 w 8636594"/>
              <a:gd name="connsiteY85" fmla="*/ 292718 h 5783988"/>
              <a:gd name="connsiteX86" fmla="*/ 8344256 w 8636594"/>
              <a:gd name="connsiteY86" fmla="*/ 258685 h 5783988"/>
              <a:gd name="connsiteX87" fmla="*/ 8379669 w 8636594"/>
              <a:gd name="connsiteY87" fmla="*/ 225013 h 5783988"/>
              <a:gd name="connsiteX88" fmla="*/ 8415394 w 8636594"/>
              <a:gd name="connsiteY88" fmla="*/ 191709 h 5783988"/>
              <a:gd name="connsiteX89" fmla="*/ 8451434 w 8636594"/>
              <a:gd name="connsiteY89" fmla="*/ 158780 h 5783988"/>
              <a:gd name="connsiteX90" fmla="*/ 8487798 w 8636594"/>
              <a:gd name="connsiteY90" fmla="*/ 126233 h 5783988"/>
              <a:gd name="connsiteX91" fmla="*/ 8524489 w 8636594"/>
              <a:gd name="connsiteY91" fmla="*/ 94075 h 5783988"/>
              <a:gd name="connsiteX92" fmla="*/ 8561515 w 8636594"/>
              <a:gd name="connsiteY92" fmla="*/ 62312 h 5783988"/>
              <a:gd name="connsiteX93" fmla="*/ 8598881 w 8636594"/>
              <a:gd name="connsiteY93" fmla="*/ 30951 h 5783988"/>
              <a:gd name="connsiteX94" fmla="*/ 8636594 w 8636594"/>
              <a:gd name="connsiteY94" fmla="*/ 0 h 5783988"/>
              <a:gd name="connsiteX0" fmla="*/ 8636594 w 8636594"/>
              <a:gd name="connsiteY0" fmla="*/ 0 h 5757591"/>
              <a:gd name="connsiteX1" fmla="*/ 5293 w 8636594"/>
              <a:gd name="connsiteY1" fmla="*/ 0 h 5757591"/>
              <a:gd name="connsiteX2" fmla="*/ 0 w 8636594"/>
              <a:gd name="connsiteY2" fmla="*/ 5587843 h 5757591"/>
              <a:gd name="connsiteX3" fmla="*/ 4218791 w 8636594"/>
              <a:gd name="connsiteY3" fmla="*/ 5757591 h 5757591"/>
              <a:gd name="connsiteX4" fmla="*/ 4254129 w 8636594"/>
              <a:gd name="connsiteY4" fmla="*/ 5730912 h 5757591"/>
              <a:gd name="connsiteX5" fmla="*/ 4289081 w 8636594"/>
              <a:gd name="connsiteY5" fmla="*/ 5703955 h 5757591"/>
              <a:gd name="connsiteX6" fmla="*/ 4323654 w 8636594"/>
              <a:gd name="connsiteY6" fmla="*/ 5676722 h 5757591"/>
              <a:gd name="connsiteX7" fmla="*/ 4357854 w 8636594"/>
              <a:gd name="connsiteY7" fmla="*/ 5649218 h 5757591"/>
              <a:gd name="connsiteX8" fmla="*/ 4391688 w 8636594"/>
              <a:gd name="connsiteY8" fmla="*/ 5621446 h 5757591"/>
              <a:gd name="connsiteX9" fmla="*/ 4425162 w 8636594"/>
              <a:gd name="connsiteY9" fmla="*/ 5593409 h 5757591"/>
              <a:gd name="connsiteX10" fmla="*/ 4458281 w 8636594"/>
              <a:gd name="connsiteY10" fmla="*/ 5565111 h 5757591"/>
              <a:gd name="connsiteX11" fmla="*/ 4491053 w 8636594"/>
              <a:gd name="connsiteY11" fmla="*/ 5536556 h 5757591"/>
              <a:gd name="connsiteX12" fmla="*/ 4523484 w 8636594"/>
              <a:gd name="connsiteY12" fmla="*/ 5507747 h 5757591"/>
              <a:gd name="connsiteX13" fmla="*/ 4555580 w 8636594"/>
              <a:gd name="connsiteY13" fmla="*/ 5478687 h 5757591"/>
              <a:gd name="connsiteX14" fmla="*/ 4587347 w 8636594"/>
              <a:gd name="connsiteY14" fmla="*/ 5449380 h 5757591"/>
              <a:gd name="connsiteX15" fmla="*/ 4618793 w 8636594"/>
              <a:gd name="connsiteY15" fmla="*/ 5419830 h 5757591"/>
              <a:gd name="connsiteX16" fmla="*/ 4649922 w 8636594"/>
              <a:gd name="connsiteY16" fmla="*/ 5390040 h 5757591"/>
              <a:gd name="connsiteX17" fmla="*/ 4680742 w 8636594"/>
              <a:gd name="connsiteY17" fmla="*/ 5360014 h 5757591"/>
              <a:gd name="connsiteX18" fmla="*/ 4711259 w 8636594"/>
              <a:gd name="connsiteY18" fmla="*/ 5329755 h 5757591"/>
              <a:gd name="connsiteX19" fmla="*/ 4741478 w 8636594"/>
              <a:gd name="connsiteY19" fmla="*/ 5299266 h 5757591"/>
              <a:gd name="connsiteX20" fmla="*/ 4771408 w 8636594"/>
              <a:gd name="connsiteY20" fmla="*/ 5268551 h 5757591"/>
              <a:gd name="connsiteX21" fmla="*/ 4801053 w 8636594"/>
              <a:gd name="connsiteY21" fmla="*/ 5237614 h 5757591"/>
              <a:gd name="connsiteX22" fmla="*/ 4830420 w 8636594"/>
              <a:gd name="connsiteY22" fmla="*/ 5206458 h 5757591"/>
              <a:gd name="connsiteX23" fmla="*/ 4859516 w 8636594"/>
              <a:gd name="connsiteY23" fmla="*/ 5175087 h 5757591"/>
              <a:gd name="connsiteX24" fmla="*/ 4888347 w 8636594"/>
              <a:gd name="connsiteY24" fmla="*/ 5143504 h 5757591"/>
              <a:gd name="connsiteX25" fmla="*/ 4916919 w 8636594"/>
              <a:gd name="connsiteY25" fmla="*/ 5111713 h 5757591"/>
              <a:gd name="connsiteX26" fmla="*/ 4945238 w 8636594"/>
              <a:gd name="connsiteY26" fmla="*/ 5079717 h 5757591"/>
              <a:gd name="connsiteX27" fmla="*/ 4973311 w 8636594"/>
              <a:gd name="connsiteY27" fmla="*/ 5047519 h 5757591"/>
              <a:gd name="connsiteX28" fmla="*/ 5001145 w 8636594"/>
              <a:gd name="connsiteY28" fmla="*/ 5015124 h 5757591"/>
              <a:gd name="connsiteX29" fmla="*/ 5028745 w 8636594"/>
              <a:gd name="connsiteY29" fmla="*/ 4982535 h 5757591"/>
              <a:gd name="connsiteX30" fmla="*/ 5056117 w 8636594"/>
              <a:gd name="connsiteY30" fmla="*/ 4949755 h 5757591"/>
              <a:gd name="connsiteX31" fmla="*/ 5083269 w 8636594"/>
              <a:gd name="connsiteY31" fmla="*/ 4916787 h 5757591"/>
              <a:gd name="connsiteX32" fmla="*/ 5110207 w 8636594"/>
              <a:gd name="connsiteY32" fmla="*/ 4883636 h 5757591"/>
              <a:gd name="connsiteX33" fmla="*/ 5136937 w 8636594"/>
              <a:gd name="connsiteY33" fmla="*/ 4850305 h 5757591"/>
              <a:gd name="connsiteX34" fmla="*/ 5163464 w 8636594"/>
              <a:gd name="connsiteY34" fmla="*/ 4816797 h 5757591"/>
              <a:gd name="connsiteX35" fmla="*/ 5215940 w 8636594"/>
              <a:gd name="connsiteY35" fmla="*/ 4749265 h 5757591"/>
              <a:gd name="connsiteX36" fmla="*/ 5267684 w 8636594"/>
              <a:gd name="connsiteY36" fmla="*/ 4681068 h 5757591"/>
              <a:gd name="connsiteX37" fmla="*/ 5318748 w 8636594"/>
              <a:gd name="connsiteY37" fmla="*/ 4612234 h 5757591"/>
              <a:gd name="connsiteX38" fmla="*/ 5369182 w 8636594"/>
              <a:gd name="connsiteY38" fmla="*/ 4542793 h 5757591"/>
              <a:gd name="connsiteX39" fmla="*/ 5419038 w 8636594"/>
              <a:gd name="connsiteY39" fmla="*/ 4472771 h 5757591"/>
              <a:gd name="connsiteX40" fmla="*/ 5468365 w 8636594"/>
              <a:gd name="connsiteY40" fmla="*/ 4402196 h 5757591"/>
              <a:gd name="connsiteX41" fmla="*/ 5517215 w 8636594"/>
              <a:gd name="connsiteY41" fmla="*/ 4331098 h 5757591"/>
              <a:gd name="connsiteX42" fmla="*/ 5565637 w 8636594"/>
              <a:gd name="connsiteY42" fmla="*/ 4259503 h 5757591"/>
              <a:gd name="connsiteX43" fmla="*/ 5613684 w 8636594"/>
              <a:gd name="connsiteY43" fmla="*/ 4187441 h 5757591"/>
              <a:gd name="connsiteX44" fmla="*/ 5685160 w 8636594"/>
              <a:gd name="connsiteY44" fmla="*/ 4078531 h 5757591"/>
              <a:gd name="connsiteX45" fmla="*/ 5756074 w 8636594"/>
              <a:gd name="connsiteY45" fmla="*/ 3968727 h 5757591"/>
              <a:gd name="connsiteX46" fmla="*/ 5873483 w 8636594"/>
              <a:gd name="connsiteY46" fmla="*/ 3783989 h 5757591"/>
              <a:gd name="connsiteX47" fmla="*/ 6203209 w 8636594"/>
              <a:gd name="connsiteY47" fmla="*/ 3258640 h 5757591"/>
              <a:gd name="connsiteX48" fmla="*/ 6299430 w 8636594"/>
              <a:gd name="connsiteY48" fmla="*/ 3107321 h 5757591"/>
              <a:gd name="connsiteX49" fmla="*/ 6372650 w 8636594"/>
              <a:gd name="connsiteY49" fmla="*/ 2993735 h 5757591"/>
              <a:gd name="connsiteX50" fmla="*/ 6453197 w 8636594"/>
              <a:gd name="connsiteY50" fmla="*/ 2869788 h 5757591"/>
              <a:gd name="connsiteX51" fmla="*/ 6564167 w 8636594"/>
              <a:gd name="connsiteY51" fmla="*/ 2696807 h 5757591"/>
              <a:gd name="connsiteX52" fmla="*/ 6976233 w 8636594"/>
              <a:gd name="connsiteY52" fmla="*/ 2045274 h 5757591"/>
              <a:gd name="connsiteX53" fmla="*/ 7086755 w 8636594"/>
              <a:gd name="connsiteY53" fmla="*/ 1872743 h 5757591"/>
              <a:gd name="connsiteX54" fmla="*/ 7170279 w 8636594"/>
              <a:gd name="connsiteY54" fmla="*/ 1744202 h 5757591"/>
              <a:gd name="connsiteX55" fmla="*/ 7226351 w 8636594"/>
              <a:gd name="connsiteY55" fmla="*/ 1659017 h 5757591"/>
              <a:gd name="connsiteX56" fmla="*/ 7282789 w 8636594"/>
              <a:gd name="connsiteY56" fmla="*/ 1574303 h 5757591"/>
              <a:gd name="connsiteX57" fmla="*/ 7339643 w 8636594"/>
              <a:gd name="connsiteY57" fmla="*/ 1490113 h 5757591"/>
              <a:gd name="connsiteX58" fmla="*/ 7396957 w 8636594"/>
              <a:gd name="connsiteY58" fmla="*/ 1406503 h 5757591"/>
              <a:gd name="connsiteX59" fmla="*/ 7454781 w 8636594"/>
              <a:gd name="connsiteY59" fmla="*/ 1323526 h 5757591"/>
              <a:gd name="connsiteX60" fmla="*/ 7513161 w 8636594"/>
              <a:gd name="connsiteY60" fmla="*/ 1241237 h 5757591"/>
              <a:gd name="connsiteX61" fmla="*/ 7572144 w 8636594"/>
              <a:gd name="connsiteY61" fmla="*/ 1159689 h 5757591"/>
              <a:gd name="connsiteX62" fmla="*/ 7601877 w 8636594"/>
              <a:gd name="connsiteY62" fmla="*/ 1119210 h 5757591"/>
              <a:gd name="connsiteX63" fmla="*/ 7631779 w 8636594"/>
              <a:gd name="connsiteY63" fmla="*/ 1078937 h 5757591"/>
              <a:gd name="connsiteX64" fmla="*/ 7661855 w 8636594"/>
              <a:gd name="connsiteY64" fmla="*/ 1038876 h 5757591"/>
              <a:gd name="connsiteX65" fmla="*/ 7692111 w 8636594"/>
              <a:gd name="connsiteY65" fmla="*/ 999035 h 5757591"/>
              <a:gd name="connsiteX66" fmla="*/ 7722554 w 8636594"/>
              <a:gd name="connsiteY66" fmla="*/ 959419 h 5757591"/>
              <a:gd name="connsiteX67" fmla="*/ 7753190 w 8636594"/>
              <a:gd name="connsiteY67" fmla="*/ 920037 h 5757591"/>
              <a:gd name="connsiteX68" fmla="*/ 7784023 w 8636594"/>
              <a:gd name="connsiteY68" fmla="*/ 880894 h 5757591"/>
              <a:gd name="connsiteX69" fmla="*/ 7815061 w 8636594"/>
              <a:gd name="connsiteY69" fmla="*/ 841997 h 5757591"/>
              <a:gd name="connsiteX70" fmla="*/ 7846308 w 8636594"/>
              <a:gd name="connsiteY70" fmla="*/ 803354 h 5757591"/>
              <a:gd name="connsiteX71" fmla="*/ 7877772 w 8636594"/>
              <a:gd name="connsiteY71" fmla="*/ 764970 h 5757591"/>
              <a:gd name="connsiteX72" fmla="*/ 7909458 w 8636594"/>
              <a:gd name="connsiteY72" fmla="*/ 726853 h 5757591"/>
              <a:gd name="connsiteX73" fmla="*/ 7941371 w 8636594"/>
              <a:gd name="connsiteY73" fmla="*/ 689010 h 5757591"/>
              <a:gd name="connsiteX74" fmla="*/ 7973518 w 8636594"/>
              <a:gd name="connsiteY74" fmla="*/ 651447 h 5757591"/>
              <a:gd name="connsiteX75" fmla="*/ 8005905 w 8636594"/>
              <a:gd name="connsiteY75" fmla="*/ 614171 h 5757591"/>
              <a:gd name="connsiteX76" fmla="*/ 8038538 w 8636594"/>
              <a:gd name="connsiteY76" fmla="*/ 577189 h 5757591"/>
              <a:gd name="connsiteX77" fmla="*/ 8071421 w 8636594"/>
              <a:gd name="connsiteY77" fmla="*/ 540507 h 5757591"/>
              <a:gd name="connsiteX78" fmla="*/ 8104563 w 8636594"/>
              <a:gd name="connsiteY78" fmla="*/ 504132 h 5757591"/>
              <a:gd name="connsiteX79" fmla="*/ 8137967 w 8636594"/>
              <a:gd name="connsiteY79" fmla="*/ 468072 h 5757591"/>
              <a:gd name="connsiteX80" fmla="*/ 8171641 w 8636594"/>
              <a:gd name="connsiteY80" fmla="*/ 432332 h 5757591"/>
              <a:gd name="connsiteX81" fmla="*/ 8205590 w 8636594"/>
              <a:gd name="connsiteY81" fmla="*/ 396920 h 5757591"/>
              <a:gd name="connsiteX82" fmla="*/ 8239820 w 8636594"/>
              <a:gd name="connsiteY82" fmla="*/ 361843 h 5757591"/>
              <a:gd name="connsiteX83" fmla="*/ 8274337 w 8636594"/>
              <a:gd name="connsiteY83" fmla="*/ 327107 h 5757591"/>
              <a:gd name="connsiteX84" fmla="*/ 8309147 w 8636594"/>
              <a:gd name="connsiteY84" fmla="*/ 292718 h 5757591"/>
              <a:gd name="connsiteX85" fmla="*/ 8344256 w 8636594"/>
              <a:gd name="connsiteY85" fmla="*/ 258685 h 5757591"/>
              <a:gd name="connsiteX86" fmla="*/ 8379669 w 8636594"/>
              <a:gd name="connsiteY86" fmla="*/ 225013 h 5757591"/>
              <a:gd name="connsiteX87" fmla="*/ 8415394 w 8636594"/>
              <a:gd name="connsiteY87" fmla="*/ 191709 h 5757591"/>
              <a:gd name="connsiteX88" fmla="*/ 8451434 w 8636594"/>
              <a:gd name="connsiteY88" fmla="*/ 158780 h 5757591"/>
              <a:gd name="connsiteX89" fmla="*/ 8487798 w 8636594"/>
              <a:gd name="connsiteY89" fmla="*/ 126233 h 5757591"/>
              <a:gd name="connsiteX90" fmla="*/ 8524489 w 8636594"/>
              <a:gd name="connsiteY90" fmla="*/ 94075 h 5757591"/>
              <a:gd name="connsiteX91" fmla="*/ 8561515 w 8636594"/>
              <a:gd name="connsiteY91" fmla="*/ 62312 h 5757591"/>
              <a:gd name="connsiteX92" fmla="*/ 8598881 w 8636594"/>
              <a:gd name="connsiteY92" fmla="*/ 30951 h 5757591"/>
              <a:gd name="connsiteX93" fmla="*/ 8636594 w 8636594"/>
              <a:gd name="connsiteY93" fmla="*/ 0 h 5757591"/>
              <a:gd name="connsiteX0" fmla="*/ 8636594 w 8636594"/>
              <a:gd name="connsiteY0" fmla="*/ 0 h 5730912"/>
              <a:gd name="connsiteX1" fmla="*/ 5293 w 8636594"/>
              <a:gd name="connsiteY1" fmla="*/ 0 h 5730912"/>
              <a:gd name="connsiteX2" fmla="*/ 0 w 8636594"/>
              <a:gd name="connsiteY2" fmla="*/ 5587843 h 5730912"/>
              <a:gd name="connsiteX3" fmla="*/ 4254129 w 8636594"/>
              <a:gd name="connsiteY3" fmla="*/ 5730912 h 5730912"/>
              <a:gd name="connsiteX4" fmla="*/ 4289081 w 8636594"/>
              <a:gd name="connsiteY4" fmla="*/ 5703955 h 5730912"/>
              <a:gd name="connsiteX5" fmla="*/ 4323654 w 8636594"/>
              <a:gd name="connsiteY5" fmla="*/ 5676722 h 5730912"/>
              <a:gd name="connsiteX6" fmla="*/ 4357854 w 8636594"/>
              <a:gd name="connsiteY6" fmla="*/ 5649218 h 5730912"/>
              <a:gd name="connsiteX7" fmla="*/ 4391688 w 8636594"/>
              <a:gd name="connsiteY7" fmla="*/ 5621446 h 5730912"/>
              <a:gd name="connsiteX8" fmla="*/ 4425162 w 8636594"/>
              <a:gd name="connsiteY8" fmla="*/ 5593409 h 5730912"/>
              <a:gd name="connsiteX9" fmla="*/ 4458281 w 8636594"/>
              <a:gd name="connsiteY9" fmla="*/ 5565111 h 5730912"/>
              <a:gd name="connsiteX10" fmla="*/ 4491053 w 8636594"/>
              <a:gd name="connsiteY10" fmla="*/ 5536556 h 5730912"/>
              <a:gd name="connsiteX11" fmla="*/ 4523484 w 8636594"/>
              <a:gd name="connsiteY11" fmla="*/ 5507747 h 5730912"/>
              <a:gd name="connsiteX12" fmla="*/ 4555580 w 8636594"/>
              <a:gd name="connsiteY12" fmla="*/ 5478687 h 5730912"/>
              <a:gd name="connsiteX13" fmla="*/ 4587347 w 8636594"/>
              <a:gd name="connsiteY13" fmla="*/ 5449380 h 5730912"/>
              <a:gd name="connsiteX14" fmla="*/ 4618793 w 8636594"/>
              <a:gd name="connsiteY14" fmla="*/ 5419830 h 5730912"/>
              <a:gd name="connsiteX15" fmla="*/ 4649922 w 8636594"/>
              <a:gd name="connsiteY15" fmla="*/ 5390040 h 5730912"/>
              <a:gd name="connsiteX16" fmla="*/ 4680742 w 8636594"/>
              <a:gd name="connsiteY16" fmla="*/ 5360014 h 5730912"/>
              <a:gd name="connsiteX17" fmla="*/ 4711259 w 8636594"/>
              <a:gd name="connsiteY17" fmla="*/ 5329755 h 5730912"/>
              <a:gd name="connsiteX18" fmla="*/ 4741478 w 8636594"/>
              <a:gd name="connsiteY18" fmla="*/ 5299266 h 5730912"/>
              <a:gd name="connsiteX19" fmla="*/ 4771408 w 8636594"/>
              <a:gd name="connsiteY19" fmla="*/ 5268551 h 5730912"/>
              <a:gd name="connsiteX20" fmla="*/ 4801053 w 8636594"/>
              <a:gd name="connsiteY20" fmla="*/ 5237614 h 5730912"/>
              <a:gd name="connsiteX21" fmla="*/ 4830420 w 8636594"/>
              <a:gd name="connsiteY21" fmla="*/ 5206458 h 5730912"/>
              <a:gd name="connsiteX22" fmla="*/ 4859516 w 8636594"/>
              <a:gd name="connsiteY22" fmla="*/ 5175087 h 5730912"/>
              <a:gd name="connsiteX23" fmla="*/ 4888347 w 8636594"/>
              <a:gd name="connsiteY23" fmla="*/ 5143504 h 5730912"/>
              <a:gd name="connsiteX24" fmla="*/ 4916919 w 8636594"/>
              <a:gd name="connsiteY24" fmla="*/ 5111713 h 5730912"/>
              <a:gd name="connsiteX25" fmla="*/ 4945238 w 8636594"/>
              <a:gd name="connsiteY25" fmla="*/ 5079717 h 5730912"/>
              <a:gd name="connsiteX26" fmla="*/ 4973311 w 8636594"/>
              <a:gd name="connsiteY26" fmla="*/ 5047519 h 5730912"/>
              <a:gd name="connsiteX27" fmla="*/ 5001145 w 8636594"/>
              <a:gd name="connsiteY27" fmla="*/ 5015124 h 5730912"/>
              <a:gd name="connsiteX28" fmla="*/ 5028745 w 8636594"/>
              <a:gd name="connsiteY28" fmla="*/ 4982535 h 5730912"/>
              <a:gd name="connsiteX29" fmla="*/ 5056117 w 8636594"/>
              <a:gd name="connsiteY29" fmla="*/ 4949755 h 5730912"/>
              <a:gd name="connsiteX30" fmla="*/ 5083269 w 8636594"/>
              <a:gd name="connsiteY30" fmla="*/ 4916787 h 5730912"/>
              <a:gd name="connsiteX31" fmla="*/ 5110207 w 8636594"/>
              <a:gd name="connsiteY31" fmla="*/ 4883636 h 5730912"/>
              <a:gd name="connsiteX32" fmla="*/ 5136937 w 8636594"/>
              <a:gd name="connsiteY32" fmla="*/ 4850305 h 5730912"/>
              <a:gd name="connsiteX33" fmla="*/ 5163464 w 8636594"/>
              <a:gd name="connsiteY33" fmla="*/ 4816797 h 5730912"/>
              <a:gd name="connsiteX34" fmla="*/ 5215940 w 8636594"/>
              <a:gd name="connsiteY34" fmla="*/ 4749265 h 5730912"/>
              <a:gd name="connsiteX35" fmla="*/ 5267684 w 8636594"/>
              <a:gd name="connsiteY35" fmla="*/ 4681068 h 5730912"/>
              <a:gd name="connsiteX36" fmla="*/ 5318748 w 8636594"/>
              <a:gd name="connsiteY36" fmla="*/ 4612234 h 5730912"/>
              <a:gd name="connsiteX37" fmla="*/ 5369182 w 8636594"/>
              <a:gd name="connsiteY37" fmla="*/ 4542793 h 5730912"/>
              <a:gd name="connsiteX38" fmla="*/ 5419038 w 8636594"/>
              <a:gd name="connsiteY38" fmla="*/ 4472771 h 5730912"/>
              <a:gd name="connsiteX39" fmla="*/ 5468365 w 8636594"/>
              <a:gd name="connsiteY39" fmla="*/ 4402196 h 5730912"/>
              <a:gd name="connsiteX40" fmla="*/ 5517215 w 8636594"/>
              <a:gd name="connsiteY40" fmla="*/ 4331098 h 5730912"/>
              <a:gd name="connsiteX41" fmla="*/ 5565637 w 8636594"/>
              <a:gd name="connsiteY41" fmla="*/ 4259503 h 5730912"/>
              <a:gd name="connsiteX42" fmla="*/ 5613684 w 8636594"/>
              <a:gd name="connsiteY42" fmla="*/ 4187441 h 5730912"/>
              <a:gd name="connsiteX43" fmla="*/ 5685160 w 8636594"/>
              <a:gd name="connsiteY43" fmla="*/ 4078531 h 5730912"/>
              <a:gd name="connsiteX44" fmla="*/ 5756074 w 8636594"/>
              <a:gd name="connsiteY44" fmla="*/ 3968727 h 5730912"/>
              <a:gd name="connsiteX45" fmla="*/ 5873483 w 8636594"/>
              <a:gd name="connsiteY45" fmla="*/ 3783989 h 5730912"/>
              <a:gd name="connsiteX46" fmla="*/ 6203209 w 8636594"/>
              <a:gd name="connsiteY46" fmla="*/ 3258640 h 5730912"/>
              <a:gd name="connsiteX47" fmla="*/ 6299430 w 8636594"/>
              <a:gd name="connsiteY47" fmla="*/ 3107321 h 5730912"/>
              <a:gd name="connsiteX48" fmla="*/ 6372650 w 8636594"/>
              <a:gd name="connsiteY48" fmla="*/ 2993735 h 5730912"/>
              <a:gd name="connsiteX49" fmla="*/ 6453197 w 8636594"/>
              <a:gd name="connsiteY49" fmla="*/ 2869788 h 5730912"/>
              <a:gd name="connsiteX50" fmla="*/ 6564167 w 8636594"/>
              <a:gd name="connsiteY50" fmla="*/ 2696807 h 5730912"/>
              <a:gd name="connsiteX51" fmla="*/ 6976233 w 8636594"/>
              <a:gd name="connsiteY51" fmla="*/ 2045274 h 5730912"/>
              <a:gd name="connsiteX52" fmla="*/ 7086755 w 8636594"/>
              <a:gd name="connsiteY52" fmla="*/ 1872743 h 5730912"/>
              <a:gd name="connsiteX53" fmla="*/ 7170279 w 8636594"/>
              <a:gd name="connsiteY53" fmla="*/ 1744202 h 5730912"/>
              <a:gd name="connsiteX54" fmla="*/ 7226351 w 8636594"/>
              <a:gd name="connsiteY54" fmla="*/ 1659017 h 5730912"/>
              <a:gd name="connsiteX55" fmla="*/ 7282789 w 8636594"/>
              <a:gd name="connsiteY55" fmla="*/ 1574303 h 5730912"/>
              <a:gd name="connsiteX56" fmla="*/ 7339643 w 8636594"/>
              <a:gd name="connsiteY56" fmla="*/ 1490113 h 5730912"/>
              <a:gd name="connsiteX57" fmla="*/ 7396957 w 8636594"/>
              <a:gd name="connsiteY57" fmla="*/ 1406503 h 5730912"/>
              <a:gd name="connsiteX58" fmla="*/ 7454781 w 8636594"/>
              <a:gd name="connsiteY58" fmla="*/ 1323526 h 5730912"/>
              <a:gd name="connsiteX59" fmla="*/ 7513161 w 8636594"/>
              <a:gd name="connsiteY59" fmla="*/ 1241237 h 5730912"/>
              <a:gd name="connsiteX60" fmla="*/ 7572144 w 8636594"/>
              <a:gd name="connsiteY60" fmla="*/ 1159689 h 5730912"/>
              <a:gd name="connsiteX61" fmla="*/ 7601877 w 8636594"/>
              <a:gd name="connsiteY61" fmla="*/ 1119210 h 5730912"/>
              <a:gd name="connsiteX62" fmla="*/ 7631779 w 8636594"/>
              <a:gd name="connsiteY62" fmla="*/ 1078937 h 5730912"/>
              <a:gd name="connsiteX63" fmla="*/ 7661855 w 8636594"/>
              <a:gd name="connsiteY63" fmla="*/ 1038876 h 5730912"/>
              <a:gd name="connsiteX64" fmla="*/ 7692111 w 8636594"/>
              <a:gd name="connsiteY64" fmla="*/ 999035 h 5730912"/>
              <a:gd name="connsiteX65" fmla="*/ 7722554 w 8636594"/>
              <a:gd name="connsiteY65" fmla="*/ 959419 h 5730912"/>
              <a:gd name="connsiteX66" fmla="*/ 7753190 w 8636594"/>
              <a:gd name="connsiteY66" fmla="*/ 920037 h 5730912"/>
              <a:gd name="connsiteX67" fmla="*/ 7784023 w 8636594"/>
              <a:gd name="connsiteY67" fmla="*/ 880894 h 5730912"/>
              <a:gd name="connsiteX68" fmla="*/ 7815061 w 8636594"/>
              <a:gd name="connsiteY68" fmla="*/ 841997 h 5730912"/>
              <a:gd name="connsiteX69" fmla="*/ 7846308 w 8636594"/>
              <a:gd name="connsiteY69" fmla="*/ 803354 h 5730912"/>
              <a:gd name="connsiteX70" fmla="*/ 7877772 w 8636594"/>
              <a:gd name="connsiteY70" fmla="*/ 764970 h 5730912"/>
              <a:gd name="connsiteX71" fmla="*/ 7909458 w 8636594"/>
              <a:gd name="connsiteY71" fmla="*/ 726853 h 5730912"/>
              <a:gd name="connsiteX72" fmla="*/ 7941371 w 8636594"/>
              <a:gd name="connsiteY72" fmla="*/ 689010 h 5730912"/>
              <a:gd name="connsiteX73" fmla="*/ 7973518 w 8636594"/>
              <a:gd name="connsiteY73" fmla="*/ 651447 h 5730912"/>
              <a:gd name="connsiteX74" fmla="*/ 8005905 w 8636594"/>
              <a:gd name="connsiteY74" fmla="*/ 614171 h 5730912"/>
              <a:gd name="connsiteX75" fmla="*/ 8038538 w 8636594"/>
              <a:gd name="connsiteY75" fmla="*/ 577189 h 5730912"/>
              <a:gd name="connsiteX76" fmla="*/ 8071421 w 8636594"/>
              <a:gd name="connsiteY76" fmla="*/ 540507 h 5730912"/>
              <a:gd name="connsiteX77" fmla="*/ 8104563 w 8636594"/>
              <a:gd name="connsiteY77" fmla="*/ 504132 h 5730912"/>
              <a:gd name="connsiteX78" fmla="*/ 8137967 w 8636594"/>
              <a:gd name="connsiteY78" fmla="*/ 468072 h 5730912"/>
              <a:gd name="connsiteX79" fmla="*/ 8171641 w 8636594"/>
              <a:gd name="connsiteY79" fmla="*/ 432332 h 5730912"/>
              <a:gd name="connsiteX80" fmla="*/ 8205590 w 8636594"/>
              <a:gd name="connsiteY80" fmla="*/ 396920 h 5730912"/>
              <a:gd name="connsiteX81" fmla="*/ 8239820 w 8636594"/>
              <a:gd name="connsiteY81" fmla="*/ 361843 h 5730912"/>
              <a:gd name="connsiteX82" fmla="*/ 8274337 w 8636594"/>
              <a:gd name="connsiteY82" fmla="*/ 327107 h 5730912"/>
              <a:gd name="connsiteX83" fmla="*/ 8309147 w 8636594"/>
              <a:gd name="connsiteY83" fmla="*/ 292718 h 5730912"/>
              <a:gd name="connsiteX84" fmla="*/ 8344256 w 8636594"/>
              <a:gd name="connsiteY84" fmla="*/ 258685 h 5730912"/>
              <a:gd name="connsiteX85" fmla="*/ 8379669 w 8636594"/>
              <a:gd name="connsiteY85" fmla="*/ 225013 h 5730912"/>
              <a:gd name="connsiteX86" fmla="*/ 8415394 w 8636594"/>
              <a:gd name="connsiteY86" fmla="*/ 191709 h 5730912"/>
              <a:gd name="connsiteX87" fmla="*/ 8451434 w 8636594"/>
              <a:gd name="connsiteY87" fmla="*/ 158780 h 5730912"/>
              <a:gd name="connsiteX88" fmla="*/ 8487798 w 8636594"/>
              <a:gd name="connsiteY88" fmla="*/ 126233 h 5730912"/>
              <a:gd name="connsiteX89" fmla="*/ 8524489 w 8636594"/>
              <a:gd name="connsiteY89" fmla="*/ 94075 h 5730912"/>
              <a:gd name="connsiteX90" fmla="*/ 8561515 w 8636594"/>
              <a:gd name="connsiteY90" fmla="*/ 62312 h 5730912"/>
              <a:gd name="connsiteX91" fmla="*/ 8598881 w 8636594"/>
              <a:gd name="connsiteY91" fmla="*/ 30951 h 5730912"/>
              <a:gd name="connsiteX92" fmla="*/ 8636594 w 8636594"/>
              <a:gd name="connsiteY92" fmla="*/ 0 h 5730912"/>
              <a:gd name="connsiteX0" fmla="*/ 8636594 w 8636594"/>
              <a:gd name="connsiteY0" fmla="*/ 0 h 5703955"/>
              <a:gd name="connsiteX1" fmla="*/ 5293 w 8636594"/>
              <a:gd name="connsiteY1" fmla="*/ 0 h 5703955"/>
              <a:gd name="connsiteX2" fmla="*/ 0 w 8636594"/>
              <a:gd name="connsiteY2" fmla="*/ 5587843 h 5703955"/>
              <a:gd name="connsiteX3" fmla="*/ 4289081 w 8636594"/>
              <a:gd name="connsiteY3" fmla="*/ 5703955 h 5703955"/>
              <a:gd name="connsiteX4" fmla="*/ 4323654 w 8636594"/>
              <a:gd name="connsiteY4" fmla="*/ 5676722 h 5703955"/>
              <a:gd name="connsiteX5" fmla="*/ 4357854 w 8636594"/>
              <a:gd name="connsiteY5" fmla="*/ 5649218 h 5703955"/>
              <a:gd name="connsiteX6" fmla="*/ 4391688 w 8636594"/>
              <a:gd name="connsiteY6" fmla="*/ 5621446 h 5703955"/>
              <a:gd name="connsiteX7" fmla="*/ 4425162 w 8636594"/>
              <a:gd name="connsiteY7" fmla="*/ 5593409 h 5703955"/>
              <a:gd name="connsiteX8" fmla="*/ 4458281 w 8636594"/>
              <a:gd name="connsiteY8" fmla="*/ 5565111 h 5703955"/>
              <a:gd name="connsiteX9" fmla="*/ 4491053 w 8636594"/>
              <a:gd name="connsiteY9" fmla="*/ 5536556 h 5703955"/>
              <a:gd name="connsiteX10" fmla="*/ 4523484 w 8636594"/>
              <a:gd name="connsiteY10" fmla="*/ 5507747 h 5703955"/>
              <a:gd name="connsiteX11" fmla="*/ 4555580 w 8636594"/>
              <a:gd name="connsiteY11" fmla="*/ 5478687 h 5703955"/>
              <a:gd name="connsiteX12" fmla="*/ 4587347 w 8636594"/>
              <a:gd name="connsiteY12" fmla="*/ 5449380 h 5703955"/>
              <a:gd name="connsiteX13" fmla="*/ 4618793 w 8636594"/>
              <a:gd name="connsiteY13" fmla="*/ 5419830 h 5703955"/>
              <a:gd name="connsiteX14" fmla="*/ 4649922 w 8636594"/>
              <a:gd name="connsiteY14" fmla="*/ 5390040 h 5703955"/>
              <a:gd name="connsiteX15" fmla="*/ 4680742 w 8636594"/>
              <a:gd name="connsiteY15" fmla="*/ 5360014 h 5703955"/>
              <a:gd name="connsiteX16" fmla="*/ 4711259 w 8636594"/>
              <a:gd name="connsiteY16" fmla="*/ 5329755 h 5703955"/>
              <a:gd name="connsiteX17" fmla="*/ 4741478 w 8636594"/>
              <a:gd name="connsiteY17" fmla="*/ 5299266 h 5703955"/>
              <a:gd name="connsiteX18" fmla="*/ 4771408 w 8636594"/>
              <a:gd name="connsiteY18" fmla="*/ 5268551 h 5703955"/>
              <a:gd name="connsiteX19" fmla="*/ 4801053 w 8636594"/>
              <a:gd name="connsiteY19" fmla="*/ 5237614 h 5703955"/>
              <a:gd name="connsiteX20" fmla="*/ 4830420 w 8636594"/>
              <a:gd name="connsiteY20" fmla="*/ 5206458 h 5703955"/>
              <a:gd name="connsiteX21" fmla="*/ 4859516 w 8636594"/>
              <a:gd name="connsiteY21" fmla="*/ 5175087 h 5703955"/>
              <a:gd name="connsiteX22" fmla="*/ 4888347 w 8636594"/>
              <a:gd name="connsiteY22" fmla="*/ 5143504 h 5703955"/>
              <a:gd name="connsiteX23" fmla="*/ 4916919 w 8636594"/>
              <a:gd name="connsiteY23" fmla="*/ 5111713 h 5703955"/>
              <a:gd name="connsiteX24" fmla="*/ 4945238 w 8636594"/>
              <a:gd name="connsiteY24" fmla="*/ 5079717 h 5703955"/>
              <a:gd name="connsiteX25" fmla="*/ 4973311 w 8636594"/>
              <a:gd name="connsiteY25" fmla="*/ 5047519 h 5703955"/>
              <a:gd name="connsiteX26" fmla="*/ 5001145 w 8636594"/>
              <a:gd name="connsiteY26" fmla="*/ 5015124 h 5703955"/>
              <a:gd name="connsiteX27" fmla="*/ 5028745 w 8636594"/>
              <a:gd name="connsiteY27" fmla="*/ 4982535 h 5703955"/>
              <a:gd name="connsiteX28" fmla="*/ 5056117 w 8636594"/>
              <a:gd name="connsiteY28" fmla="*/ 4949755 h 5703955"/>
              <a:gd name="connsiteX29" fmla="*/ 5083269 w 8636594"/>
              <a:gd name="connsiteY29" fmla="*/ 4916787 h 5703955"/>
              <a:gd name="connsiteX30" fmla="*/ 5110207 w 8636594"/>
              <a:gd name="connsiteY30" fmla="*/ 4883636 h 5703955"/>
              <a:gd name="connsiteX31" fmla="*/ 5136937 w 8636594"/>
              <a:gd name="connsiteY31" fmla="*/ 4850305 h 5703955"/>
              <a:gd name="connsiteX32" fmla="*/ 5163464 w 8636594"/>
              <a:gd name="connsiteY32" fmla="*/ 4816797 h 5703955"/>
              <a:gd name="connsiteX33" fmla="*/ 5215940 w 8636594"/>
              <a:gd name="connsiteY33" fmla="*/ 4749265 h 5703955"/>
              <a:gd name="connsiteX34" fmla="*/ 5267684 w 8636594"/>
              <a:gd name="connsiteY34" fmla="*/ 4681068 h 5703955"/>
              <a:gd name="connsiteX35" fmla="*/ 5318748 w 8636594"/>
              <a:gd name="connsiteY35" fmla="*/ 4612234 h 5703955"/>
              <a:gd name="connsiteX36" fmla="*/ 5369182 w 8636594"/>
              <a:gd name="connsiteY36" fmla="*/ 4542793 h 5703955"/>
              <a:gd name="connsiteX37" fmla="*/ 5419038 w 8636594"/>
              <a:gd name="connsiteY37" fmla="*/ 4472771 h 5703955"/>
              <a:gd name="connsiteX38" fmla="*/ 5468365 w 8636594"/>
              <a:gd name="connsiteY38" fmla="*/ 4402196 h 5703955"/>
              <a:gd name="connsiteX39" fmla="*/ 5517215 w 8636594"/>
              <a:gd name="connsiteY39" fmla="*/ 4331098 h 5703955"/>
              <a:gd name="connsiteX40" fmla="*/ 5565637 w 8636594"/>
              <a:gd name="connsiteY40" fmla="*/ 4259503 h 5703955"/>
              <a:gd name="connsiteX41" fmla="*/ 5613684 w 8636594"/>
              <a:gd name="connsiteY41" fmla="*/ 4187441 h 5703955"/>
              <a:gd name="connsiteX42" fmla="*/ 5685160 w 8636594"/>
              <a:gd name="connsiteY42" fmla="*/ 4078531 h 5703955"/>
              <a:gd name="connsiteX43" fmla="*/ 5756074 w 8636594"/>
              <a:gd name="connsiteY43" fmla="*/ 3968727 h 5703955"/>
              <a:gd name="connsiteX44" fmla="*/ 5873483 w 8636594"/>
              <a:gd name="connsiteY44" fmla="*/ 3783989 h 5703955"/>
              <a:gd name="connsiteX45" fmla="*/ 6203209 w 8636594"/>
              <a:gd name="connsiteY45" fmla="*/ 3258640 h 5703955"/>
              <a:gd name="connsiteX46" fmla="*/ 6299430 w 8636594"/>
              <a:gd name="connsiteY46" fmla="*/ 3107321 h 5703955"/>
              <a:gd name="connsiteX47" fmla="*/ 6372650 w 8636594"/>
              <a:gd name="connsiteY47" fmla="*/ 2993735 h 5703955"/>
              <a:gd name="connsiteX48" fmla="*/ 6453197 w 8636594"/>
              <a:gd name="connsiteY48" fmla="*/ 2869788 h 5703955"/>
              <a:gd name="connsiteX49" fmla="*/ 6564167 w 8636594"/>
              <a:gd name="connsiteY49" fmla="*/ 2696807 h 5703955"/>
              <a:gd name="connsiteX50" fmla="*/ 6976233 w 8636594"/>
              <a:gd name="connsiteY50" fmla="*/ 2045274 h 5703955"/>
              <a:gd name="connsiteX51" fmla="*/ 7086755 w 8636594"/>
              <a:gd name="connsiteY51" fmla="*/ 1872743 h 5703955"/>
              <a:gd name="connsiteX52" fmla="*/ 7170279 w 8636594"/>
              <a:gd name="connsiteY52" fmla="*/ 1744202 h 5703955"/>
              <a:gd name="connsiteX53" fmla="*/ 7226351 w 8636594"/>
              <a:gd name="connsiteY53" fmla="*/ 1659017 h 5703955"/>
              <a:gd name="connsiteX54" fmla="*/ 7282789 w 8636594"/>
              <a:gd name="connsiteY54" fmla="*/ 1574303 h 5703955"/>
              <a:gd name="connsiteX55" fmla="*/ 7339643 w 8636594"/>
              <a:gd name="connsiteY55" fmla="*/ 1490113 h 5703955"/>
              <a:gd name="connsiteX56" fmla="*/ 7396957 w 8636594"/>
              <a:gd name="connsiteY56" fmla="*/ 1406503 h 5703955"/>
              <a:gd name="connsiteX57" fmla="*/ 7454781 w 8636594"/>
              <a:gd name="connsiteY57" fmla="*/ 1323526 h 5703955"/>
              <a:gd name="connsiteX58" fmla="*/ 7513161 w 8636594"/>
              <a:gd name="connsiteY58" fmla="*/ 1241237 h 5703955"/>
              <a:gd name="connsiteX59" fmla="*/ 7572144 w 8636594"/>
              <a:gd name="connsiteY59" fmla="*/ 1159689 h 5703955"/>
              <a:gd name="connsiteX60" fmla="*/ 7601877 w 8636594"/>
              <a:gd name="connsiteY60" fmla="*/ 1119210 h 5703955"/>
              <a:gd name="connsiteX61" fmla="*/ 7631779 w 8636594"/>
              <a:gd name="connsiteY61" fmla="*/ 1078937 h 5703955"/>
              <a:gd name="connsiteX62" fmla="*/ 7661855 w 8636594"/>
              <a:gd name="connsiteY62" fmla="*/ 1038876 h 5703955"/>
              <a:gd name="connsiteX63" fmla="*/ 7692111 w 8636594"/>
              <a:gd name="connsiteY63" fmla="*/ 999035 h 5703955"/>
              <a:gd name="connsiteX64" fmla="*/ 7722554 w 8636594"/>
              <a:gd name="connsiteY64" fmla="*/ 959419 h 5703955"/>
              <a:gd name="connsiteX65" fmla="*/ 7753190 w 8636594"/>
              <a:gd name="connsiteY65" fmla="*/ 920037 h 5703955"/>
              <a:gd name="connsiteX66" fmla="*/ 7784023 w 8636594"/>
              <a:gd name="connsiteY66" fmla="*/ 880894 h 5703955"/>
              <a:gd name="connsiteX67" fmla="*/ 7815061 w 8636594"/>
              <a:gd name="connsiteY67" fmla="*/ 841997 h 5703955"/>
              <a:gd name="connsiteX68" fmla="*/ 7846308 w 8636594"/>
              <a:gd name="connsiteY68" fmla="*/ 803354 h 5703955"/>
              <a:gd name="connsiteX69" fmla="*/ 7877772 w 8636594"/>
              <a:gd name="connsiteY69" fmla="*/ 764970 h 5703955"/>
              <a:gd name="connsiteX70" fmla="*/ 7909458 w 8636594"/>
              <a:gd name="connsiteY70" fmla="*/ 726853 h 5703955"/>
              <a:gd name="connsiteX71" fmla="*/ 7941371 w 8636594"/>
              <a:gd name="connsiteY71" fmla="*/ 689010 h 5703955"/>
              <a:gd name="connsiteX72" fmla="*/ 7973518 w 8636594"/>
              <a:gd name="connsiteY72" fmla="*/ 651447 h 5703955"/>
              <a:gd name="connsiteX73" fmla="*/ 8005905 w 8636594"/>
              <a:gd name="connsiteY73" fmla="*/ 614171 h 5703955"/>
              <a:gd name="connsiteX74" fmla="*/ 8038538 w 8636594"/>
              <a:gd name="connsiteY74" fmla="*/ 577189 h 5703955"/>
              <a:gd name="connsiteX75" fmla="*/ 8071421 w 8636594"/>
              <a:gd name="connsiteY75" fmla="*/ 540507 h 5703955"/>
              <a:gd name="connsiteX76" fmla="*/ 8104563 w 8636594"/>
              <a:gd name="connsiteY76" fmla="*/ 504132 h 5703955"/>
              <a:gd name="connsiteX77" fmla="*/ 8137967 w 8636594"/>
              <a:gd name="connsiteY77" fmla="*/ 468072 h 5703955"/>
              <a:gd name="connsiteX78" fmla="*/ 8171641 w 8636594"/>
              <a:gd name="connsiteY78" fmla="*/ 432332 h 5703955"/>
              <a:gd name="connsiteX79" fmla="*/ 8205590 w 8636594"/>
              <a:gd name="connsiteY79" fmla="*/ 396920 h 5703955"/>
              <a:gd name="connsiteX80" fmla="*/ 8239820 w 8636594"/>
              <a:gd name="connsiteY80" fmla="*/ 361843 h 5703955"/>
              <a:gd name="connsiteX81" fmla="*/ 8274337 w 8636594"/>
              <a:gd name="connsiteY81" fmla="*/ 327107 h 5703955"/>
              <a:gd name="connsiteX82" fmla="*/ 8309147 w 8636594"/>
              <a:gd name="connsiteY82" fmla="*/ 292718 h 5703955"/>
              <a:gd name="connsiteX83" fmla="*/ 8344256 w 8636594"/>
              <a:gd name="connsiteY83" fmla="*/ 258685 h 5703955"/>
              <a:gd name="connsiteX84" fmla="*/ 8379669 w 8636594"/>
              <a:gd name="connsiteY84" fmla="*/ 225013 h 5703955"/>
              <a:gd name="connsiteX85" fmla="*/ 8415394 w 8636594"/>
              <a:gd name="connsiteY85" fmla="*/ 191709 h 5703955"/>
              <a:gd name="connsiteX86" fmla="*/ 8451434 w 8636594"/>
              <a:gd name="connsiteY86" fmla="*/ 158780 h 5703955"/>
              <a:gd name="connsiteX87" fmla="*/ 8487798 w 8636594"/>
              <a:gd name="connsiteY87" fmla="*/ 126233 h 5703955"/>
              <a:gd name="connsiteX88" fmla="*/ 8524489 w 8636594"/>
              <a:gd name="connsiteY88" fmla="*/ 94075 h 5703955"/>
              <a:gd name="connsiteX89" fmla="*/ 8561515 w 8636594"/>
              <a:gd name="connsiteY89" fmla="*/ 62312 h 5703955"/>
              <a:gd name="connsiteX90" fmla="*/ 8598881 w 8636594"/>
              <a:gd name="connsiteY90" fmla="*/ 30951 h 5703955"/>
              <a:gd name="connsiteX91" fmla="*/ 8636594 w 8636594"/>
              <a:gd name="connsiteY91" fmla="*/ 0 h 5703955"/>
              <a:gd name="connsiteX0" fmla="*/ 8636594 w 8636594"/>
              <a:gd name="connsiteY0" fmla="*/ 0 h 5676722"/>
              <a:gd name="connsiteX1" fmla="*/ 5293 w 8636594"/>
              <a:gd name="connsiteY1" fmla="*/ 0 h 5676722"/>
              <a:gd name="connsiteX2" fmla="*/ 0 w 8636594"/>
              <a:gd name="connsiteY2" fmla="*/ 5587843 h 5676722"/>
              <a:gd name="connsiteX3" fmla="*/ 4323654 w 8636594"/>
              <a:gd name="connsiteY3" fmla="*/ 5676722 h 5676722"/>
              <a:gd name="connsiteX4" fmla="*/ 4357854 w 8636594"/>
              <a:gd name="connsiteY4" fmla="*/ 5649218 h 5676722"/>
              <a:gd name="connsiteX5" fmla="*/ 4391688 w 8636594"/>
              <a:gd name="connsiteY5" fmla="*/ 5621446 h 5676722"/>
              <a:gd name="connsiteX6" fmla="*/ 4425162 w 8636594"/>
              <a:gd name="connsiteY6" fmla="*/ 5593409 h 5676722"/>
              <a:gd name="connsiteX7" fmla="*/ 4458281 w 8636594"/>
              <a:gd name="connsiteY7" fmla="*/ 5565111 h 5676722"/>
              <a:gd name="connsiteX8" fmla="*/ 4491053 w 8636594"/>
              <a:gd name="connsiteY8" fmla="*/ 5536556 h 5676722"/>
              <a:gd name="connsiteX9" fmla="*/ 4523484 w 8636594"/>
              <a:gd name="connsiteY9" fmla="*/ 5507747 h 5676722"/>
              <a:gd name="connsiteX10" fmla="*/ 4555580 w 8636594"/>
              <a:gd name="connsiteY10" fmla="*/ 5478687 h 5676722"/>
              <a:gd name="connsiteX11" fmla="*/ 4587347 w 8636594"/>
              <a:gd name="connsiteY11" fmla="*/ 5449380 h 5676722"/>
              <a:gd name="connsiteX12" fmla="*/ 4618793 w 8636594"/>
              <a:gd name="connsiteY12" fmla="*/ 5419830 h 5676722"/>
              <a:gd name="connsiteX13" fmla="*/ 4649922 w 8636594"/>
              <a:gd name="connsiteY13" fmla="*/ 5390040 h 5676722"/>
              <a:gd name="connsiteX14" fmla="*/ 4680742 w 8636594"/>
              <a:gd name="connsiteY14" fmla="*/ 5360014 h 5676722"/>
              <a:gd name="connsiteX15" fmla="*/ 4711259 w 8636594"/>
              <a:gd name="connsiteY15" fmla="*/ 5329755 h 5676722"/>
              <a:gd name="connsiteX16" fmla="*/ 4741478 w 8636594"/>
              <a:gd name="connsiteY16" fmla="*/ 5299266 h 5676722"/>
              <a:gd name="connsiteX17" fmla="*/ 4771408 w 8636594"/>
              <a:gd name="connsiteY17" fmla="*/ 5268551 h 5676722"/>
              <a:gd name="connsiteX18" fmla="*/ 4801053 w 8636594"/>
              <a:gd name="connsiteY18" fmla="*/ 5237614 h 5676722"/>
              <a:gd name="connsiteX19" fmla="*/ 4830420 w 8636594"/>
              <a:gd name="connsiteY19" fmla="*/ 5206458 h 5676722"/>
              <a:gd name="connsiteX20" fmla="*/ 4859516 w 8636594"/>
              <a:gd name="connsiteY20" fmla="*/ 5175087 h 5676722"/>
              <a:gd name="connsiteX21" fmla="*/ 4888347 w 8636594"/>
              <a:gd name="connsiteY21" fmla="*/ 5143504 h 5676722"/>
              <a:gd name="connsiteX22" fmla="*/ 4916919 w 8636594"/>
              <a:gd name="connsiteY22" fmla="*/ 5111713 h 5676722"/>
              <a:gd name="connsiteX23" fmla="*/ 4945238 w 8636594"/>
              <a:gd name="connsiteY23" fmla="*/ 5079717 h 5676722"/>
              <a:gd name="connsiteX24" fmla="*/ 4973311 w 8636594"/>
              <a:gd name="connsiteY24" fmla="*/ 5047519 h 5676722"/>
              <a:gd name="connsiteX25" fmla="*/ 5001145 w 8636594"/>
              <a:gd name="connsiteY25" fmla="*/ 5015124 h 5676722"/>
              <a:gd name="connsiteX26" fmla="*/ 5028745 w 8636594"/>
              <a:gd name="connsiteY26" fmla="*/ 4982535 h 5676722"/>
              <a:gd name="connsiteX27" fmla="*/ 5056117 w 8636594"/>
              <a:gd name="connsiteY27" fmla="*/ 4949755 h 5676722"/>
              <a:gd name="connsiteX28" fmla="*/ 5083269 w 8636594"/>
              <a:gd name="connsiteY28" fmla="*/ 4916787 h 5676722"/>
              <a:gd name="connsiteX29" fmla="*/ 5110207 w 8636594"/>
              <a:gd name="connsiteY29" fmla="*/ 4883636 h 5676722"/>
              <a:gd name="connsiteX30" fmla="*/ 5136937 w 8636594"/>
              <a:gd name="connsiteY30" fmla="*/ 4850305 h 5676722"/>
              <a:gd name="connsiteX31" fmla="*/ 5163464 w 8636594"/>
              <a:gd name="connsiteY31" fmla="*/ 4816797 h 5676722"/>
              <a:gd name="connsiteX32" fmla="*/ 5215940 w 8636594"/>
              <a:gd name="connsiteY32" fmla="*/ 4749265 h 5676722"/>
              <a:gd name="connsiteX33" fmla="*/ 5267684 w 8636594"/>
              <a:gd name="connsiteY33" fmla="*/ 4681068 h 5676722"/>
              <a:gd name="connsiteX34" fmla="*/ 5318748 w 8636594"/>
              <a:gd name="connsiteY34" fmla="*/ 4612234 h 5676722"/>
              <a:gd name="connsiteX35" fmla="*/ 5369182 w 8636594"/>
              <a:gd name="connsiteY35" fmla="*/ 4542793 h 5676722"/>
              <a:gd name="connsiteX36" fmla="*/ 5419038 w 8636594"/>
              <a:gd name="connsiteY36" fmla="*/ 4472771 h 5676722"/>
              <a:gd name="connsiteX37" fmla="*/ 5468365 w 8636594"/>
              <a:gd name="connsiteY37" fmla="*/ 4402196 h 5676722"/>
              <a:gd name="connsiteX38" fmla="*/ 5517215 w 8636594"/>
              <a:gd name="connsiteY38" fmla="*/ 4331098 h 5676722"/>
              <a:gd name="connsiteX39" fmla="*/ 5565637 w 8636594"/>
              <a:gd name="connsiteY39" fmla="*/ 4259503 h 5676722"/>
              <a:gd name="connsiteX40" fmla="*/ 5613684 w 8636594"/>
              <a:gd name="connsiteY40" fmla="*/ 4187441 h 5676722"/>
              <a:gd name="connsiteX41" fmla="*/ 5685160 w 8636594"/>
              <a:gd name="connsiteY41" fmla="*/ 4078531 h 5676722"/>
              <a:gd name="connsiteX42" fmla="*/ 5756074 w 8636594"/>
              <a:gd name="connsiteY42" fmla="*/ 3968727 h 5676722"/>
              <a:gd name="connsiteX43" fmla="*/ 5873483 w 8636594"/>
              <a:gd name="connsiteY43" fmla="*/ 3783989 h 5676722"/>
              <a:gd name="connsiteX44" fmla="*/ 6203209 w 8636594"/>
              <a:gd name="connsiteY44" fmla="*/ 3258640 h 5676722"/>
              <a:gd name="connsiteX45" fmla="*/ 6299430 w 8636594"/>
              <a:gd name="connsiteY45" fmla="*/ 3107321 h 5676722"/>
              <a:gd name="connsiteX46" fmla="*/ 6372650 w 8636594"/>
              <a:gd name="connsiteY46" fmla="*/ 2993735 h 5676722"/>
              <a:gd name="connsiteX47" fmla="*/ 6453197 w 8636594"/>
              <a:gd name="connsiteY47" fmla="*/ 2869788 h 5676722"/>
              <a:gd name="connsiteX48" fmla="*/ 6564167 w 8636594"/>
              <a:gd name="connsiteY48" fmla="*/ 2696807 h 5676722"/>
              <a:gd name="connsiteX49" fmla="*/ 6976233 w 8636594"/>
              <a:gd name="connsiteY49" fmla="*/ 2045274 h 5676722"/>
              <a:gd name="connsiteX50" fmla="*/ 7086755 w 8636594"/>
              <a:gd name="connsiteY50" fmla="*/ 1872743 h 5676722"/>
              <a:gd name="connsiteX51" fmla="*/ 7170279 w 8636594"/>
              <a:gd name="connsiteY51" fmla="*/ 1744202 h 5676722"/>
              <a:gd name="connsiteX52" fmla="*/ 7226351 w 8636594"/>
              <a:gd name="connsiteY52" fmla="*/ 1659017 h 5676722"/>
              <a:gd name="connsiteX53" fmla="*/ 7282789 w 8636594"/>
              <a:gd name="connsiteY53" fmla="*/ 1574303 h 5676722"/>
              <a:gd name="connsiteX54" fmla="*/ 7339643 w 8636594"/>
              <a:gd name="connsiteY54" fmla="*/ 1490113 h 5676722"/>
              <a:gd name="connsiteX55" fmla="*/ 7396957 w 8636594"/>
              <a:gd name="connsiteY55" fmla="*/ 1406503 h 5676722"/>
              <a:gd name="connsiteX56" fmla="*/ 7454781 w 8636594"/>
              <a:gd name="connsiteY56" fmla="*/ 1323526 h 5676722"/>
              <a:gd name="connsiteX57" fmla="*/ 7513161 w 8636594"/>
              <a:gd name="connsiteY57" fmla="*/ 1241237 h 5676722"/>
              <a:gd name="connsiteX58" fmla="*/ 7572144 w 8636594"/>
              <a:gd name="connsiteY58" fmla="*/ 1159689 h 5676722"/>
              <a:gd name="connsiteX59" fmla="*/ 7601877 w 8636594"/>
              <a:gd name="connsiteY59" fmla="*/ 1119210 h 5676722"/>
              <a:gd name="connsiteX60" fmla="*/ 7631779 w 8636594"/>
              <a:gd name="connsiteY60" fmla="*/ 1078937 h 5676722"/>
              <a:gd name="connsiteX61" fmla="*/ 7661855 w 8636594"/>
              <a:gd name="connsiteY61" fmla="*/ 1038876 h 5676722"/>
              <a:gd name="connsiteX62" fmla="*/ 7692111 w 8636594"/>
              <a:gd name="connsiteY62" fmla="*/ 999035 h 5676722"/>
              <a:gd name="connsiteX63" fmla="*/ 7722554 w 8636594"/>
              <a:gd name="connsiteY63" fmla="*/ 959419 h 5676722"/>
              <a:gd name="connsiteX64" fmla="*/ 7753190 w 8636594"/>
              <a:gd name="connsiteY64" fmla="*/ 920037 h 5676722"/>
              <a:gd name="connsiteX65" fmla="*/ 7784023 w 8636594"/>
              <a:gd name="connsiteY65" fmla="*/ 880894 h 5676722"/>
              <a:gd name="connsiteX66" fmla="*/ 7815061 w 8636594"/>
              <a:gd name="connsiteY66" fmla="*/ 841997 h 5676722"/>
              <a:gd name="connsiteX67" fmla="*/ 7846308 w 8636594"/>
              <a:gd name="connsiteY67" fmla="*/ 803354 h 5676722"/>
              <a:gd name="connsiteX68" fmla="*/ 7877772 w 8636594"/>
              <a:gd name="connsiteY68" fmla="*/ 764970 h 5676722"/>
              <a:gd name="connsiteX69" fmla="*/ 7909458 w 8636594"/>
              <a:gd name="connsiteY69" fmla="*/ 726853 h 5676722"/>
              <a:gd name="connsiteX70" fmla="*/ 7941371 w 8636594"/>
              <a:gd name="connsiteY70" fmla="*/ 689010 h 5676722"/>
              <a:gd name="connsiteX71" fmla="*/ 7973518 w 8636594"/>
              <a:gd name="connsiteY71" fmla="*/ 651447 h 5676722"/>
              <a:gd name="connsiteX72" fmla="*/ 8005905 w 8636594"/>
              <a:gd name="connsiteY72" fmla="*/ 614171 h 5676722"/>
              <a:gd name="connsiteX73" fmla="*/ 8038538 w 8636594"/>
              <a:gd name="connsiteY73" fmla="*/ 577189 h 5676722"/>
              <a:gd name="connsiteX74" fmla="*/ 8071421 w 8636594"/>
              <a:gd name="connsiteY74" fmla="*/ 540507 h 5676722"/>
              <a:gd name="connsiteX75" fmla="*/ 8104563 w 8636594"/>
              <a:gd name="connsiteY75" fmla="*/ 504132 h 5676722"/>
              <a:gd name="connsiteX76" fmla="*/ 8137967 w 8636594"/>
              <a:gd name="connsiteY76" fmla="*/ 468072 h 5676722"/>
              <a:gd name="connsiteX77" fmla="*/ 8171641 w 8636594"/>
              <a:gd name="connsiteY77" fmla="*/ 432332 h 5676722"/>
              <a:gd name="connsiteX78" fmla="*/ 8205590 w 8636594"/>
              <a:gd name="connsiteY78" fmla="*/ 396920 h 5676722"/>
              <a:gd name="connsiteX79" fmla="*/ 8239820 w 8636594"/>
              <a:gd name="connsiteY79" fmla="*/ 361843 h 5676722"/>
              <a:gd name="connsiteX80" fmla="*/ 8274337 w 8636594"/>
              <a:gd name="connsiteY80" fmla="*/ 327107 h 5676722"/>
              <a:gd name="connsiteX81" fmla="*/ 8309147 w 8636594"/>
              <a:gd name="connsiteY81" fmla="*/ 292718 h 5676722"/>
              <a:gd name="connsiteX82" fmla="*/ 8344256 w 8636594"/>
              <a:gd name="connsiteY82" fmla="*/ 258685 h 5676722"/>
              <a:gd name="connsiteX83" fmla="*/ 8379669 w 8636594"/>
              <a:gd name="connsiteY83" fmla="*/ 225013 h 5676722"/>
              <a:gd name="connsiteX84" fmla="*/ 8415394 w 8636594"/>
              <a:gd name="connsiteY84" fmla="*/ 191709 h 5676722"/>
              <a:gd name="connsiteX85" fmla="*/ 8451434 w 8636594"/>
              <a:gd name="connsiteY85" fmla="*/ 158780 h 5676722"/>
              <a:gd name="connsiteX86" fmla="*/ 8487798 w 8636594"/>
              <a:gd name="connsiteY86" fmla="*/ 126233 h 5676722"/>
              <a:gd name="connsiteX87" fmla="*/ 8524489 w 8636594"/>
              <a:gd name="connsiteY87" fmla="*/ 94075 h 5676722"/>
              <a:gd name="connsiteX88" fmla="*/ 8561515 w 8636594"/>
              <a:gd name="connsiteY88" fmla="*/ 62312 h 5676722"/>
              <a:gd name="connsiteX89" fmla="*/ 8598881 w 8636594"/>
              <a:gd name="connsiteY89" fmla="*/ 30951 h 5676722"/>
              <a:gd name="connsiteX90" fmla="*/ 8636594 w 8636594"/>
              <a:gd name="connsiteY90" fmla="*/ 0 h 5676722"/>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391688 w 8636594"/>
              <a:gd name="connsiteY4" fmla="*/ 5621446 h 5649218"/>
              <a:gd name="connsiteX5" fmla="*/ 4425162 w 8636594"/>
              <a:gd name="connsiteY5" fmla="*/ 5593409 h 5649218"/>
              <a:gd name="connsiteX6" fmla="*/ 4458281 w 8636594"/>
              <a:gd name="connsiteY6" fmla="*/ 5565111 h 5649218"/>
              <a:gd name="connsiteX7" fmla="*/ 4491053 w 8636594"/>
              <a:gd name="connsiteY7" fmla="*/ 5536556 h 5649218"/>
              <a:gd name="connsiteX8" fmla="*/ 4523484 w 8636594"/>
              <a:gd name="connsiteY8" fmla="*/ 5507747 h 5649218"/>
              <a:gd name="connsiteX9" fmla="*/ 4555580 w 8636594"/>
              <a:gd name="connsiteY9" fmla="*/ 5478687 h 5649218"/>
              <a:gd name="connsiteX10" fmla="*/ 4587347 w 8636594"/>
              <a:gd name="connsiteY10" fmla="*/ 5449380 h 5649218"/>
              <a:gd name="connsiteX11" fmla="*/ 4618793 w 8636594"/>
              <a:gd name="connsiteY11" fmla="*/ 5419830 h 5649218"/>
              <a:gd name="connsiteX12" fmla="*/ 4649922 w 8636594"/>
              <a:gd name="connsiteY12" fmla="*/ 5390040 h 5649218"/>
              <a:gd name="connsiteX13" fmla="*/ 4680742 w 8636594"/>
              <a:gd name="connsiteY13" fmla="*/ 5360014 h 5649218"/>
              <a:gd name="connsiteX14" fmla="*/ 4711259 w 8636594"/>
              <a:gd name="connsiteY14" fmla="*/ 5329755 h 5649218"/>
              <a:gd name="connsiteX15" fmla="*/ 4741478 w 8636594"/>
              <a:gd name="connsiteY15" fmla="*/ 5299266 h 5649218"/>
              <a:gd name="connsiteX16" fmla="*/ 4771408 w 8636594"/>
              <a:gd name="connsiteY16" fmla="*/ 5268551 h 5649218"/>
              <a:gd name="connsiteX17" fmla="*/ 4801053 w 8636594"/>
              <a:gd name="connsiteY17" fmla="*/ 5237614 h 5649218"/>
              <a:gd name="connsiteX18" fmla="*/ 4830420 w 8636594"/>
              <a:gd name="connsiteY18" fmla="*/ 5206458 h 5649218"/>
              <a:gd name="connsiteX19" fmla="*/ 4859516 w 8636594"/>
              <a:gd name="connsiteY19" fmla="*/ 5175087 h 5649218"/>
              <a:gd name="connsiteX20" fmla="*/ 4888347 w 8636594"/>
              <a:gd name="connsiteY20" fmla="*/ 5143504 h 5649218"/>
              <a:gd name="connsiteX21" fmla="*/ 4916919 w 8636594"/>
              <a:gd name="connsiteY21" fmla="*/ 5111713 h 5649218"/>
              <a:gd name="connsiteX22" fmla="*/ 4945238 w 8636594"/>
              <a:gd name="connsiteY22" fmla="*/ 5079717 h 5649218"/>
              <a:gd name="connsiteX23" fmla="*/ 4973311 w 8636594"/>
              <a:gd name="connsiteY23" fmla="*/ 5047519 h 5649218"/>
              <a:gd name="connsiteX24" fmla="*/ 5001145 w 8636594"/>
              <a:gd name="connsiteY24" fmla="*/ 5015124 h 5649218"/>
              <a:gd name="connsiteX25" fmla="*/ 5028745 w 8636594"/>
              <a:gd name="connsiteY25" fmla="*/ 4982535 h 5649218"/>
              <a:gd name="connsiteX26" fmla="*/ 5056117 w 8636594"/>
              <a:gd name="connsiteY26" fmla="*/ 4949755 h 5649218"/>
              <a:gd name="connsiteX27" fmla="*/ 5083269 w 8636594"/>
              <a:gd name="connsiteY27" fmla="*/ 4916787 h 5649218"/>
              <a:gd name="connsiteX28" fmla="*/ 5110207 w 8636594"/>
              <a:gd name="connsiteY28" fmla="*/ 4883636 h 5649218"/>
              <a:gd name="connsiteX29" fmla="*/ 5136937 w 8636594"/>
              <a:gd name="connsiteY29" fmla="*/ 4850305 h 5649218"/>
              <a:gd name="connsiteX30" fmla="*/ 5163464 w 8636594"/>
              <a:gd name="connsiteY30" fmla="*/ 4816797 h 5649218"/>
              <a:gd name="connsiteX31" fmla="*/ 5215940 w 8636594"/>
              <a:gd name="connsiteY31" fmla="*/ 4749265 h 5649218"/>
              <a:gd name="connsiteX32" fmla="*/ 5267684 w 8636594"/>
              <a:gd name="connsiteY32" fmla="*/ 4681068 h 5649218"/>
              <a:gd name="connsiteX33" fmla="*/ 5318748 w 8636594"/>
              <a:gd name="connsiteY33" fmla="*/ 4612234 h 5649218"/>
              <a:gd name="connsiteX34" fmla="*/ 5369182 w 8636594"/>
              <a:gd name="connsiteY34" fmla="*/ 4542793 h 5649218"/>
              <a:gd name="connsiteX35" fmla="*/ 5419038 w 8636594"/>
              <a:gd name="connsiteY35" fmla="*/ 4472771 h 5649218"/>
              <a:gd name="connsiteX36" fmla="*/ 5468365 w 8636594"/>
              <a:gd name="connsiteY36" fmla="*/ 4402196 h 5649218"/>
              <a:gd name="connsiteX37" fmla="*/ 5517215 w 8636594"/>
              <a:gd name="connsiteY37" fmla="*/ 4331098 h 5649218"/>
              <a:gd name="connsiteX38" fmla="*/ 5565637 w 8636594"/>
              <a:gd name="connsiteY38" fmla="*/ 4259503 h 5649218"/>
              <a:gd name="connsiteX39" fmla="*/ 5613684 w 8636594"/>
              <a:gd name="connsiteY39" fmla="*/ 4187441 h 5649218"/>
              <a:gd name="connsiteX40" fmla="*/ 5685160 w 8636594"/>
              <a:gd name="connsiteY40" fmla="*/ 4078531 h 5649218"/>
              <a:gd name="connsiteX41" fmla="*/ 5756074 w 8636594"/>
              <a:gd name="connsiteY41" fmla="*/ 3968727 h 5649218"/>
              <a:gd name="connsiteX42" fmla="*/ 5873483 w 8636594"/>
              <a:gd name="connsiteY42" fmla="*/ 3783989 h 5649218"/>
              <a:gd name="connsiteX43" fmla="*/ 6203209 w 8636594"/>
              <a:gd name="connsiteY43" fmla="*/ 3258640 h 5649218"/>
              <a:gd name="connsiteX44" fmla="*/ 6299430 w 8636594"/>
              <a:gd name="connsiteY44" fmla="*/ 3107321 h 5649218"/>
              <a:gd name="connsiteX45" fmla="*/ 6372650 w 8636594"/>
              <a:gd name="connsiteY45" fmla="*/ 2993735 h 5649218"/>
              <a:gd name="connsiteX46" fmla="*/ 6453197 w 8636594"/>
              <a:gd name="connsiteY46" fmla="*/ 2869788 h 5649218"/>
              <a:gd name="connsiteX47" fmla="*/ 6564167 w 8636594"/>
              <a:gd name="connsiteY47" fmla="*/ 2696807 h 5649218"/>
              <a:gd name="connsiteX48" fmla="*/ 6976233 w 8636594"/>
              <a:gd name="connsiteY48" fmla="*/ 2045274 h 5649218"/>
              <a:gd name="connsiteX49" fmla="*/ 7086755 w 8636594"/>
              <a:gd name="connsiteY49" fmla="*/ 1872743 h 5649218"/>
              <a:gd name="connsiteX50" fmla="*/ 7170279 w 8636594"/>
              <a:gd name="connsiteY50" fmla="*/ 1744202 h 5649218"/>
              <a:gd name="connsiteX51" fmla="*/ 7226351 w 8636594"/>
              <a:gd name="connsiteY51" fmla="*/ 1659017 h 5649218"/>
              <a:gd name="connsiteX52" fmla="*/ 7282789 w 8636594"/>
              <a:gd name="connsiteY52" fmla="*/ 1574303 h 5649218"/>
              <a:gd name="connsiteX53" fmla="*/ 7339643 w 8636594"/>
              <a:gd name="connsiteY53" fmla="*/ 1490113 h 5649218"/>
              <a:gd name="connsiteX54" fmla="*/ 7396957 w 8636594"/>
              <a:gd name="connsiteY54" fmla="*/ 1406503 h 5649218"/>
              <a:gd name="connsiteX55" fmla="*/ 7454781 w 8636594"/>
              <a:gd name="connsiteY55" fmla="*/ 1323526 h 5649218"/>
              <a:gd name="connsiteX56" fmla="*/ 7513161 w 8636594"/>
              <a:gd name="connsiteY56" fmla="*/ 1241237 h 5649218"/>
              <a:gd name="connsiteX57" fmla="*/ 7572144 w 8636594"/>
              <a:gd name="connsiteY57" fmla="*/ 1159689 h 5649218"/>
              <a:gd name="connsiteX58" fmla="*/ 7601877 w 8636594"/>
              <a:gd name="connsiteY58" fmla="*/ 1119210 h 5649218"/>
              <a:gd name="connsiteX59" fmla="*/ 7631779 w 8636594"/>
              <a:gd name="connsiteY59" fmla="*/ 1078937 h 5649218"/>
              <a:gd name="connsiteX60" fmla="*/ 7661855 w 8636594"/>
              <a:gd name="connsiteY60" fmla="*/ 1038876 h 5649218"/>
              <a:gd name="connsiteX61" fmla="*/ 7692111 w 8636594"/>
              <a:gd name="connsiteY61" fmla="*/ 999035 h 5649218"/>
              <a:gd name="connsiteX62" fmla="*/ 7722554 w 8636594"/>
              <a:gd name="connsiteY62" fmla="*/ 959419 h 5649218"/>
              <a:gd name="connsiteX63" fmla="*/ 7753190 w 8636594"/>
              <a:gd name="connsiteY63" fmla="*/ 920037 h 5649218"/>
              <a:gd name="connsiteX64" fmla="*/ 7784023 w 8636594"/>
              <a:gd name="connsiteY64" fmla="*/ 880894 h 5649218"/>
              <a:gd name="connsiteX65" fmla="*/ 7815061 w 8636594"/>
              <a:gd name="connsiteY65" fmla="*/ 841997 h 5649218"/>
              <a:gd name="connsiteX66" fmla="*/ 7846308 w 8636594"/>
              <a:gd name="connsiteY66" fmla="*/ 803354 h 5649218"/>
              <a:gd name="connsiteX67" fmla="*/ 7877772 w 8636594"/>
              <a:gd name="connsiteY67" fmla="*/ 764970 h 5649218"/>
              <a:gd name="connsiteX68" fmla="*/ 7909458 w 8636594"/>
              <a:gd name="connsiteY68" fmla="*/ 726853 h 5649218"/>
              <a:gd name="connsiteX69" fmla="*/ 7941371 w 8636594"/>
              <a:gd name="connsiteY69" fmla="*/ 689010 h 5649218"/>
              <a:gd name="connsiteX70" fmla="*/ 7973518 w 8636594"/>
              <a:gd name="connsiteY70" fmla="*/ 651447 h 5649218"/>
              <a:gd name="connsiteX71" fmla="*/ 8005905 w 8636594"/>
              <a:gd name="connsiteY71" fmla="*/ 614171 h 5649218"/>
              <a:gd name="connsiteX72" fmla="*/ 8038538 w 8636594"/>
              <a:gd name="connsiteY72" fmla="*/ 577189 h 5649218"/>
              <a:gd name="connsiteX73" fmla="*/ 8071421 w 8636594"/>
              <a:gd name="connsiteY73" fmla="*/ 540507 h 5649218"/>
              <a:gd name="connsiteX74" fmla="*/ 8104563 w 8636594"/>
              <a:gd name="connsiteY74" fmla="*/ 504132 h 5649218"/>
              <a:gd name="connsiteX75" fmla="*/ 8137967 w 8636594"/>
              <a:gd name="connsiteY75" fmla="*/ 468072 h 5649218"/>
              <a:gd name="connsiteX76" fmla="*/ 8171641 w 8636594"/>
              <a:gd name="connsiteY76" fmla="*/ 432332 h 5649218"/>
              <a:gd name="connsiteX77" fmla="*/ 8205590 w 8636594"/>
              <a:gd name="connsiteY77" fmla="*/ 396920 h 5649218"/>
              <a:gd name="connsiteX78" fmla="*/ 8239820 w 8636594"/>
              <a:gd name="connsiteY78" fmla="*/ 361843 h 5649218"/>
              <a:gd name="connsiteX79" fmla="*/ 8274337 w 8636594"/>
              <a:gd name="connsiteY79" fmla="*/ 327107 h 5649218"/>
              <a:gd name="connsiteX80" fmla="*/ 8309147 w 8636594"/>
              <a:gd name="connsiteY80" fmla="*/ 292718 h 5649218"/>
              <a:gd name="connsiteX81" fmla="*/ 8344256 w 8636594"/>
              <a:gd name="connsiteY81" fmla="*/ 258685 h 5649218"/>
              <a:gd name="connsiteX82" fmla="*/ 8379669 w 8636594"/>
              <a:gd name="connsiteY82" fmla="*/ 225013 h 5649218"/>
              <a:gd name="connsiteX83" fmla="*/ 8415394 w 8636594"/>
              <a:gd name="connsiteY83" fmla="*/ 191709 h 5649218"/>
              <a:gd name="connsiteX84" fmla="*/ 8451434 w 8636594"/>
              <a:gd name="connsiteY84" fmla="*/ 158780 h 5649218"/>
              <a:gd name="connsiteX85" fmla="*/ 8487798 w 8636594"/>
              <a:gd name="connsiteY85" fmla="*/ 126233 h 5649218"/>
              <a:gd name="connsiteX86" fmla="*/ 8524489 w 8636594"/>
              <a:gd name="connsiteY86" fmla="*/ 94075 h 5649218"/>
              <a:gd name="connsiteX87" fmla="*/ 8561515 w 8636594"/>
              <a:gd name="connsiteY87" fmla="*/ 62312 h 5649218"/>
              <a:gd name="connsiteX88" fmla="*/ 8598881 w 8636594"/>
              <a:gd name="connsiteY88" fmla="*/ 30951 h 5649218"/>
              <a:gd name="connsiteX89" fmla="*/ 8636594 w 8636594"/>
              <a:gd name="connsiteY89" fmla="*/ 0 h 5649218"/>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425162 w 8636594"/>
              <a:gd name="connsiteY4" fmla="*/ 5593409 h 5649218"/>
              <a:gd name="connsiteX5" fmla="*/ 4458281 w 8636594"/>
              <a:gd name="connsiteY5" fmla="*/ 5565111 h 5649218"/>
              <a:gd name="connsiteX6" fmla="*/ 4491053 w 8636594"/>
              <a:gd name="connsiteY6" fmla="*/ 5536556 h 5649218"/>
              <a:gd name="connsiteX7" fmla="*/ 4523484 w 8636594"/>
              <a:gd name="connsiteY7" fmla="*/ 5507747 h 5649218"/>
              <a:gd name="connsiteX8" fmla="*/ 4555580 w 8636594"/>
              <a:gd name="connsiteY8" fmla="*/ 5478687 h 5649218"/>
              <a:gd name="connsiteX9" fmla="*/ 4587347 w 8636594"/>
              <a:gd name="connsiteY9" fmla="*/ 5449380 h 5649218"/>
              <a:gd name="connsiteX10" fmla="*/ 4618793 w 8636594"/>
              <a:gd name="connsiteY10" fmla="*/ 5419830 h 5649218"/>
              <a:gd name="connsiteX11" fmla="*/ 4649922 w 8636594"/>
              <a:gd name="connsiteY11" fmla="*/ 5390040 h 5649218"/>
              <a:gd name="connsiteX12" fmla="*/ 4680742 w 8636594"/>
              <a:gd name="connsiteY12" fmla="*/ 5360014 h 5649218"/>
              <a:gd name="connsiteX13" fmla="*/ 4711259 w 8636594"/>
              <a:gd name="connsiteY13" fmla="*/ 5329755 h 5649218"/>
              <a:gd name="connsiteX14" fmla="*/ 4741478 w 8636594"/>
              <a:gd name="connsiteY14" fmla="*/ 5299266 h 5649218"/>
              <a:gd name="connsiteX15" fmla="*/ 4771408 w 8636594"/>
              <a:gd name="connsiteY15" fmla="*/ 5268551 h 5649218"/>
              <a:gd name="connsiteX16" fmla="*/ 4801053 w 8636594"/>
              <a:gd name="connsiteY16" fmla="*/ 5237614 h 5649218"/>
              <a:gd name="connsiteX17" fmla="*/ 4830420 w 8636594"/>
              <a:gd name="connsiteY17" fmla="*/ 5206458 h 5649218"/>
              <a:gd name="connsiteX18" fmla="*/ 4859516 w 8636594"/>
              <a:gd name="connsiteY18" fmla="*/ 5175087 h 5649218"/>
              <a:gd name="connsiteX19" fmla="*/ 4888347 w 8636594"/>
              <a:gd name="connsiteY19" fmla="*/ 5143504 h 5649218"/>
              <a:gd name="connsiteX20" fmla="*/ 4916919 w 8636594"/>
              <a:gd name="connsiteY20" fmla="*/ 5111713 h 5649218"/>
              <a:gd name="connsiteX21" fmla="*/ 4945238 w 8636594"/>
              <a:gd name="connsiteY21" fmla="*/ 5079717 h 5649218"/>
              <a:gd name="connsiteX22" fmla="*/ 4973311 w 8636594"/>
              <a:gd name="connsiteY22" fmla="*/ 5047519 h 5649218"/>
              <a:gd name="connsiteX23" fmla="*/ 5001145 w 8636594"/>
              <a:gd name="connsiteY23" fmla="*/ 5015124 h 5649218"/>
              <a:gd name="connsiteX24" fmla="*/ 5028745 w 8636594"/>
              <a:gd name="connsiteY24" fmla="*/ 4982535 h 5649218"/>
              <a:gd name="connsiteX25" fmla="*/ 5056117 w 8636594"/>
              <a:gd name="connsiteY25" fmla="*/ 4949755 h 5649218"/>
              <a:gd name="connsiteX26" fmla="*/ 5083269 w 8636594"/>
              <a:gd name="connsiteY26" fmla="*/ 4916787 h 5649218"/>
              <a:gd name="connsiteX27" fmla="*/ 5110207 w 8636594"/>
              <a:gd name="connsiteY27" fmla="*/ 4883636 h 5649218"/>
              <a:gd name="connsiteX28" fmla="*/ 5136937 w 8636594"/>
              <a:gd name="connsiteY28" fmla="*/ 4850305 h 5649218"/>
              <a:gd name="connsiteX29" fmla="*/ 5163464 w 8636594"/>
              <a:gd name="connsiteY29" fmla="*/ 4816797 h 5649218"/>
              <a:gd name="connsiteX30" fmla="*/ 5215940 w 8636594"/>
              <a:gd name="connsiteY30" fmla="*/ 4749265 h 5649218"/>
              <a:gd name="connsiteX31" fmla="*/ 5267684 w 8636594"/>
              <a:gd name="connsiteY31" fmla="*/ 4681068 h 5649218"/>
              <a:gd name="connsiteX32" fmla="*/ 5318748 w 8636594"/>
              <a:gd name="connsiteY32" fmla="*/ 4612234 h 5649218"/>
              <a:gd name="connsiteX33" fmla="*/ 5369182 w 8636594"/>
              <a:gd name="connsiteY33" fmla="*/ 4542793 h 5649218"/>
              <a:gd name="connsiteX34" fmla="*/ 5419038 w 8636594"/>
              <a:gd name="connsiteY34" fmla="*/ 4472771 h 5649218"/>
              <a:gd name="connsiteX35" fmla="*/ 5468365 w 8636594"/>
              <a:gd name="connsiteY35" fmla="*/ 4402196 h 5649218"/>
              <a:gd name="connsiteX36" fmla="*/ 5517215 w 8636594"/>
              <a:gd name="connsiteY36" fmla="*/ 4331098 h 5649218"/>
              <a:gd name="connsiteX37" fmla="*/ 5565637 w 8636594"/>
              <a:gd name="connsiteY37" fmla="*/ 4259503 h 5649218"/>
              <a:gd name="connsiteX38" fmla="*/ 5613684 w 8636594"/>
              <a:gd name="connsiteY38" fmla="*/ 4187441 h 5649218"/>
              <a:gd name="connsiteX39" fmla="*/ 5685160 w 8636594"/>
              <a:gd name="connsiteY39" fmla="*/ 4078531 h 5649218"/>
              <a:gd name="connsiteX40" fmla="*/ 5756074 w 8636594"/>
              <a:gd name="connsiteY40" fmla="*/ 3968727 h 5649218"/>
              <a:gd name="connsiteX41" fmla="*/ 5873483 w 8636594"/>
              <a:gd name="connsiteY41" fmla="*/ 3783989 h 5649218"/>
              <a:gd name="connsiteX42" fmla="*/ 6203209 w 8636594"/>
              <a:gd name="connsiteY42" fmla="*/ 3258640 h 5649218"/>
              <a:gd name="connsiteX43" fmla="*/ 6299430 w 8636594"/>
              <a:gd name="connsiteY43" fmla="*/ 3107321 h 5649218"/>
              <a:gd name="connsiteX44" fmla="*/ 6372650 w 8636594"/>
              <a:gd name="connsiteY44" fmla="*/ 2993735 h 5649218"/>
              <a:gd name="connsiteX45" fmla="*/ 6453197 w 8636594"/>
              <a:gd name="connsiteY45" fmla="*/ 2869788 h 5649218"/>
              <a:gd name="connsiteX46" fmla="*/ 6564167 w 8636594"/>
              <a:gd name="connsiteY46" fmla="*/ 2696807 h 5649218"/>
              <a:gd name="connsiteX47" fmla="*/ 6976233 w 8636594"/>
              <a:gd name="connsiteY47" fmla="*/ 2045274 h 5649218"/>
              <a:gd name="connsiteX48" fmla="*/ 7086755 w 8636594"/>
              <a:gd name="connsiteY48" fmla="*/ 1872743 h 5649218"/>
              <a:gd name="connsiteX49" fmla="*/ 7170279 w 8636594"/>
              <a:gd name="connsiteY49" fmla="*/ 1744202 h 5649218"/>
              <a:gd name="connsiteX50" fmla="*/ 7226351 w 8636594"/>
              <a:gd name="connsiteY50" fmla="*/ 1659017 h 5649218"/>
              <a:gd name="connsiteX51" fmla="*/ 7282789 w 8636594"/>
              <a:gd name="connsiteY51" fmla="*/ 1574303 h 5649218"/>
              <a:gd name="connsiteX52" fmla="*/ 7339643 w 8636594"/>
              <a:gd name="connsiteY52" fmla="*/ 1490113 h 5649218"/>
              <a:gd name="connsiteX53" fmla="*/ 7396957 w 8636594"/>
              <a:gd name="connsiteY53" fmla="*/ 1406503 h 5649218"/>
              <a:gd name="connsiteX54" fmla="*/ 7454781 w 8636594"/>
              <a:gd name="connsiteY54" fmla="*/ 1323526 h 5649218"/>
              <a:gd name="connsiteX55" fmla="*/ 7513161 w 8636594"/>
              <a:gd name="connsiteY55" fmla="*/ 1241237 h 5649218"/>
              <a:gd name="connsiteX56" fmla="*/ 7572144 w 8636594"/>
              <a:gd name="connsiteY56" fmla="*/ 1159689 h 5649218"/>
              <a:gd name="connsiteX57" fmla="*/ 7601877 w 8636594"/>
              <a:gd name="connsiteY57" fmla="*/ 1119210 h 5649218"/>
              <a:gd name="connsiteX58" fmla="*/ 7631779 w 8636594"/>
              <a:gd name="connsiteY58" fmla="*/ 1078937 h 5649218"/>
              <a:gd name="connsiteX59" fmla="*/ 7661855 w 8636594"/>
              <a:gd name="connsiteY59" fmla="*/ 1038876 h 5649218"/>
              <a:gd name="connsiteX60" fmla="*/ 7692111 w 8636594"/>
              <a:gd name="connsiteY60" fmla="*/ 999035 h 5649218"/>
              <a:gd name="connsiteX61" fmla="*/ 7722554 w 8636594"/>
              <a:gd name="connsiteY61" fmla="*/ 959419 h 5649218"/>
              <a:gd name="connsiteX62" fmla="*/ 7753190 w 8636594"/>
              <a:gd name="connsiteY62" fmla="*/ 920037 h 5649218"/>
              <a:gd name="connsiteX63" fmla="*/ 7784023 w 8636594"/>
              <a:gd name="connsiteY63" fmla="*/ 880894 h 5649218"/>
              <a:gd name="connsiteX64" fmla="*/ 7815061 w 8636594"/>
              <a:gd name="connsiteY64" fmla="*/ 841997 h 5649218"/>
              <a:gd name="connsiteX65" fmla="*/ 7846308 w 8636594"/>
              <a:gd name="connsiteY65" fmla="*/ 803354 h 5649218"/>
              <a:gd name="connsiteX66" fmla="*/ 7877772 w 8636594"/>
              <a:gd name="connsiteY66" fmla="*/ 764970 h 5649218"/>
              <a:gd name="connsiteX67" fmla="*/ 7909458 w 8636594"/>
              <a:gd name="connsiteY67" fmla="*/ 726853 h 5649218"/>
              <a:gd name="connsiteX68" fmla="*/ 7941371 w 8636594"/>
              <a:gd name="connsiteY68" fmla="*/ 689010 h 5649218"/>
              <a:gd name="connsiteX69" fmla="*/ 7973518 w 8636594"/>
              <a:gd name="connsiteY69" fmla="*/ 651447 h 5649218"/>
              <a:gd name="connsiteX70" fmla="*/ 8005905 w 8636594"/>
              <a:gd name="connsiteY70" fmla="*/ 614171 h 5649218"/>
              <a:gd name="connsiteX71" fmla="*/ 8038538 w 8636594"/>
              <a:gd name="connsiteY71" fmla="*/ 577189 h 5649218"/>
              <a:gd name="connsiteX72" fmla="*/ 8071421 w 8636594"/>
              <a:gd name="connsiteY72" fmla="*/ 540507 h 5649218"/>
              <a:gd name="connsiteX73" fmla="*/ 8104563 w 8636594"/>
              <a:gd name="connsiteY73" fmla="*/ 504132 h 5649218"/>
              <a:gd name="connsiteX74" fmla="*/ 8137967 w 8636594"/>
              <a:gd name="connsiteY74" fmla="*/ 468072 h 5649218"/>
              <a:gd name="connsiteX75" fmla="*/ 8171641 w 8636594"/>
              <a:gd name="connsiteY75" fmla="*/ 432332 h 5649218"/>
              <a:gd name="connsiteX76" fmla="*/ 8205590 w 8636594"/>
              <a:gd name="connsiteY76" fmla="*/ 396920 h 5649218"/>
              <a:gd name="connsiteX77" fmla="*/ 8239820 w 8636594"/>
              <a:gd name="connsiteY77" fmla="*/ 361843 h 5649218"/>
              <a:gd name="connsiteX78" fmla="*/ 8274337 w 8636594"/>
              <a:gd name="connsiteY78" fmla="*/ 327107 h 5649218"/>
              <a:gd name="connsiteX79" fmla="*/ 8309147 w 8636594"/>
              <a:gd name="connsiteY79" fmla="*/ 292718 h 5649218"/>
              <a:gd name="connsiteX80" fmla="*/ 8344256 w 8636594"/>
              <a:gd name="connsiteY80" fmla="*/ 258685 h 5649218"/>
              <a:gd name="connsiteX81" fmla="*/ 8379669 w 8636594"/>
              <a:gd name="connsiteY81" fmla="*/ 225013 h 5649218"/>
              <a:gd name="connsiteX82" fmla="*/ 8415394 w 8636594"/>
              <a:gd name="connsiteY82" fmla="*/ 191709 h 5649218"/>
              <a:gd name="connsiteX83" fmla="*/ 8451434 w 8636594"/>
              <a:gd name="connsiteY83" fmla="*/ 158780 h 5649218"/>
              <a:gd name="connsiteX84" fmla="*/ 8487798 w 8636594"/>
              <a:gd name="connsiteY84" fmla="*/ 126233 h 5649218"/>
              <a:gd name="connsiteX85" fmla="*/ 8524489 w 8636594"/>
              <a:gd name="connsiteY85" fmla="*/ 94075 h 5649218"/>
              <a:gd name="connsiteX86" fmla="*/ 8561515 w 8636594"/>
              <a:gd name="connsiteY86" fmla="*/ 62312 h 5649218"/>
              <a:gd name="connsiteX87" fmla="*/ 8598881 w 8636594"/>
              <a:gd name="connsiteY87" fmla="*/ 30951 h 5649218"/>
              <a:gd name="connsiteX88" fmla="*/ 8636594 w 8636594"/>
              <a:gd name="connsiteY88" fmla="*/ 0 h 5649218"/>
              <a:gd name="connsiteX0" fmla="*/ 8636594 w 8636594"/>
              <a:gd name="connsiteY0" fmla="*/ 0 h 5593409"/>
              <a:gd name="connsiteX1" fmla="*/ 5293 w 8636594"/>
              <a:gd name="connsiteY1" fmla="*/ 0 h 5593409"/>
              <a:gd name="connsiteX2" fmla="*/ 0 w 8636594"/>
              <a:gd name="connsiteY2" fmla="*/ 5587843 h 5593409"/>
              <a:gd name="connsiteX3" fmla="*/ 4425162 w 8636594"/>
              <a:gd name="connsiteY3" fmla="*/ 5593409 h 5593409"/>
              <a:gd name="connsiteX4" fmla="*/ 4458281 w 8636594"/>
              <a:gd name="connsiteY4" fmla="*/ 5565111 h 5593409"/>
              <a:gd name="connsiteX5" fmla="*/ 4491053 w 8636594"/>
              <a:gd name="connsiteY5" fmla="*/ 5536556 h 5593409"/>
              <a:gd name="connsiteX6" fmla="*/ 4523484 w 8636594"/>
              <a:gd name="connsiteY6" fmla="*/ 5507747 h 5593409"/>
              <a:gd name="connsiteX7" fmla="*/ 4555580 w 8636594"/>
              <a:gd name="connsiteY7" fmla="*/ 5478687 h 5593409"/>
              <a:gd name="connsiteX8" fmla="*/ 4587347 w 8636594"/>
              <a:gd name="connsiteY8" fmla="*/ 5449380 h 5593409"/>
              <a:gd name="connsiteX9" fmla="*/ 4618793 w 8636594"/>
              <a:gd name="connsiteY9" fmla="*/ 5419830 h 5593409"/>
              <a:gd name="connsiteX10" fmla="*/ 4649922 w 8636594"/>
              <a:gd name="connsiteY10" fmla="*/ 5390040 h 5593409"/>
              <a:gd name="connsiteX11" fmla="*/ 4680742 w 8636594"/>
              <a:gd name="connsiteY11" fmla="*/ 5360014 h 5593409"/>
              <a:gd name="connsiteX12" fmla="*/ 4711259 w 8636594"/>
              <a:gd name="connsiteY12" fmla="*/ 5329755 h 5593409"/>
              <a:gd name="connsiteX13" fmla="*/ 4741478 w 8636594"/>
              <a:gd name="connsiteY13" fmla="*/ 5299266 h 5593409"/>
              <a:gd name="connsiteX14" fmla="*/ 4771408 w 8636594"/>
              <a:gd name="connsiteY14" fmla="*/ 5268551 h 5593409"/>
              <a:gd name="connsiteX15" fmla="*/ 4801053 w 8636594"/>
              <a:gd name="connsiteY15" fmla="*/ 5237614 h 5593409"/>
              <a:gd name="connsiteX16" fmla="*/ 4830420 w 8636594"/>
              <a:gd name="connsiteY16" fmla="*/ 5206458 h 5593409"/>
              <a:gd name="connsiteX17" fmla="*/ 4859516 w 8636594"/>
              <a:gd name="connsiteY17" fmla="*/ 5175087 h 5593409"/>
              <a:gd name="connsiteX18" fmla="*/ 4888347 w 8636594"/>
              <a:gd name="connsiteY18" fmla="*/ 5143504 h 5593409"/>
              <a:gd name="connsiteX19" fmla="*/ 4916919 w 8636594"/>
              <a:gd name="connsiteY19" fmla="*/ 5111713 h 5593409"/>
              <a:gd name="connsiteX20" fmla="*/ 4945238 w 8636594"/>
              <a:gd name="connsiteY20" fmla="*/ 5079717 h 5593409"/>
              <a:gd name="connsiteX21" fmla="*/ 4973311 w 8636594"/>
              <a:gd name="connsiteY21" fmla="*/ 5047519 h 5593409"/>
              <a:gd name="connsiteX22" fmla="*/ 5001145 w 8636594"/>
              <a:gd name="connsiteY22" fmla="*/ 5015124 h 5593409"/>
              <a:gd name="connsiteX23" fmla="*/ 5028745 w 8636594"/>
              <a:gd name="connsiteY23" fmla="*/ 4982535 h 5593409"/>
              <a:gd name="connsiteX24" fmla="*/ 5056117 w 8636594"/>
              <a:gd name="connsiteY24" fmla="*/ 4949755 h 5593409"/>
              <a:gd name="connsiteX25" fmla="*/ 5083269 w 8636594"/>
              <a:gd name="connsiteY25" fmla="*/ 4916787 h 5593409"/>
              <a:gd name="connsiteX26" fmla="*/ 5110207 w 8636594"/>
              <a:gd name="connsiteY26" fmla="*/ 4883636 h 5593409"/>
              <a:gd name="connsiteX27" fmla="*/ 5136937 w 8636594"/>
              <a:gd name="connsiteY27" fmla="*/ 4850305 h 5593409"/>
              <a:gd name="connsiteX28" fmla="*/ 5163464 w 8636594"/>
              <a:gd name="connsiteY28" fmla="*/ 4816797 h 5593409"/>
              <a:gd name="connsiteX29" fmla="*/ 5215940 w 8636594"/>
              <a:gd name="connsiteY29" fmla="*/ 4749265 h 5593409"/>
              <a:gd name="connsiteX30" fmla="*/ 5267684 w 8636594"/>
              <a:gd name="connsiteY30" fmla="*/ 4681068 h 5593409"/>
              <a:gd name="connsiteX31" fmla="*/ 5318748 w 8636594"/>
              <a:gd name="connsiteY31" fmla="*/ 4612234 h 5593409"/>
              <a:gd name="connsiteX32" fmla="*/ 5369182 w 8636594"/>
              <a:gd name="connsiteY32" fmla="*/ 4542793 h 5593409"/>
              <a:gd name="connsiteX33" fmla="*/ 5419038 w 8636594"/>
              <a:gd name="connsiteY33" fmla="*/ 4472771 h 5593409"/>
              <a:gd name="connsiteX34" fmla="*/ 5468365 w 8636594"/>
              <a:gd name="connsiteY34" fmla="*/ 4402196 h 5593409"/>
              <a:gd name="connsiteX35" fmla="*/ 5517215 w 8636594"/>
              <a:gd name="connsiteY35" fmla="*/ 4331098 h 5593409"/>
              <a:gd name="connsiteX36" fmla="*/ 5565637 w 8636594"/>
              <a:gd name="connsiteY36" fmla="*/ 4259503 h 5593409"/>
              <a:gd name="connsiteX37" fmla="*/ 5613684 w 8636594"/>
              <a:gd name="connsiteY37" fmla="*/ 4187441 h 5593409"/>
              <a:gd name="connsiteX38" fmla="*/ 5685160 w 8636594"/>
              <a:gd name="connsiteY38" fmla="*/ 4078531 h 5593409"/>
              <a:gd name="connsiteX39" fmla="*/ 5756074 w 8636594"/>
              <a:gd name="connsiteY39" fmla="*/ 3968727 h 5593409"/>
              <a:gd name="connsiteX40" fmla="*/ 5873483 w 8636594"/>
              <a:gd name="connsiteY40" fmla="*/ 3783989 h 5593409"/>
              <a:gd name="connsiteX41" fmla="*/ 6203209 w 8636594"/>
              <a:gd name="connsiteY41" fmla="*/ 3258640 h 5593409"/>
              <a:gd name="connsiteX42" fmla="*/ 6299430 w 8636594"/>
              <a:gd name="connsiteY42" fmla="*/ 3107321 h 5593409"/>
              <a:gd name="connsiteX43" fmla="*/ 6372650 w 8636594"/>
              <a:gd name="connsiteY43" fmla="*/ 2993735 h 5593409"/>
              <a:gd name="connsiteX44" fmla="*/ 6453197 w 8636594"/>
              <a:gd name="connsiteY44" fmla="*/ 2869788 h 5593409"/>
              <a:gd name="connsiteX45" fmla="*/ 6564167 w 8636594"/>
              <a:gd name="connsiteY45" fmla="*/ 2696807 h 5593409"/>
              <a:gd name="connsiteX46" fmla="*/ 6976233 w 8636594"/>
              <a:gd name="connsiteY46" fmla="*/ 2045274 h 5593409"/>
              <a:gd name="connsiteX47" fmla="*/ 7086755 w 8636594"/>
              <a:gd name="connsiteY47" fmla="*/ 1872743 h 5593409"/>
              <a:gd name="connsiteX48" fmla="*/ 7170279 w 8636594"/>
              <a:gd name="connsiteY48" fmla="*/ 1744202 h 5593409"/>
              <a:gd name="connsiteX49" fmla="*/ 7226351 w 8636594"/>
              <a:gd name="connsiteY49" fmla="*/ 1659017 h 5593409"/>
              <a:gd name="connsiteX50" fmla="*/ 7282789 w 8636594"/>
              <a:gd name="connsiteY50" fmla="*/ 1574303 h 5593409"/>
              <a:gd name="connsiteX51" fmla="*/ 7339643 w 8636594"/>
              <a:gd name="connsiteY51" fmla="*/ 1490113 h 5593409"/>
              <a:gd name="connsiteX52" fmla="*/ 7396957 w 8636594"/>
              <a:gd name="connsiteY52" fmla="*/ 1406503 h 5593409"/>
              <a:gd name="connsiteX53" fmla="*/ 7454781 w 8636594"/>
              <a:gd name="connsiteY53" fmla="*/ 1323526 h 5593409"/>
              <a:gd name="connsiteX54" fmla="*/ 7513161 w 8636594"/>
              <a:gd name="connsiteY54" fmla="*/ 1241237 h 5593409"/>
              <a:gd name="connsiteX55" fmla="*/ 7572144 w 8636594"/>
              <a:gd name="connsiteY55" fmla="*/ 1159689 h 5593409"/>
              <a:gd name="connsiteX56" fmla="*/ 7601877 w 8636594"/>
              <a:gd name="connsiteY56" fmla="*/ 1119210 h 5593409"/>
              <a:gd name="connsiteX57" fmla="*/ 7631779 w 8636594"/>
              <a:gd name="connsiteY57" fmla="*/ 1078937 h 5593409"/>
              <a:gd name="connsiteX58" fmla="*/ 7661855 w 8636594"/>
              <a:gd name="connsiteY58" fmla="*/ 1038876 h 5593409"/>
              <a:gd name="connsiteX59" fmla="*/ 7692111 w 8636594"/>
              <a:gd name="connsiteY59" fmla="*/ 999035 h 5593409"/>
              <a:gd name="connsiteX60" fmla="*/ 7722554 w 8636594"/>
              <a:gd name="connsiteY60" fmla="*/ 959419 h 5593409"/>
              <a:gd name="connsiteX61" fmla="*/ 7753190 w 8636594"/>
              <a:gd name="connsiteY61" fmla="*/ 920037 h 5593409"/>
              <a:gd name="connsiteX62" fmla="*/ 7784023 w 8636594"/>
              <a:gd name="connsiteY62" fmla="*/ 880894 h 5593409"/>
              <a:gd name="connsiteX63" fmla="*/ 7815061 w 8636594"/>
              <a:gd name="connsiteY63" fmla="*/ 841997 h 5593409"/>
              <a:gd name="connsiteX64" fmla="*/ 7846308 w 8636594"/>
              <a:gd name="connsiteY64" fmla="*/ 803354 h 5593409"/>
              <a:gd name="connsiteX65" fmla="*/ 7877772 w 8636594"/>
              <a:gd name="connsiteY65" fmla="*/ 764970 h 5593409"/>
              <a:gd name="connsiteX66" fmla="*/ 7909458 w 8636594"/>
              <a:gd name="connsiteY66" fmla="*/ 726853 h 5593409"/>
              <a:gd name="connsiteX67" fmla="*/ 7941371 w 8636594"/>
              <a:gd name="connsiteY67" fmla="*/ 689010 h 5593409"/>
              <a:gd name="connsiteX68" fmla="*/ 7973518 w 8636594"/>
              <a:gd name="connsiteY68" fmla="*/ 651447 h 5593409"/>
              <a:gd name="connsiteX69" fmla="*/ 8005905 w 8636594"/>
              <a:gd name="connsiteY69" fmla="*/ 614171 h 5593409"/>
              <a:gd name="connsiteX70" fmla="*/ 8038538 w 8636594"/>
              <a:gd name="connsiteY70" fmla="*/ 577189 h 5593409"/>
              <a:gd name="connsiteX71" fmla="*/ 8071421 w 8636594"/>
              <a:gd name="connsiteY71" fmla="*/ 540507 h 5593409"/>
              <a:gd name="connsiteX72" fmla="*/ 8104563 w 8636594"/>
              <a:gd name="connsiteY72" fmla="*/ 504132 h 5593409"/>
              <a:gd name="connsiteX73" fmla="*/ 8137967 w 8636594"/>
              <a:gd name="connsiteY73" fmla="*/ 468072 h 5593409"/>
              <a:gd name="connsiteX74" fmla="*/ 8171641 w 8636594"/>
              <a:gd name="connsiteY74" fmla="*/ 432332 h 5593409"/>
              <a:gd name="connsiteX75" fmla="*/ 8205590 w 8636594"/>
              <a:gd name="connsiteY75" fmla="*/ 396920 h 5593409"/>
              <a:gd name="connsiteX76" fmla="*/ 8239820 w 8636594"/>
              <a:gd name="connsiteY76" fmla="*/ 361843 h 5593409"/>
              <a:gd name="connsiteX77" fmla="*/ 8274337 w 8636594"/>
              <a:gd name="connsiteY77" fmla="*/ 327107 h 5593409"/>
              <a:gd name="connsiteX78" fmla="*/ 8309147 w 8636594"/>
              <a:gd name="connsiteY78" fmla="*/ 292718 h 5593409"/>
              <a:gd name="connsiteX79" fmla="*/ 8344256 w 8636594"/>
              <a:gd name="connsiteY79" fmla="*/ 258685 h 5593409"/>
              <a:gd name="connsiteX80" fmla="*/ 8379669 w 8636594"/>
              <a:gd name="connsiteY80" fmla="*/ 225013 h 5593409"/>
              <a:gd name="connsiteX81" fmla="*/ 8415394 w 8636594"/>
              <a:gd name="connsiteY81" fmla="*/ 191709 h 5593409"/>
              <a:gd name="connsiteX82" fmla="*/ 8451434 w 8636594"/>
              <a:gd name="connsiteY82" fmla="*/ 158780 h 5593409"/>
              <a:gd name="connsiteX83" fmla="*/ 8487798 w 8636594"/>
              <a:gd name="connsiteY83" fmla="*/ 126233 h 5593409"/>
              <a:gd name="connsiteX84" fmla="*/ 8524489 w 8636594"/>
              <a:gd name="connsiteY84" fmla="*/ 94075 h 5593409"/>
              <a:gd name="connsiteX85" fmla="*/ 8561515 w 8636594"/>
              <a:gd name="connsiteY85" fmla="*/ 62312 h 5593409"/>
              <a:gd name="connsiteX86" fmla="*/ 8598881 w 8636594"/>
              <a:gd name="connsiteY86" fmla="*/ 30951 h 5593409"/>
              <a:gd name="connsiteX87" fmla="*/ 8636594 w 8636594"/>
              <a:gd name="connsiteY87" fmla="*/ 0 h 5593409"/>
              <a:gd name="connsiteX0" fmla="*/ 8631811 w 8631811"/>
              <a:gd name="connsiteY0" fmla="*/ 0 h 5593409"/>
              <a:gd name="connsiteX1" fmla="*/ 510 w 8631811"/>
              <a:gd name="connsiteY1" fmla="*/ 0 h 5593409"/>
              <a:gd name="connsiteX2" fmla="*/ 510 w 8631811"/>
              <a:gd name="connsiteY2" fmla="*/ 5282464 h 5593409"/>
              <a:gd name="connsiteX3" fmla="*/ 4420379 w 8631811"/>
              <a:gd name="connsiteY3" fmla="*/ 5593409 h 5593409"/>
              <a:gd name="connsiteX4" fmla="*/ 4453498 w 8631811"/>
              <a:gd name="connsiteY4" fmla="*/ 5565111 h 5593409"/>
              <a:gd name="connsiteX5" fmla="*/ 4486270 w 8631811"/>
              <a:gd name="connsiteY5" fmla="*/ 5536556 h 5593409"/>
              <a:gd name="connsiteX6" fmla="*/ 4518701 w 8631811"/>
              <a:gd name="connsiteY6" fmla="*/ 5507747 h 5593409"/>
              <a:gd name="connsiteX7" fmla="*/ 4550797 w 8631811"/>
              <a:gd name="connsiteY7" fmla="*/ 5478687 h 5593409"/>
              <a:gd name="connsiteX8" fmla="*/ 4582564 w 8631811"/>
              <a:gd name="connsiteY8" fmla="*/ 5449380 h 5593409"/>
              <a:gd name="connsiteX9" fmla="*/ 4614010 w 8631811"/>
              <a:gd name="connsiteY9" fmla="*/ 5419830 h 5593409"/>
              <a:gd name="connsiteX10" fmla="*/ 4645139 w 8631811"/>
              <a:gd name="connsiteY10" fmla="*/ 5390040 h 5593409"/>
              <a:gd name="connsiteX11" fmla="*/ 4675959 w 8631811"/>
              <a:gd name="connsiteY11" fmla="*/ 5360014 h 5593409"/>
              <a:gd name="connsiteX12" fmla="*/ 4706476 w 8631811"/>
              <a:gd name="connsiteY12" fmla="*/ 5329755 h 5593409"/>
              <a:gd name="connsiteX13" fmla="*/ 4736695 w 8631811"/>
              <a:gd name="connsiteY13" fmla="*/ 5299266 h 5593409"/>
              <a:gd name="connsiteX14" fmla="*/ 4766625 w 8631811"/>
              <a:gd name="connsiteY14" fmla="*/ 5268551 h 5593409"/>
              <a:gd name="connsiteX15" fmla="*/ 4796270 w 8631811"/>
              <a:gd name="connsiteY15" fmla="*/ 5237614 h 5593409"/>
              <a:gd name="connsiteX16" fmla="*/ 4825637 w 8631811"/>
              <a:gd name="connsiteY16" fmla="*/ 5206458 h 5593409"/>
              <a:gd name="connsiteX17" fmla="*/ 4854733 w 8631811"/>
              <a:gd name="connsiteY17" fmla="*/ 5175087 h 5593409"/>
              <a:gd name="connsiteX18" fmla="*/ 4883564 w 8631811"/>
              <a:gd name="connsiteY18" fmla="*/ 5143504 h 5593409"/>
              <a:gd name="connsiteX19" fmla="*/ 4912136 w 8631811"/>
              <a:gd name="connsiteY19" fmla="*/ 5111713 h 5593409"/>
              <a:gd name="connsiteX20" fmla="*/ 4940455 w 8631811"/>
              <a:gd name="connsiteY20" fmla="*/ 5079717 h 5593409"/>
              <a:gd name="connsiteX21" fmla="*/ 4968528 w 8631811"/>
              <a:gd name="connsiteY21" fmla="*/ 5047519 h 5593409"/>
              <a:gd name="connsiteX22" fmla="*/ 4996362 w 8631811"/>
              <a:gd name="connsiteY22" fmla="*/ 5015124 h 5593409"/>
              <a:gd name="connsiteX23" fmla="*/ 5023962 w 8631811"/>
              <a:gd name="connsiteY23" fmla="*/ 4982535 h 5593409"/>
              <a:gd name="connsiteX24" fmla="*/ 5051334 w 8631811"/>
              <a:gd name="connsiteY24" fmla="*/ 4949755 h 5593409"/>
              <a:gd name="connsiteX25" fmla="*/ 5078486 w 8631811"/>
              <a:gd name="connsiteY25" fmla="*/ 4916787 h 5593409"/>
              <a:gd name="connsiteX26" fmla="*/ 5105424 w 8631811"/>
              <a:gd name="connsiteY26" fmla="*/ 4883636 h 5593409"/>
              <a:gd name="connsiteX27" fmla="*/ 5132154 w 8631811"/>
              <a:gd name="connsiteY27" fmla="*/ 4850305 h 5593409"/>
              <a:gd name="connsiteX28" fmla="*/ 5158681 w 8631811"/>
              <a:gd name="connsiteY28" fmla="*/ 4816797 h 5593409"/>
              <a:gd name="connsiteX29" fmla="*/ 5211157 w 8631811"/>
              <a:gd name="connsiteY29" fmla="*/ 4749265 h 5593409"/>
              <a:gd name="connsiteX30" fmla="*/ 5262901 w 8631811"/>
              <a:gd name="connsiteY30" fmla="*/ 4681068 h 5593409"/>
              <a:gd name="connsiteX31" fmla="*/ 5313965 w 8631811"/>
              <a:gd name="connsiteY31" fmla="*/ 4612234 h 5593409"/>
              <a:gd name="connsiteX32" fmla="*/ 5364399 w 8631811"/>
              <a:gd name="connsiteY32" fmla="*/ 4542793 h 5593409"/>
              <a:gd name="connsiteX33" fmla="*/ 5414255 w 8631811"/>
              <a:gd name="connsiteY33" fmla="*/ 4472771 h 5593409"/>
              <a:gd name="connsiteX34" fmla="*/ 5463582 w 8631811"/>
              <a:gd name="connsiteY34" fmla="*/ 4402196 h 5593409"/>
              <a:gd name="connsiteX35" fmla="*/ 5512432 w 8631811"/>
              <a:gd name="connsiteY35" fmla="*/ 4331098 h 5593409"/>
              <a:gd name="connsiteX36" fmla="*/ 5560854 w 8631811"/>
              <a:gd name="connsiteY36" fmla="*/ 4259503 h 5593409"/>
              <a:gd name="connsiteX37" fmla="*/ 5608901 w 8631811"/>
              <a:gd name="connsiteY37" fmla="*/ 4187441 h 5593409"/>
              <a:gd name="connsiteX38" fmla="*/ 5680377 w 8631811"/>
              <a:gd name="connsiteY38" fmla="*/ 4078531 h 5593409"/>
              <a:gd name="connsiteX39" fmla="*/ 5751291 w 8631811"/>
              <a:gd name="connsiteY39" fmla="*/ 3968727 h 5593409"/>
              <a:gd name="connsiteX40" fmla="*/ 5868700 w 8631811"/>
              <a:gd name="connsiteY40" fmla="*/ 3783989 h 5593409"/>
              <a:gd name="connsiteX41" fmla="*/ 6198426 w 8631811"/>
              <a:gd name="connsiteY41" fmla="*/ 3258640 h 5593409"/>
              <a:gd name="connsiteX42" fmla="*/ 6294647 w 8631811"/>
              <a:gd name="connsiteY42" fmla="*/ 3107321 h 5593409"/>
              <a:gd name="connsiteX43" fmla="*/ 6367867 w 8631811"/>
              <a:gd name="connsiteY43" fmla="*/ 2993735 h 5593409"/>
              <a:gd name="connsiteX44" fmla="*/ 6448414 w 8631811"/>
              <a:gd name="connsiteY44" fmla="*/ 2869788 h 5593409"/>
              <a:gd name="connsiteX45" fmla="*/ 6559384 w 8631811"/>
              <a:gd name="connsiteY45" fmla="*/ 2696807 h 5593409"/>
              <a:gd name="connsiteX46" fmla="*/ 6971450 w 8631811"/>
              <a:gd name="connsiteY46" fmla="*/ 2045274 h 5593409"/>
              <a:gd name="connsiteX47" fmla="*/ 7081972 w 8631811"/>
              <a:gd name="connsiteY47" fmla="*/ 1872743 h 5593409"/>
              <a:gd name="connsiteX48" fmla="*/ 7165496 w 8631811"/>
              <a:gd name="connsiteY48" fmla="*/ 1744202 h 5593409"/>
              <a:gd name="connsiteX49" fmla="*/ 7221568 w 8631811"/>
              <a:gd name="connsiteY49" fmla="*/ 1659017 h 5593409"/>
              <a:gd name="connsiteX50" fmla="*/ 7278006 w 8631811"/>
              <a:gd name="connsiteY50" fmla="*/ 1574303 h 5593409"/>
              <a:gd name="connsiteX51" fmla="*/ 7334860 w 8631811"/>
              <a:gd name="connsiteY51" fmla="*/ 1490113 h 5593409"/>
              <a:gd name="connsiteX52" fmla="*/ 7392174 w 8631811"/>
              <a:gd name="connsiteY52" fmla="*/ 1406503 h 5593409"/>
              <a:gd name="connsiteX53" fmla="*/ 7449998 w 8631811"/>
              <a:gd name="connsiteY53" fmla="*/ 1323526 h 5593409"/>
              <a:gd name="connsiteX54" fmla="*/ 7508378 w 8631811"/>
              <a:gd name="connsiteY54" fmla="*/ 1241237 h 5593409"/>
              <a:gd name="connsiteX55" fmla="*/ 7567361 w 8631811"/>
              <a:gd name="connsiteY55" fmla="*/ 1159689 h 5593409"/>
              <a:gd name="connsiteX56" fmla="*/ 7597094 w 8631811"/>
              <a:gd name="connsiteY56" fmla="*/ 1119210 h 5593409"/>
              <a:gd name="connsiteX57" fmla="*/ 7626996 w 8631811"/>
              <a:gd name="connsiteY57" fmla="*/ 1078937 h 5593409"/>
              <a:gd name="connsiteX58" fmla="*/ 7657072 w 8631811"/>
              <a:gd name="connsiteY58" fmla="*/ 1038876 h 5593409"/>
              <a:gd name="connsiteX59" fmla="*/ 7687328 w 8631811"/>
              <a:gd name="connsiteY59" fmla="*/ 999035 h 5593409"/>
              <a:gd name="connsiteX60" fmla="*/ 7717771 w 8631811"/>
              <a:gd name="connsiteY60" fmla="*/ 959419 h 5593409"/>
              <a:gd name="connsiteX61" fmla="*/ 7748407 w 8631811"/>
              <a:gd name="connsiteY61" fmla="*/ 920037 h 5593409"/>
              <a:gd name="connsiteX62" fmla="*/ 7779240 w 8631811"/>
              <a:gd name="connsiteY62" fmla="*/ 880894 h 5593409"/>
              <a:gd name="connsiteX63" fmla="*/ 7810278 w 8631811"/>
              <a:gd name="connsiteY63" fmla="*/ 841997 h 5593409"/>
              <a:gd name="connsiteX64" fmla="*/ 7841525 w 8631811"/>
              <a:gd name="connsiteY64" fmla="*/ 803354 h 5593409"/>
              <a:gd name="connsiteX65" fmla="*/ 7872989 w 8631811"/>
              <a:gd name="connsiteY65" fmla="*/ 764970 h 5593409"/>
              <a:gd name="connsiteX66" fmla="*/ 7904675 w 8631811"/>
              <a:gd name="connsiteY66" fmla="*/ 726853 h 5593409"/>
              <a:gd name="connsiteX67" fmla="*/ 7936588 w 8631811"/>
              <a:gd name="connsiteY67" fmla="*/ 689010 h 5593409"/>
              <a:gd name="connsiteX68" fmla="*/ 7968735 w 8631811"/>
              <a:gd name="connsiteY68" fmla="*/ 651447 h 5593409"/>
              <a:gd name="connsiteX69" fmla="*/ 8001122 w 8631811"/>
              <a:gd name="connsiteY69" fmla="*/ 614171 h 5593409"/>
              <a:gd name="connsiteX70" fmla="*/ 8033755 w 8631811"/>
              <a:gd name="connsiteY70" fmla="*/ 577189 h 5593409"/>
              <a:gd name="connsiteX71" fmla="*/ 8066638 w 8631811"/>
              <a:gd name="connsiteY71" fmla="*/ 540507 h 5593409"/>
              <a:gd name="connsiteX72" fmla="*/ 8099780 w 8631811"/>
              <a:gd name="connsiteY72" fmla="*/ 504132 h 5593409"/>
              <a:gd name="connsiteX73" fmla="*/ 8133184 w 8631811"/>
              <a:gd name="connsiteY73" fmla="*/ 468072 h 5593409"/>
              <a:gd name="connsiteX74" fmla="*/ 8166858 w 8631811"/>
              <a:gd name="connsiteY74" fmla="*/ 432332 h 5593409"/>
              <a:gd name="connsiteX75" fmla="*/ 8200807 w 8631811"/>
              <a:gd name="connsiteY75" fmla="*/ 396920 h 5593409"/>
              <a:gd name="connsiteX76" fmla="*/ 8235037 w 8631811"/>
              <a:gd name="connsiteY76" fmla="*/ 361843 h 5593409"/>
              <a:gd name="connsiteX77" fmla="*/ 8269554 w 8631811"/>
              <a:gd name="connsiteY77" fmla="*/ 327107 h 5593409"/>
              <a:gd name="connsiteX78" fmla="*/ 8304364 w 8631811"/>
              <a:gd name="connsiteY78" fmla="*/ 292718 h 5593409"/>
              <a:gd name="connsiteX79" fmla="*/ 8339473 w 8631811"/>
              <a:gd name="connsiteY79" fmla="*/ 258685 h 5593409"/>
              <a:gd name="connsiteX80" fmla="*/ 8374886 w 8631811"/>
              <a:gd name="connsiteY80" fmla="*/ 225013 h 5593409"/>
              <a:gd name="connsiteX81" fmla="*/ 8410611 w 8631811"/>
              <a:gd name="connsiteY81" fmla="*/ 191709 h 5593409"/>
              <a:gd name="connsiteX82" fmla="*/ 8446651 w 8631811"/>
              <a:gd name="connsiteY82" fmla="*/ 158780 h 5593409"/>
              <a:gd name="connsiteX83" fmla="*/ 8483015 w 8631811"/>
              <a:gd name="connsiteY83" fmla="*/ 126233 h 5593409"/>
              <a:gd name="connsiteX84" fmla="*/ 8519706 w 8631811"/>
              <a:gd name="connsiteY84" fmla="*/ 94075 h 5593409"/>
              <a:gd name="connsiteX85" fmla="*/ 8556732 w 8631811"/>
              <a:gd name="connsiteY85" fmla="*/ 62312 h 5593409"/>
              <a:gd name="connsiteX86" fmla="*/ 8594098 w 8631811"/>
              <a:gd name="connsiteY86" fmla="*/ 30951 h 5593409"/>
              <a:gd name="connsiteX87" fmla="*/ 8631811 w 8631811"/>
              <a:gd name="connsiteY87" fmla="*/ 0 h 5593409"/>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10058"/>
              <a:gd name="connsiteX1" fmla="*/ 510 w 8631811"/>
              <a:gd name="connsiteY1" fmla="*/ 0 h 5610058"/>
              <a:gd name="connsiteX2" fmla="*/ 510 w 8631811"/>
              <a:gd name="connsiteY2" fmla="*/ 5593952 h 5610058"/>
              <a:gd name="connsiteX3" fmla="*/ 4420379 w 8631811"/>
              <a:gd name="connsiteY3" fmla="*/ 5593409 h 5610058"/>
              <a:gd name="connsiteX4" fmla="*/ 4453498 w 8631811"/>
              <a:gd name="connsiteY4" fmla="*/ 5565111 h 5610058"/>
              <a:gd name="connsiteX5" fmla="*/ 4486270 w 8631811"/>
              <a:gd name="connsiteY5" fmla="*/ 5536556 h 5610058"/>
              <a:gd name="connsiteX6" fmla="*/ 4518701 w 8631811"/>
              <a:gd name="connsiteY6" fmla="*/ 5507747 h 5610058"/>
              <a:gd name="connsiteX7" fmla="*/ 4550797 w 8631811"/>
              <a:gd name="connsiteY7" fmla="*/ 5478687 h 5610058"/>
              <a:gd name="connsiteX8" fmla="*/ 4582564 w 8631811"/>
              <a:gd name="connsiteY8" fmla="*/ 5449380 h 5610058"/>
              <a:gd name="connsiteX9" fmla="*/ 4614010 w 8631811"/>
              <a:gd name="connsiteY9" fmla="*/ 5419830 h 5610058"/>
              <a:gd name="connsiteX10" fmla="*/ 4645139 w 8631811"/>
              <a:gd name="connsiteY10" fmla="*/ 5390040 h 5610058"/>
              <a:gd name="connsiteX11" fmla="*/ 4675959 w 8631811"/>
              <a:gd name="connsiteY11" fmla="*/ 5360014 h 5610058"/>
              <a:gd name="connsiteX12" fmla="*/ 4706476 w 8631811"/>
              <a:gd name="connsiteY12" fmla="*/ 5329755 h 5610058"/>
              <a:gd name="connsiteX13" fmla="*/ 4736695 w 8631811"/>
              <a:gd name="connsiteY13" fmla="*/ 5299266 h 5610058"/>
              <a:gd name="connsiteX14" fmla="*/ 4766625 w 8631811"/>
              <a:gd name="connsiteY14" fmla="*/ 5268551 h 5610058"/>
              <a:gd name="connsiteX15" fmla="*/ 4796270 w 8631811"/>
              <a:gd name="connsiteY15" fmla="*/ 5237614 h 5610058"/>
              <a:gd name="connsiteX16" fmla="*/ 4825637 w 8631811"/>
              <a:gd name="connsiteY16" fmla="*/ 5206458 h 5610058"/>
              <a:gd name="connsiteX17" fmla="*/ 4854733 w 8631811"/>
              <a:gd name="connsiteY17" fmla="*/ 5175087 h 5610058"/>
              <a:gd name="connsiteX18" fmla="*/ 4883564 w 8631811"/>
              <a:gd name="connsiteY18" fmla="*/ 5143504 h 5610058"/>
              <a:gd name="connsiteX19" fmla="*/ 4912136 w 8631811"/>
              <a:gd name="connsiteY19" fmla="*/ 5111713 h 5610058"/>
              <a:gd name="connsiteX20" fmla="*/ 4940455 w 8631811"/>
              <a:gd name="connsiteY20" fmla="*/ 5079717 h 5610058"/>
              <a:gd name="connsiteX21" fmla="*/ 4968528 w 8631811"/>
              <a:gd name="connsiteY21" fmla="*/ 5047519 h 5610058"/>
              <a:gd name="connsiteX22" fmla="*/ 4996362 w 8631811"/>
              <a:gd name="connsiteY22" fmla="*/ 5015124 h 5610058"/>
              <a:gd name="connsiteX23" fmla="*/ 5023962 w 8631811"/>
              <a:gd name="connsiteY23" fmla="*/ 4982535 h 5610058"/>
              <a:gd name="connsiteX24" fmla="*/ 5051334 w 8631811"/>
              <a:gd name="connsiteY24" fmla="*/ 4949755 h 5610058"/>
              <a:gd name="connsiteX25" fmla="*/ 5078486 w 8631811"/>
              <a:gd name="connsiteY25" fmla="*/ 4916787 h 5610058"/>
              <a:gd name="connsiteX26" fmla="*/ 5105424 w 8631811"/>
              <a:gd name="connsiteY26" fmla="*/ 4883636 h 5610058"/>
              <a:gd name="connsiteX27" fmla="*/ 5132154 w 8631811"/>
              <a:gd name="connsiteY27" fmla="*/ 4850305 h 5610058"/>
              <a:gd name="connsiteX28" fmla="*/ 5158681 w 8631811"/>
              <a:gd name="connsiteY28" fmla="*/ 4816797 h 5610058"/>
              <a:gd name="connsiteX29" fmla="*/ 5211157 w 8631811"/>
              <a:gd name="connsiteY29" fmla="*/ 4749265 h 5610058"/>
              <a:gd name="connsiteX30" fmla="*/ 5262901 w 8631811"/>
              <a:gd name="connsiteY30" fmla="*/ 4681068 h 5610058"/>
              <a:gd name="connsiteX31" fmla="*/ 5313965 w 8631811"/>
              <a:gd name="connsiteY31" fmla="*/ 4612234 h 5610058"/>
              <a:gd name="connsiteX32" fmla="*/ 5364399 w 8631811"/>
              <a:gd name="connsiteY32" fmla="*/ 4542793 h 5610058"/>
              <a:gd name="connsiteX33" fmla="*/ 5414255 w 8631811"/>
              <a:gd name="connsiteY33" fmla="*/ 4472771 h 5610058"/>
              <a:gd name="connsiteX34" fmla="*/ 5463582 w 8631811"/>
              <a:gd name="connsiteY34" fmla="*/ 4402196 h 5610058"/>
              <a:gd name="connsiteX35" fmla="*/ 5512432 w 8631811"/>
              <a:gd name="connsiteY35" fmla="*/ 4331098 h 5610058"/>
              <a:gd name="connsiteX36" fmla="*/ 5560854 w 8631811"/>
              <a:gd name="connsiteY36" fmla="*/ 4259503 h 5610058"/>
              <a:gd name="connsiteX37" fmla="*/ 5608901 w 8631811"/>
              <a:gd name="connsiteY37" fmla="*/ 4187441 h 5610058"/>
              <a:gd name="connsiteX38" fmla="*/ 5680377 w 8631811"/>
              <a:gd name="connsiteY38" fmla="*/ 4078531 h 5610058"/>
              <a:gd name="connsiteX39" fmla="*/ 5751291 w 8631811"/>
              <a:gd name="connsiteY39" fmla="*/ 3968727 h 5610058"/>
              <a:gd name="connsiteX40" fmla="*/ 5868700 w 8631811"/>
              <a:gd name="connsiteY40" fmla="*/ 3783989 h 5610058"/>
              <a:gd name="connsiteX41" fmla="*/ 6198426 w 8631811"/>
              <a:gd name="connsiteY41" fmla="*/ 3258640 h 5610058"/>
              <a:gd name="connsiteX42" fmla="*/ 6294647 w 8631811"/>
              <a:gd name="connsiteY42" fmla="*/ 3107321 h 5610058"/>
              <a:gd name="connsiteX43" fmla="*/ 6367867 w 8631811"/>
              <a:gd name="connsiteY43" fmla="*/ 2993735 h 5610058"/>
              <a:gd name="connsiteX44" fmla="*/ 6448414 w 8631811"/>
              <a:gd name="connsiteY44" fmla="*/ 2869788 h 5610058"/>
              <a:gd name="connsiteX45" fmla="*/ 6559384 w 8631811"/>
              <a:gd name="connsiteY45" fmla="*/ 2696807 h 5610058"/>
              <a:gd name="connsiteX46" fmla="*/ 6971450 w 8631811"/>
              <a:gd name="connsiteY46" fmla="*/ 2045274 h 5610058"/>
              <a:gd name="connsiteX47" fmla="*/ 7081972 w 8631811"/>
              <a:gd name="connsiteY47" fmla="*/ 1872743 h 5610058"/>
              <a:gd name="connsiteX48" fmla="*/ 7165496 w 8631811"/>
              <a:gd name="connsiteY48" fmla="*/ 1744202 h 5610058"/>
              <a:gd name="connsiteX49" fmla="*/ 7221568 w 8631811"/>
              <a:gd name="connsiteY49" fmla="*/ 1659017 h 5610058"/>
              <a:gd name="connsiteX50" fmla="*/ 7278006 w 8631811"/>
              <a:gd name="connsiteY50" fmla="*/ 1574303 h 5610058"/>
              <a:gd name="connsiteX51" fmla="*/ 7334860 w 8631811"/>
              <a:gd name="connsiteY51" fmla="*/ 1490113 h 5610058"/>
              <a:gd name="connsiteX52" fmla="*/ 7392174 w 8631811"/>
              <a:gd name="connsiteY52" fmla="*/ 1406503 h 5610058"/>
              <a:gd name="connsiteX53" fmla="*/ 7449998 w 8631811"/>
              <a:gd name="connsiteY53" fmla="*/ 1323526 h 5610058"/>
              <a:gd name="connsiteX54" fmla="*/ 7508378 w 8631811"/>
              <a:gd name="connsiteY54" fmla="*/ 1241237 h 5610058"/>
              <a:gd name="connsiteX55" fmla="*/ 7567361 w 8631811"/>
              <a:gd name="connsiteY55" fmla="*/ 1159689 h 5610058"/>
              <a:gd name="connsiteX56" fmla="*/ 7597094 w 8631811"/>
              <a:gd name="connsiteY56" fmla="*/ 1119210 h 5610058"/>
              <a:gd name="connsiteX57" fmla="*/ 7626996 w 8631811"/>
              <a:gd name="connsiteY57" fmla="*/ 1078937 h 5610058"/>
              <a:gd name="connsiteX58" fmla="*/ 7657072 w 8631811"/>
              <a:gd name="connsiteY58" fmla="*/ 1038876 h 5610058"/>
              <a:gd name="connsiteX59" fmla="*/ 7687328 w 8631811"/>
              <a:gd name="connsiteY59" fmla="*/ 999035 h 5610058"/>
              <a:gd name="connsiteX60" fmla="*/ 7717771 w 8631811"/>
              <a:gd name="connsiteY60" fmla="*/ 959419 h 5610058"/>
              <a:gd name="connsiteX61" fmla="*/ 7748407 w 8631811"/>
              <a:gd name="connsiteY61" fmla="*/ 920037 h 5610058"/>
              <a:gd name="connsiteX62" fmla="*/ 7779240 w 8631811"/>
              <a:gd name="connsiteY62" fmla="*/ 880894 h 5610058"/>
              <a:gd name="connsiteX63" fmla="*/ 7810278 w 8631811"/>
              <a:gd name="connsiteY63" fmla="*/ 841997 h 5610058"/>
              <a:gd name="connsiteX64" fmla="*/ 7841525 w 8631811"/>
              <a:gd name="connsiteY64" fmla="*/ 803354 h 5610058"/>
              <a:gd name="connsiteX65" fmla="*/ 7872989 w 8631811"/>
              <a:gd name="connsiteY65" fmla="*/ 764970 h 5610058"/>
              <a:gd name="connsiteX66" fmla="*/ 7904675 w 8631811"/>
              <a:gd name="connsiteY66" fmla="*/ 726853 h 5610058"/>
              <a:gd name="connsiteX67" fmla="*/ 7936588 w 8631811"/>
              <a:gd name="connsiteY67" fmla="*/ 689010 h 5610058"/>
              <a:gd name="connsiteX68" fmla="*/ 7968735 w 8631811"/>
              <a:gd name="connsiteY68" fmla="*/ 651447 h 5610058"/>
              <a:gd name="connsiteX69" fmla="*/ 8001122 w 8631811"/>
              <a:gd name="connsiteY69" fmla="*/ 614171 h 5610058"/>
              <a:gd name="connsiteX70" fmla="*/ 8033755 w 8631811"/>
              <a:gd name="connsiteY70" fmla="*/ 577189 h 5610058"/>
              <a:gd name="connsiteX71" fmla="*/ 8066638 w 8631811"/>
              <a:gd name="connsiteY71" fmla="*/ 540507 h 5610058"/>
              <a:gd name="connsiteX72" fmla="*/ 8099780 w 8631811"/>
              <a:gd name="connsiteY72" fmla="*/ 504132 h 5610058"/>
              <a:gd name="connsiteX73" fmla="*/ 8133184 w 8631811"/>
              <a:gd name="connsiteY73" fmla="*/ 468072 h 5610058"/>
              <a:gd name="connsiteX74" fmla="*/ 8166858 w 8631811"/>
              <a:gd name="connsiteY74" fmla="*/ 432332 h 5610058"/>
              <a:gd name="connsiteX75" fmla="*/ 8200807 w 8631811"/>
              <a:gd name="connsiteY75" fmla="*/ 396920 h 5610058"/>
              <a:gd name="connsiteX76" fmla="*/ 8235037 w 8631811"/>
              <a:gd name="connsiteY76" fmla="*/ 361843 h 5610058"/>
              <a:gd name="connsiteX77" fmla="*/ 8269554 w 8631811"/>
              <a:gd name="connsiteY77" fmla="*/ 327107 h 5610058"/>
              <a:gd name="connsiteX78" fmla="*/ 8304364 w 8631811"/>
              <a:gd name="connsiteY78" fmla="*/ 292718 h 5610058"/>
              <a:gd name="connsiteX79" fmla="*/ 8339473 w 8631811"/>
              <a:gd name="connsiteY79" fmla="*/ 258685 h 5610058"/>
              <a:gd name="connsiteX80" fmla="*/ 8374886 w 8631811"/>
              <a:gd name="connsiteY80" fmla="*/ 225013 h 5610058"/>
              <a:gd name="connsiteX81" fmla="*/ 8410611 w 8631811"/>
              <a:gd name="connsiteY81" fmla="*/ 191709 h 5610058"/>
              <a:gd name="connsiteX82" fmla="*/ 8446651 w 8631811"/>
              <a:gd name="connsiteY82" fmla="*/ 158780 h 5610058"/>
              <a:gd name="connsiteX83" fmla="*/ 8483015 w 8631811"/>
              <a:gd name="connsiteY83" fmla="*/ 126233 h 5610058"/>
              <a:gd name="connsiteX84" fmla="*/ 8519706 w 8631811"/>
              <a:gd name="connsiteY84" fmla="*/ 94075 h 5610058"/>
              <a:gd name="connsiteX85" fmla="*/ 8556732 w 8631811"/>
              <a:gd name="connsiteY85" fmla="*/ 62312 h 5610058"/>
              <a:gd name="connsiteX86" fmla="*/ 8594098 w 8631811"/>
              <a:gd name="connsiteY86" fmla="*/ 30951 h 5610058"/>
              <a:gd name="connsiteX87" fmla="*/ 8631811 w 8631811"/>
              <a:gd name="connsiteY87" fmla="*/ 0 h 5610058"/>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9020"/>
              <a:gd name="connsiteX1" fmla="*/ 510 w 8631811"/>
              <a:gd name="connsiteY1" fmla="*/ 0 h 5599020"/>
              <a:gd name="connsiteX2" fmla="*/ 510 w 8631811"/>
              <a:gd name="connsiteY2" fmla="*/ 5593952 h 5599020"/>
              <a:gd name="connsiteX3" fmla="*/ 4420379 w 8631811"/>
              <a:gd name="connsiteY3" fmla="*/ 5593409 h 5599020"/>
              <a:gd name="connsiteX4" fmla="*/ 4453498 w 8631811"/>
              <a:gd name="connsiteY4" fmla="*/ 5565111 h 5599020"/>
              <a:gd name="connsiteX5" fmla="*/ 4486270 w 8631811"/>
              <a:gd name="connsiteY5" fmla="*/ 5536556 h 5599020"/>
              <a:gd name="connsiteX6" fmla="*/ 4518701 w 8631811"/>
              <a:gd name="connsiteY6" fmla="*/ 5507747 h 5599020"/>
              <a:gd name="connsiteX7" fmla="*/ 4550797 w 8631811"/>
              <a:gd name="connsiteY7" fmla="*/ 5478687 h 5599020"/>
              <a:gd name="connsiteX8" fmla="*/ 4582564 w 8631811"/>
              <a:gd name="connsiteY8" fmla="*/ 5449380 h 5599020"/>
              <a:gd name="connsiteX9" fmla="*/ 4614010 w 8631811"/>
              <a:gd name="connsiteY9" fmla="*/ 5419830 h 5599020"/>
              <a:gd name="connsiteX10" fmla="*/ 4645139 w 8631811"/>
              <a:gd name="connsiteY10" fmla="*/ 5390040 h 5599020"/>
              <a:gd name="connsiteX11" fmla="*/ 4675959 w 8631811"/>
              <a:gd name="connsiteY11" fmla="*/ 5360014 h 5599020"/>
              <a:gd name="connsiteX12" fmla="*/ 4706476 w 8631811"/>
              <a:gd name="connsiteY12" fmla="*/ 5329755 h 5599020"/>
              <a:gd name="connsiteX13" fmla="*/ 4736695 w 8631811"/>
              <a:gd name="connsiteY13" fmla="*/ 5299266 h 5599020"/>
              <a:gd name="connsiteX14" fmla="*/ 4766625 w 8631811"/>
              <a:gd name="connsiteY14" fmla="*/ 5268551 h 5599020"/>
              <a:gd name="connsiteX15" fmla="*/ 4796270 w 8631811"/>
              <a:gd name="connsiteY15" fmla="*/ 5237614 h 5599020"/>
              <a:gd name="connsiteX16" fmla="*/ 4825637 w 8631811"/>
              <a:gd name="connsiteY16" fmla="*/ 5206458 h 5599020"/>
              <a:gd name="connsiteX17" fmla="*/ 4854733 w 8631811"/>
              <a:gd name="connsiteY17" fmla="*/ 5175087 h 5599020"/>
              <a:gd name="connsiteX18" fmla="*/ 4883564 w 8631811"/>
              <a:gd name="connsiteY18" fmla="*/ 5143504 h 5599020"/>
              <a:gd name="connsiteX19" fmla="*/ 4912136 w 8631811"/>
              <a:gd name="connsiteY19" fmla="*/ 5111713 h 5599020"/>
              <a:gd name="connsiteX20" fmla="*/ 4940455 w 8631811"/>
              <a:gd name="connsiteY20" fmla="*/ 5079717 h 5599020"/>
              <a:gd name="connsiteX21" fmla="*/ 4968528 w 8631811"/>
              <a:gd name="connsiteY21" fmla="*/ 5047519 h 5599020"/>
              <a:gd name="connsiteX22" fmla="*/ 4996362 w 8631811"/>
              <a:gd name="connsiteY22" fmla="*/ 5015124 h 5599020"/>
              <a:gd name="connsiteX23" fmla="*/ 5023962 w 8631811"/>
              <a:gd name="connsiteY23" fmla="*/ 4982535 h 5599020"/>
              <a:gd name="connsiteX24" fmla="*/ 5051334 w 8631811"/>
              <a:gd name="connsiteY24" fmla="*/ 4949755 h 5599020"/>
              <a:gd name="connsiteX25" fmla="*/ 5078486 w 8631811"/>
              <a:gd name="connsiteY25" fmla="*/ 4916787 h 5599020"/>
              <a:gd name="connsiteX26" fmla="*/ 5105424 w 8631811"/>
              <a:gd name="connsiteY26" fmla="*/ 4883636 h 5599020"/>
              <a:gd name="connsiteX27" fmla="*/ 5132154 w 8631811"/>
              <a:gd name="connsiteY27" fmla="*/ 4850305 h 5599020"/>
              <a:gd name="connsiteX28" fmla="*/ 5158681 w 8631811"/>
              <a:gd name="connsiteY28" fmla="*/ 4816797 h 5599020"/>
              <a:gd name="connsiteX29" fmla="*/ 5211157 w 8631811"/>
              <a:gd name="connsiteY29" fmla="*/ 4749265 h 5599020"/>
              <a:gd name="connsiteX30" fmla="*/ 5262901 w 8631811"/>
              <a:gd name="connsiteY30" fmla="*/ 4681068 h 5599020"/>
              <a:gd name="connsiteX31" fmla="*/ 5313965 w 8631811"/>
              <a:gd name="connsiteY31" fmla="*/ 4612234 h 5599020"/>
              <a:gd name="connsiteX32" fmla="*/ 5364399 w 8631811"/>
              <a:gd name="connsiteY32" fmla="*/ 4542793 h 5599020"/>
              <a:gd name="connsiteX33" fmla="*/ 5414255 w 8631811"/>
              <a:gd name="connsiteY33" fmla="*/ 4472771 h 5599020"/>
              <a:gd name="connsiteX34" fmla="*/ 5463582 w 8631811"/>
              <a:gd name="connsiteY34" fmla="*/ 4402196 h 5599020"/>
              <a:gd name="connsiteX35" fmla="*/ 5512432 w 8631811"/>
              <a:gd name="connsiteY35" fmla="*/ 4331098 h 5599020"/>
              <a:gd name="connsiteX36" fmla="*/ 5560854 w 8631811"/>
              <a:gd name="connsiteY36" fmla="*/ 4259503 h 5599020"/>
              <a:gd name="connsiteX37" fmla="*/ 5608901 w 8631811"/>
              <a:gd name="connsiteY37" fmla="*/ 4187441 h 5599020"/>
              <a:gd name="connsiteX38" fmla="*/ 5680377 w 8631811"/>
              <a:gd name="connsiteY38" fmla="*/ 4078531 h 5599020"/>
              <a:gd name="connsiteX39" fmla="*/ 5751291 w 8631811"/>
              <a:gd name="connsiteY39" fmla="*/ 3968727 h 5599020"/>
              <a:gd name="connsiteX40" fmla="*/ 5868700 w 8631811"/>
              <a:gd name="connsiteY40" fmla="*/ 3783989 h 5599020"/>
              <a:gd name="connsiteX41" fmla="*/ 6198426 w 8631811"/>
              <a:gd name="connsiteY41" fmla="*/ 3258640 h 5599020"/>
              <a:gd name="connsiteX42" fmla="*/ 6294647 w 8631811"/>
              <a:gd name="connsiteY42" fmla="*/ 3107321 h 5599020"/>
              <a:gd name="connsiteX43" fmla="*/ 6367867 w 8631811"/>
              <a:gd name="connsiteY43" fmla="*/ 2993735 h 5599020"/>
              <a:gd name="connsiteX44" fmla="*/ 6448414 w 8631811"/>
              <a:gd name="connsiteY44" fmla="*/ 2869788 h 5599020"/>
              <a:gd name="connsiteX45" fmla="*/ 6559384 w 8631811"/>
              <a:gd name="connsiteY45" fmla="*/ 2696807 h 5599020"/>
              <a:gd name="connsiteX46" fmla="*/ 6971450 w 8631811"/>
              <a:gd name="connsiteY46" fmla="*/ 2045274 h 5599020"/>
              <a:gd name="connsiteX47" fmla="*/ 7081972 w 8631811"/>
              <a:gd name="connsiteY47" fmla="*/ 1872743 h 5599020"/>
              <a:gd name="connsiteX48" fmla="*/ 7165496 w 8631811"/>
              <a:gd name="connsiteY48" fmla="*/ 1744202 h 5599020"/>
              <a:gd name="connsiteX49" fmla="*/ 7221568 w 8631811"/>
              <a:gd name="connsiteY49" fmla="*/ 1659017 h 5599020"/>
              <a:gd name="connsiteX50" fmla="*/ 7278006 w 8631811"/>
              <a:gd name="connsiteY50" fmla="*/ 1574303 h 5599020"/>
              <a:gd name="connsiteX51" fmla="*/ 7334860 w 8631811"/>
              <a:gd name="connsiteY51" fmla="*/ 1490113 h 5599020"/>
              <a:gd name="connsiteX52" fmla="*/ 7392174 w 8631811"/>
              <a:gd name="connsiteY52" fmla="*/ 1406503 h 5599020"/>
              <a:gd name="connsiteX53" fmla="*/ 7449998 w 8631811"/>
              <a:gd name="connsiteY53" fmla="*/ 1323526 h 5599020"/>
              <a:gd name="connsiteX54" fmla="*/ 7508378 w 8631811"/>
              <a:gd name="connsiteY54" fmla="*/ 1241237 h 5599020"/>
              <a:gd name="connsiteX55" fmla="*/ 7567361 w 8631811"/>
              <a:gd name="connsiteY55" fmla="*/ 1159689 h 5599020"/>
              <a:gd name="connsiteX56" fmla="*/ 7597094 w 8631811"/>
              <a:gd name="connsiteY56" fmla="*/ 1119210 h 5599020"/>
              <a:gd name="connsiteX57" fmla="*/ 7626996 w 8631811"/>
              <a:gd name="connsiteY57" fmla="*/ 1078937 h 5599020"/>
              <a:gd name="connsiteX58" fmla="*/ 7657072 w 8631811"/>
              <a:gd name="connsiteY58" fmla="*/ 1038876 h 5599020"/>
              <a:gd name="connsiteX59" fmla="*/ 7687328 w 8631811"/>
              <a:gd name="connsiteY59" fmla="*/ 999035 h 5599020"/>
              <a:gd name="connsiteX60" fmla="*/ 7717771 w 8631811"/>
              <a:gd name="connsiteY60" fmla="*/ 959419 h 5599020"/>
              <a:gd name="connsiteX61" fmla="*/ 7748407 w 8631811"/>
              <a:gd name="connsiteY61" fmla="*/ 920037 h 5599020"/>
              <a:gd name="connsiteX62" fmla="*/ 7779240 w 8631811"/>
              <a:gd name="connsiteY62" fmla="*/ 880894 h 5599020"/>
              <a:gd name="connsiteX63" fmla="*/ 7810278 w 8631811"/>
              <a:gd name="connsiteY63" fmla="*/ 841997 h 5599020"/>
              <a:gd name="connsiteX64" fmla="*/ 7841525 w 8631811"/>
              <a:gd name="connsiteY64" fmla="*/ 803354 h 5599020"/>
              <a:gd name="connsiteX65" fmla="*/ 7872989 w 8631811"/>
              <a:gd name="connsiteY65" fmla="*/ 764970 h 5599020"/>
              <a:gd name="connsiteX66" fmla="*/ 7904675 w 8631811"/>
              <a:gd name="connsiteY66" fmla="*/ 726853 h 5599020"/>
              <a:gd name="connsiteX67" fmla="*/ 7936588 w 8631811"/>
              <a:gd name="connsiteY67" fmla="*/ 689010 h 5599020"/>
              <a:gd name="connsiteX68" fmla="*/ 7968735 w 8631811"/>
              <a:gd name="connsiteY68" fmla="*/ 651447 h 5599020"/>
              <a:gd name="connsiteX69" fmla="*/ 8001122 w 8631811"/>
              <a:gd name="connsiteY69" fmla="*/ 614171 h 5599020"/>
              <a:gd name="connsiteX70" fmla="*/ 8033755 w 8631811"/>
              <a:gd name="connsiteY70" fmla="*/ 577189 h 5599020"/>
              <a:gd name="connsiteX71" fmla="*/ 8066638 w 8631811"/>
              <a:gd name="connsiteY71" fmla="*/ 540507 h 5599020"/>
              <a:gd name="connsiteX72" fmla="*/ 8099780 w 8631811"/>
              <a:gd name="connsiteY72" fmla="*/ 504132 h 5599020"/>
              <a:gd name="connsiteX73" fmla="*/ 8133184 w 8631811"/>
              <a:gd name="connsiteY73" fmla="*/ 468072 h 5599020"/>
              <a:gd name="connsiteX74" fmla="*/ 8166858 w 8631811"/>
              <a:gd name="connsiteY74" fmla="*/ 432332 h 5599020"/>
              <a:gd name="connsiteX75" fmla="*/ 8200807 w 8631811"/>
              <a:gd name="connsiteY75" fmla="*/ 396920 h 5599020"/>
              <a:gd name="connsiteX76" fmla="*/ 8235037 w 8631811"/>
              <a:gd name="connsiteY76" fmla="*/ 361843 h 5599020"/>
              <a:gd name="connsiteX77" fmla="*/ 8269554 w 8631811"/>
              <a:gd name="connsiteY77" fmla="*/ 327107 h 5599020"/>
              <a:gd name="connsiteX78" fmla="*/ 8304364 w 8631811"/>
              <a:gd name="connsiteY78" fmla="*/ 292718 h 5599020"/>
              <a:gd name="connsiteX79" fmla="*/ 8339473 w 8631811"/>
              <a:gd name="connsiteY79" fmla="*/ 258685 h 5599020"/>
              <a:gd name="connsiteX80" fmla="*/ 8374886 w 8631811"/>
              <a:gd name="connsiteY80" fmla="*/ 225013 h 5599020"/>
              <a:gd name="connsiteX81" fmla="*/ 8410611 w 8631811"/>
              <a:gd name="connsiteY81" fmla="*/ 191709 h 5599020"/>
              <a:gd name="connsiteX82" fmla="*/ 8446651 w 8631811"/>
              <a:gd name="connsiteY82" fmla="*/ 158780 h 5599020"/>
              <a:gd name="connsiteX83" fmla="*/ 8483015 w 8631811"/>
              <a:gd name="connsiteY83" fmla="*/ 126233 h 5599020"/>
              <a:gd name="connsiteX84" fmla="*/ 8519706 w 8631811"/>
              <a:gd name="connsiteY84" fmla="*/ 94075 h 5599020"/>
              <a:gd name="connsiteX85" fmla="*/ 8556732 w 8631811"/>
              <a:gd name="connsiteY85" fmla="*/ 62312 h 5599020"/>
              <a:gd name="connsiteX86" fmla="*/ 8594098 w 8631811"/>
              <a:gd name="connsiteY86" fmla="*/ 30951 h 5599020"/>
              <a:gd name="connsiteX87" fmla="*/ 8631811 w 8631811"/>
              <a:gd name="connsiteY87" fmla="*/ 0 h 5599020"/>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82192 w 8631811"/>
              <a:gd name="connsiteY3" fmla="*/ 5550657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55902"/>
              <a:gd name="connsiteX1" fmla="*/ 510 w 8631811"/>
              <a:gd name="connsiteY1" fmla="*/ 0 h 5655902"/>
              <a:gd name="connsiteX2" fmla="*/ 510 w 8631811"/>
              <a:gd name="connsiteY2" fmla="*/ 5593952 h 5655902"/>
              <a:gd name="connsiteX3" fmla="*/ 4362155 w 8631811"/>
              <a:gd name="connsiteY3" fmla="*/ 5654487 h 5655902"/>
              <a:gd name="connsiteX4" fmla="*/ 4453498 w 8631811"/>
              <a:gd name="connsiteY4" fmla="*/ 5565111 h 5655902"/>
              <a:gd name="connsiteX5" fmla="*/ 4486270 w 8631811"/>
              <a:gd name="connsiteY5" fmla="*/ 5536556 h 5655902"/>
              <a:gd name="connsiteX6" fmla="*/ 4518701 w 8631811"/>
              <a:gd name="connsiteY6" fmla="*/ 5507747 h 5655902"/>
              <a:gd name="connsiteX7" fmla="*/ 4550797 w 8631811"/>
              <a:gd name="connsiteY7" fmla="*/ 5478687 h 5655902"/>
              <a:gd name="connsiteX8" fmla="*/ 4582564 w 8631811"/>
              <a:gd name="connsiteY8" fmla="*/ 5449380 h 5655902"/>
              <a:gd name="connsiteX9" fmla="*/ 4614010 w 8631811"/>
              <a:gd name="connsiteY9" fmla="*/ 5419830 h 5655902"/>
              <a:gd name="connsiteX10" fmla="*/ 4645139 w 8631811"/>
              <a:gd name="connsiteY10" fmla="*/ 5390040 h 5655902"/>
              <a:gd name="connsiteX11" fmla="*/ 4675959 w 8631811"/>
              <a:gd name="connsiteY11" fmla="*/ 5360014 h 5655902"/>
              <a:gd name="connsiteX12" fmla="*/ 4706476 w 8631811"/>
              <a:gd name="connsiteY12" fmla="*/ 5329755 h 5655902"/>
              <a:gd name="connsiteX13" fmla="*/ 4736695 w 8631811"/>
              <a:gd name="connsiteY13" fmla="*/ 5299266 h 5655902"/>
              <a:gd name="connsiteX14" fmla="*/ 4766625 w 8631811"/>
              <a:gd name="connsiteY14" fmla="*/ 5268551 h 5655902"/>
              <a:gd name="connsiteX15" fmla="*/ 4796270 w 8631811"/>
              <a:gd name="connsiteY15" fmla="*/ 5237614 h 5655902"/>
              <a:gd name="connsiteX16" fmla="*/ 4825637 w 8631811"/>
              <a:gd name="connsiteY16" fmla="*/ 5206458 h 5655902"/>
              <a:gd name="connsiteX17" fmla="*/ 4854733 w 8631811"/>
              <a:gd name="connsiteY17" fmla="*/ 5175087 h 5655902"/>
              <a:gd name="connsiteX18" fmla="*/ 4883564 w 8631811"/>
              <a:gd name="connsiteY18" fmla="*/ 5143504 h 5655902"/>
              <a:gd name="connsiteX19" fmla="*/ 4912136 w 8631811"/>
              <a:gd name="connsiteY19" fmla="*/ 5111713 h 5655902"/>
              <a:gd name="connsiteX20" fmla="*/ 4940455 w 8631811"/>
              <a:gd name="connsiteY20" fmla="*/ 5079717 h 5655902"/>
              <a:gd name="connsiteX21" fmla="*/ 4968528 w 8631811"/>
              <a:gd name="connsiteY21" fmla="*/ 5047519 h 5655902"/>
              <a:gd name="connsiteX22" fmla="*/ 4996362 w 8631811"/>
              <a:gd name="connsiteY22" fmla="*/ 5015124 h 5655902"/>
              <a:gd name="connsiteX23" fmla="*/ 5023962 w 8631811"/>
              <a:gd name="connsiteY23" fmla="*/ 4982535 h 5655902"/>
              <a:gd name="connsiteX24" fmla="*/ 5051334 w 8631811"/>
              <a:gd name="connsiteY24" fmla="*/ 4949755 h 5655902"/>
              <a:gd name="connsiteX25" fmla="*/ 5078486 w 8631811"/>
              <a:gd name="connsiteY25" fmla="*/ 4916787 h 5655902"/>
              <a:gd name="connsiteX26" fmla="*/ 5105424 w 8631811"/>
              <a:gd name="connsiteY26" fmla="*/ 4883636 h 5655902"/>
              <a:gd name="connsiteX27" fmla="*/ 5132154 w 8631811"/>
              <a:gd name="connsiteY27" fmla="*/ 4850305 h 5655902"/>
              <a:gd name="connsiteX28" fmla="*/ 5158681 w 8631811"/>
              <a:gd name="connsiteY28" fmla="*/ 4816797 h 5655902"/>
              <a:gd name="connsiteX29" fmla="*/ 5211157 w 8631811"/>
              <a:gd name="connsiteY29" fmla="*/ 4749265 h 5655902"/>
              <a:gd name="connsiteX30" fmla="*/ 5262901 w 8631811"/>
              <a:gd name="connsiteY30" fmla="*/ 4681068 h 5655902"/>
              <a:gd name="connsiteX31" fmla="*/ 5313965 w 8631811"/>
              <a:gd name="connsiteY31" fmla="*/ 4612234 h 5655902"/>
              <a:gd name="connsiteX32" fmla="*/ 5364399 w 8631811"/>
              <a:gd name="connsiteY32" fmla="*/ 4542793 h 5655902"/>
              <a:gd name="connsiteX33" fmla="*/ 5414255 w 8631811"/>
              <a:gd name="connsiteY33" fmla="*/ 4472771 h 5655902"/>
              <a:gd name="connsiteX34" fmla="*/ 5463582 w 8631811"/>
              <a:gd name="connsiteY34" fmla="*/ 4402196 h 5655902"/>
              <a:gd name="connsiteX35" fmla="*/ 5512432 w 8631811"/>
              <a:gd name="connsiteY35" fmla="*/ 4331098 h 5655902"/>
              <a:gd name="connsiteX36" fmla="*/ 5560854 w 8631811"/>
              <a:gd name="connsiteY36" fmla="*/ 4259503 h 5655902"/>
              <a:gd name="connsiteX37" fmla="*/ 5608901 w 8631811"/>
              <a:gd name="connsiteY37" fmla="*/ 4187441 h 5655902"/>
              <a:gd name="connsiteX38" fmla="*/ 5680377 w 8631811"/>
              <a:gd name="connsiteY38" fmla="*/ 4078531 h 5655902"/>
              <a:gd name="connsiteX39" fmla="*/ 5751291 w 8631811"/>
              <a:gd name="connsiteY39" fmla="*/ 3968727 h 5655902"/>
              <a:gd name="connsiteX40" fmla="*/ 5868700 w 8631811"/>
              <a:gd name="connsiteY40" fmla="*/ 3783989 h 5655902"/>
              <a:gd name="connsiteX41" fmla="*/ 6198426 w 8631811"/>
              <a:gd name="connsiteY41" fmla="*/ 3258640 h 5655902"/>
              <a:gd name="connsiteX42" fmla="*/ 6294647 w 8631811"/>
              <a:gd name="connsiteY42" fmla="*/ 3107321 h 5655902"/>
              <a:gd name="connsiteX43" fmla="*/ 6367867 w 8631811"/>
              <a:gd name="connsiteY43" fmla="*/ 2993735 h 5655902"/>
              <a:gd name="connsiteX44" fmla="*/ 6448414 w 8631811"/>
              <a:gd name="connsiteY44" fmla="*/ 2869788 h 5655902"/>
              <a:gd name="connsiteX45" fmla="*/ 6559384 w 8631811"/>
              <a:gd name="connsiteY45" fmla="*/ 2696807 h 5655902"/>
              <a:gd name="connsiteX46" fmla="*/ 6971450 w 8631811"/>
              <a:gd name="connsiteY46" fmla="*/ 2045274 h 5655902"/>
              <a:gd name="connsiteX47" fmla="*/ 7081972 w 8631811"/>
              <a:gd name="connsiteY47" fmla="*/ 1872743 h 5655902"/>
              <a:gd name="connsiteX48" fmla="*/ 7165496 w 8631811"/>
              <a:gd name="connsiteY48" fmla="*/ 1744202 h 5655902"/>
              <a:gd name="connsiteX49" fmla="*/ 7221568 w 8631811"/>
              <a:gd name="connsiteY49" fmla="*/ 1659017 h 5655902"/>
              <a:gd name="connsiteX50" fmla="*/ 7278006 w 8631811"/>
              <a:gd name="connsiteY50" fmla="*/ 1574303 h 5655902"/>
              <a:gd name="connsiteX51" fmla="*/ 7334860 w 8631811"/>
              <a:gd name="connsiteY51" fmla="*/ 1490113 h 5655902"/>
              <a:gd name="connsiteX52" fmla="*/ 7392174 w 8631811"/>
              <a:gd name="connsiteY52" fmla="*/ 1406503 h 5655902"/>
              <a:gd name="connsiteX53" fmla="*/ 7449998 w 8631811"/>
              <a:gd name="connsiteY53" fmla="*/ 1323526 h 5655902"/>
              <a:gd name="connsiteX54" fmla="*/ 7508378 w 8631811"/>
              <a:gd name="connsiteY54" fmla="*/ 1241237 h 5655902"/>
              <a:gd name="connsiteX55" fmla="*/ 7567361 w 8631811"/>
              <a:gd name="connsiteY55" fmla="*/ 1159689 h 5655902"/>
              <a:gd name="connsiteX56" fmla="*/ 7597094 w 8631811"/>
              <a:gd name="connsiteY56" fmla="*/ 1119210 h 5655902"/>
              <a:gd name="connsiteX57" fmla="*/ 7626996 w 8631811"/>
              <a:gd name="connsiteY57" fmla="*/ 1078937 h 5655902"/>
              <a:gd name="connsiteX58" fmla="*/ 7657072 w 8631811"/>
              <a:gd name="connsiteY58" fmla="*/ 1038876 h 5655902"/>
              <a:gd name="connsiteX59" fmla="*/ 7687328 w 8631811"/>
              <a:gd name="connsiteY59" fmla="*/ 999035 h 5655902"/>
              <a:gd name="connsiteX60" fmla="*/ 7717771 w 8631811"/>
              <a:gd name="connsiteY60" fmla="*/ 959419 h 5655902"/>
              <a:gd name="connsiteX61" fmla="*/ 7748407 w 8631811"/>
              <a:gd name="connsiteY61" fmla="*/ 920037 h 5655902"/>
              <a:gd name="connsiteX62" fmla="*/ 7779240 w 8631811"/>
              <a:gd name="connsiteY62" fmla="*/ 880894 h 5655902"/>
              <a:gd name="connsiteX63" fmla="*/ 7810278 w 8631811"/>
              <a:gd name="connsiteY63" fmla="*/ 841997 h 5655902"/>
              <a:gd name="connsiteX64" fmla="*/ 7841525 w 8631811"/>
              <a:gd name="connsiteY64" fmla="*/ 803354 h 5655902"/>
              <a:gd name="connsiteX65" fmla="*/ 7872989 w 8631811"/>
              <a:gd name="connsiteY65" fmla="*/ 764970 h 5655902"/>
              <a:gd name="connsiteX66" fmla="*/ 7904675 w 8631811"/>
              <a:gd name="connsiteY66" fmla="*/ 726853 h 5655902"/>
              <a:gd name="connsiteX67" fmla="*/ 7936588 w 8631811"/>
              <a:gd name="connsiteY67" fmla="*/ 689010 h 5655902"/>
              <a:gd name="connsiteX68" fmla="*/ 7968735 w 8631811"/>
              <a:gd name="connsiteY68" fmla="*/ 651447 h 5655902"/>
              <a:gd name="connsiteX69" fmla="*/ 8001122 w 8631811"/>
              <a:gd name="connsiteY69" fmla="*/ 614171 h 5655902"/>
              <a:gd name="connsiteX70" fmla="*/ 8033755 w 8631811"/>
              <a:gd name="connsiteY70" fmla="*/ 577189 h 5655902"/>
              <a:gd name="connsiteX71" fmla="*/ 8066638 w 8631811"/>
              <a:gd name="connsiteY71" fmla="*/ 540507 h 5655902"/>
              <a:gd name="connsiteX72" fmla="*/ 8099780 w 8631811"/>
              <a:gd name="connsiteY72" fmla="*/ 504132 h 5655902"/>
              <a:gd name="connsiteX73" fmla="*/ 8133184 w 8631811"/>
              <a:gd name="connsiteY73" fmla="*/ 468072 h 5655902"/>
              <a:gd name="connsiteX74" fmla="*/ 8166858 w 8631811"/>
              <a:gd name="connsiteY74" fmla="*/ 432332 h 5655902"/>
              <a:gd name="connsiteX75" fmla="*/ 8200807 w 8631811"/>
              <a:gd name="connsiteY75" fmla="*/ 396920 h 5655902"/>
              <a:gd name="connsiteX76" fmla="*/ 8235037 w 8631811"/>
              <a:gd name="connsiteY76" fmla="*/ 361843 h 5655902"/>
              <a:gd name="connsiteX77" fmla="*/ 8269554 w 8631811"/>
              <a:gd name="connsiteY77" fmla="*/ 327107 h 5655902"/>
              <a:gd name="connsiteX78" fmla="*/ 8304364 w 8631811"/>
              <a:gd name="connsiteY78" fmla="*/ 292718 h 5655902"/>
              <a:gd name="connsiteX79" fmla="*/ 8339473 w 8631811"/>
              <a:gd name="connsiteY79" fmla="*/ 258685 h 5655902"/>
              <a:gd name="connsiteX80" fmla="*/ 8374886 w 8631811"/>
              <a:gd name="connsiteY80" fmla="*/ 225013 h 5655902"/>
              <a:gd name="connsiteX81" fmla="*/ 8410611 w 8631811"/>
              <a:gd name="connsiteY81" fmla="*/ 191709 h 5655902"/>
              <a:gd name="connsiteX82" fmla="*/ 8446651 w 8631811"/>
              <a:gd name="connsiteY82" fmla="*/ 158780 h 5655902"/>
              <a:gd name="connsiteX83" fmla="*/ 8483015 w 8631811"/>
              <a:gd name="connsiteY83" fmla="*/ 126233 h 5655902"/>
              <a:gd name="connsiteX84" fmla="*/ 8519706 w 8631811"/>
              <a:gd name="connsiteY84" fmla="*/ 94075 h 5655902"/>
              <a:gd name="connsiteX85" fmla="*/ 8556732 w 8631811"/>
              <a:gd name="connsiteY85" fmla="*/ 62312 h 5655902"/>
              <a:gd name="connsiteX86" fmla="*/ 8594098 w 8631811"/>
              <a:gd name="connsiteY86" fmla="*/ 30951 h 5655902"/>
              <a:gd name="connsiteX87" fmla="*/ 8631811 w 8631811"/>
              <a:gd name="connsiteY87" fmla="*/ 0 h 5655902"/>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8631811" h="5609155">
                <a:moveTo>
                  <a:pt x="8631811" y="0"/>
                </a:moveTo>
                <a:lnTo>
                  <a:pt x="510" y="0"/>
                </a:lnTo>
                <a:cubicBezTo>
                  <a:pt x="-1254" y="1862614"/>
                  <a:pt x="2274" y="3731338"/>
                  <a:pt x="510" y="5593952"/>
                </a:cubicBezTo>
                <a:cubicBezTo>
                  <a:pt x="2341" y="5593771"/>
                  <a:pt x="4397374" y="5618022"/>
                  <a:pt x="4415084" y="5605626"/>
                </a:cubicBezTo>
                <a:cubicBezTo>
                  <a:pt x="4394366" y="5618587"/>
                  <a:pt x="4458338" y="5576581"/>
                  <a:pt x="4453498" y="5565111"/>
                </a:cubicBezTo>
                <a:cubicBezTo>
                  <a:pt x="4458213" y="5577087"/>
                  <a:pt x="4475346" y="5546074"/>
                  <a:pt x="4486270" y="5536556"/>
                </a:cubicBezTo>
                <a:lnTo>
                  <a:pt x="4518701" y="5507747"/>
                </a:lnTo>
                <a:lnTo>
                  <a:pt x="4550797" y="5478687"/>
                </a:lnTo>
                <a:lnTo>
                  <a:pt x="4582564" y="5449380"/>
                </a:lnTo>
                <a:lnTo>
                  <a:pt x="4614010" y="5419830"/>
                </a:lnTo>
                <a:lnTo>
                  <a:pt x="4645139" y="5390040"/>
                </a:lnTo>
                <a:lnTo>
                  <a:pt x="4675959" y="5360014"/>
                </a:lnTo>
                <a:lnTo>
                  <a:pt x="4706476" y="5329755"/>
                </a:lnTo>
                <a:lnTo>
                  <a:pt x="4736695" y="5299266"/>
                </a:lnTo>
                <a:lnTo>
                  <a:pt x="4766625" y="5268551"/>
                </a:lnTo>
                <a:lnTo>
                  <a:pt x="4796270" y="5237614"/>
                </a:lnTo>
                <a:lnTo>
                  <a:pt x="4825637" y="5206458"/>
                </a:lnTo>
                <a:lnTo>
                  <a:pt x="4854733" y="5175087"/>
                </a:lnTo>
                <a:lnTo>
                  <a:pt x="4883564" y="5143504"/>
                </a:lnTo>
                <a:lnTo>
                  <a:pt x="4912136" y="5111713"/>
                </a:lnTo>
                <a:lnTo>
                  <a:pt x="4940455" y="5079717"/>
                </a:lnTo>
                <a:lnTo>
                  <a:pt x="4968528" y="5047519"/>
                </a:lnTo>
                <a:lnTo>
                  <a:pt x="4996362" y="5015124"/>
                </a:lnTo>
                <a:lnTo>
                  <a:pt x="5023962" y="4982535"/>
                </a:lnTo>
                <a:lnTo>
                  <a:pt x="5051334" y="4949755"/>
                </a:lnTo>
                <a:lnTo>
                  <a:pt x="5078486" y="4916787"/>
                </a:lnTo>
                <a:lnTo>
                  <a:pt x="5105424" y="4883636"/>
                </a:lnTo>
                <a:lnTo>
                  <a:pt x="5132154" y="4850305"/>
                </a:lnTo>
                <a:lnTo>
                  <a:pt x="5158681" y="4816797"/>
                </a:lnTo>
                <a:lnTo>
                  <a:pt x="5211157" y="4749265"/>
                </a:lnTo>
                <a:lnTo>
                  <a:pt x="5262901" y="4681068"/>
                </a:lnTo>
                <a:lnTo>
                  <a:pt x="5313965" y="4612234"/>
                </a:lnTo>
                <a:lnTo>
                  <a:pt x="5364399" y="4542793"/>
                </a:lnTo>
                <a:lnTo>
                  <a:pt x="5414255" y="4472771"/>
                </a:lnTo>
                <a:lnTo>
                  <a:pt x="5463582" y="4402196"/>
                </a:lnTo>
                <a:lnTo>
                  <a:pt x="5512432" y="4331098"/>
                </a:lnTo>
                <a:lnTo>
                  <a:pt x="5560854" y="4259503"/>
                </a:lnTo>
                <a:lnTo>
                  <a:pt x="5608901" y="4187441"/>
                </a:lnTo>
                <a:lnTo>
                  <a:pt x="5680377" y="4078531"/>
                </a:lnTo>
                <a:lnTo>
                  <a:pt x="5751291" y="3968727"/>
                </a:lnTo>
                <a:lnTo>
                  <a:pt x="5868700" y="3783989"/>
                </a:lnTo>
                <a:lnTo>
                  <a:pt x="6198426" y="3258640"/>
                </a:lnTo>
                <a:lnTo>
                  <a:pt x="6294647" y="3107321"/>
                </a:lnTo>
                <a:lnTo>
                  <a:pt x="6367867" y="2993735"/>
                </a:lnTo>
                <a:lnTo>
                  <a:pt x="6448414" y="2869788"/>
                </a:lnTo>
                <a:lnTo>
                  <a:pt x="6559384" y="2696807"/>
                </a:lnTo>
                <a:lnTo>
                  <a:pt x="6971450" y="2045274"/>
                </a:lnTo>
                <a:lnTo>
                  <a:pt x="7081972" y="1872743"/>
                </a:lnTo>
                <a:lnTo>
                  <a:pt x="7165496" y="1744202"/>
                </a:lnTo>
                <a:lnTo>
                  <a:pt x="7221568" y="1659017"/>
                </a:lnTo>
                <a:lnTo>
                  <a:pt x="7278006" y="1574303"/>
                </a:lnTo>
                <a:lnTo>
                  <a:pt x="7334860" y="1490113"/>
                </a:lnTo>
                <a:lnTo>
                  <a:pt x="7392174" y="1406503"/>
                </a:lnTo>
                <a:lnTo>
                  <a:pt x="7449998" y="1323526"/>
                </a:lnTo>
                <a:lnTo>
                  <a:pt x="7508378" y="1241237"/>
                </a:lnTo>
                <a:lnTo>
                  <a:pt x="7567361" y="1159689"/>
                </a:lnTo>
                <a:lnTo>
                  <a:pt x="7597094" y="1119210"/>
                </a:lnTo>
                <a:lnTo>
                  <a:pt x="7626996" y="1078937"/>
                </a:lnTo>
                <a:lnTo>
                  <a:pt x="7657072" y="1038876"/>
                </a:lnTo>
                <a:lnTo>
                  <a:pt x="7687328" y="999035"/>
                </a:lnTo>
                <a:lnTo>
                  <a:pt x="7717771" y="959419"/>
                </a:lnTo>
                <a:lnTo>
                  <a:pt x="7748407" y="920037"/>
                </a:lnTo>
                <a:lnTo>
                  <a:pt x="7779240" y="880894"/>
                </a:lnTo>
                <a:lnTo>
                  <a:pt x="7810278" y="841997"/>
                </a:lnTo>
                <a:lnTo>
                  <a:pt x="7841525" y="803354"/>
                </a:lnTo>
                <a:lnTo>
                  <a:pt x="7872989" y="764970"/>
                </a:lnTo>
                <a:lnTo>
                  <a:pt x="7904675" y="726853"/>
                </a:lnTo>
                <a:lnTo>
                  <a:pt x="7936588" y="689010"/>
                </a:lnTo>
                <a:lnTo>
                  <a:pt x="7968735" y="651447"/>
                </a:lnTo>
                <a:lnTo>
                  <a:pt x="8001122" y="614171"/>
                </a:lnTo>
                <a:lnTo>
                  <a:pt x="8033755" y="577189"/>
                </a:lnTo>
                <a:lnTo>
                  <a:pt x="8066638" y="540507"/>
                </a:lnTo>
                <a:lnTo>
                  <a:pt x="8099780" y="504132"/>
                </a:lnTo>
                <a:lnTo>
                  <a:pt x="8133184" y="468072"/>
                </a:lnTo>
                <a:lnTo>
                  <a:pt x="8166858" y="432332"/>
                </a:lnTo>
                <a:lnTo>
                  <a:pt x="8200807" y="396920"/>
                </a:lnTo>
                <a:lnTo>
                  <a:pt x="8235037" y="361843"/>
                </a:lnTo>
                <a:lnTo>
                  <a:pt x="8269554" y="327107"/>
                </a:lnTo>
                <a:lnTo>
                  <a:pt x="8304364" y="292718"/>
                </a:lnTo>
                <a:lnTo>
                  <a:pt x="8339473" y="258685"/>
                </a:lnTo>
                <a:lnTo>
                  <a:pt x="8374886" y="225013"/>
                </a:lnTo>
                <a:lnTo>
                  <a:pt x="8410611" y="191709"/>
                </a:lnTo>
                <a:lnTo>
                  <a:pt x="8446651" y="158780"/>
                </a:lnTo>
                <a:lnTo>
                  <a:pt x="8483015" y="126233"/>
                </a:lnTo>
                <a:lnTo>
                  <a:pt x="8519706" y="94075"/>
                </a:lnTo>
                <a:lnTo>
                  <a:pt x="8556732" y="62312"/>
                </a:lnTo>
                <a:lnTo>
                  <a:pt x="8594098" y="30951"/>
                </a:lnTo>
                <a:lnTo>
                  <a:pt x="8631811" y="0"/>
                </a:lnTo>
                <a:close/>
              </a:path>
            </a:pathLst>
          </a:custGeom>
          <a:solidFill>
            <a:schemeClr val="bg1"/>
          </a:solidFill>
        </p:spPr>
        <p:txBody>
          <a:bodyPr wrap="square" lIns="0" tIns="0" rIns="0" bIns="0" rtlCol="0"/>
          <a:lstStyle/>
          <a:p>
            <a:endParaRPr/>
          </a:p>
        </p:txBody>
      </p:sp>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C1E0F7"/>
                </a:solidFill>
                <a:latin typeface="Avenir Next LT Pro Demi" panose="020B0704020202020204" pitchFamily="34" charset="0"/>
              </a:rPr>
              <a:pPr algn="r"/>
              <a:t>‹#›</a:t>
            </a:fld>
            <a:endParaRPr lang="en-GB">
              <a:solidFill>
                <a:srgbClr val="C1E0F7"/>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185817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33232431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914400" indent="-4572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a:p>
            <a:pPr lvl="3"/>
            <a:r>
              <a:rPr lang="nl-NL"/>
              <a:t>	</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37746638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31017556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_ContentPage-Simpl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D7A8FF-5576-4700-8E4E-78B34DA0BA14}"/>
              </a:ext>
            </a:extLst>
          </p:cNvPr>
          <p:cNvSpPr txBox="1"/>
          <p:nvPr userDrawn="1"/>
        </p:nvSpPr>
        <p:spPr>
          <a:xfrm>
            <a:off x="10921174" y="6363852"/>
            <a:ext cx="1182254"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cxnSp>
        <p:nvCxnSpPr>
          <p:cNvPr id="4" name="Straight Connector 3">
            <a:extLst>
              <a:ext uri="{FF2B5EF4-FFF2-40B4-BE49-F238E27FC236}">
                <a16:creationId xmlns:a16="http://schemas.microsoft.com/office/drawing/2014/main" id="{ED35927B-2CDD-149A-67CF-A3E95A499FD0}"/>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pic>
        <p:nvPicPr>
          <p:cNvPr id="13" name="Afbeelding 9">
            <a:extLst>
              <a:ext uri="{FF2B5EF4-FFF2-40B4-BE49-F238E27FC236}">
                <a16:creationId xmlns:a16="http://schemas.microsoft.com/office/drawing/2014/main" id="{B765137F-92BE-CAC7-9BB1-0EAED8F070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sp>
        <p:nvSpPr>
          <p:cNvPr id="16" name="Tijdelijke aanduiding voor inhoud 2">
            <a:extLst>
              <a:ext uri="{FF2B5EF4-FFF2-40B4-BE49-F238E27FC236}">
                <a16:creationId xmlns:a16="http://schemas.microsoft.com/office/drawing/2014/main" id="{47E1EC04-2CA4-6D3E-D3AE-CBAAD3DEA424}"/>
              </a:ext>
            </a:extLst>
          </p:cNvPr>
          <p:cNvSpPr>
            <a:spLocks noGrp="1"/>
          </p:cNvSpPr>
          <p:nvPr>
            <p:ph idx="10" hasCustomPrompt="1"/>
          </p:nvPr>
        </p:nvSpPr>
        <p:spPr>
          <a:xfrm>
            <a:off x="919845" y="4377269"/>
            <a:ext cx="3254218" cy="1986584"/>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sp>
        <p:nvSpPr>
          <p:cNvPr id="19" name="Tijdelijke aanduiding voor inhoud 2">
            <a:extLst>
              <a:ext uri="{FF2B5EF4-FFF2-40B4-BE49-F238E27FC236}">
                <a16:creationId xmlns:a16="http://schemas.microsoft.com/office/drawing/2014/main" id="{5771DA71-9147-364A-B744-030478CB95FE}"/>
              </a:ext>
            </a:extLst>
          </p:cNvPr>
          <p:cNvSpPr>
            <a:spLocks noGrp="1"/>
          </p:cNvSpPr>
          <p:nvPr>
            <p:ph idx="11" hasCustomPrompt="1"/>
          </p:nvPr>
        </p:nvSpPr>
        <p:spPr>
          <a:xfrm>
            <a:off x="7827469" y="4368800"/>
            <a:ext cx="3254218" cy="1986584"/>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sp>
        <p:nvSpPr>
          <p:cNvPr id="20" name="Tijdelijke aanduiding voor inhoud 2">
            <a:extLst>
              <a:ext uri="{FF2B5EF4-FFF2-40B4-BE49-F238E27FC236}">
                <a16:creationId xmlns:a16="http://schemas.microsoft.com/office/drawing/2014/main" id="{C4CDA7BC-97C0-ADB4-CC45-08E61EEB268E}"/>
              </a:ext>
            </a:extLst>
          </p:cNvPr>
          <p:cNvSpPr>
            <a:spLocks noGrp="1"/>
          </p:cNvSpPr>
          <p:nvPr>
            <p:ph idx="12" hasCustomPrompt="1"/>
          </p:nvPr>
        </p:nvSpPr>
        <p:spPr>
          <a:xfrm>
            <a:off x="4378515" y="4377268"/>
            <a:ext cx="3254218" cy="1986584"/>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sp>
        <p:nvSpPr>
          <p:cNvPr id="21" name="Tijdelijke aanduiding voor inhoud 2">
            <a:extLst>
              <a:ext uri="{FF2B5EF4-FFF2-40B4-BE49-F238E27FC236}">
                <a16:creationId xmlns:a16="http://schemas.microsoft.com/office/drawing/2014/main" id="{70382A54-31FD-48F3-5D44-4C99AD5B9C8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22" name="Titel 1">
            <a:extLst>
              <a:ext uri="{FF2B5EF4-FFF2-40B4-BE49-F238E27FC236}">
                <a16:creationId xmlns:a16="http://schemas.microsoft.com/office/drawing/2014/main" id="{597A4BAC-36C6-B0BD-EAA6-F4A887BA04A3}"/>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24" name="object 2">
            <a:extLst>
              <a:ext uri="{FF2B5EF4-FFF2-40B4-BE49-F238E27FC236}">
                <a16:creationId xmlns:a16="http://schemas.microsoft.com/office/drawing/2014/main" id="{273AC5AD-9A64-04BF-711D-D1DBF7E2C10C}"/>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5" name="object 2">
            <a:extLst>
              <a:ext uri="{FF2B5EF4-FFF2-40B4-BE49-F238E27FC236}">
                <a16:creationId xmlns:a16="http://schemas.microsoft.com/office/drawing/2014/main" id="{A83B9580-1B81-E4A6-EA76-E84C36BB9F97}"/>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16509066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_ContentPage-Simpl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D7A8FF-5576-4700-8E4E-78B34DA0BA14}"/>
              </a:ext>
            </a:extLst>
          </p:cNvPr>
          <p:cNvSpPr txBox="1"/>
          <p:nvPr userDrawn="1"/>
        </p:nvSpPr>
        <p:spPr>
          <a:xfrm>
            <a:off x="10921174" y="6363852"/>
            <a:ext cx="1182254"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cxnSp>
        <p:nvCxnSpPr>
          <p:cNvPr id="4" name="Straight Connector 3">
            <a:extLst>
              <a:ext uri="{FF2B5EF4-FFF2-40B4-BE49-F238E27FC236}">
                <a16:creationId xmlns:a16="http://schemas.microsoft.com/office/drawing/2014/main" id="{ED35927B-2CDD-149A-67CF-A3E95A499FD0}"/>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3" name="Tijdelijke aanduiding voor inhoud 2">
            <a:extLst>
              <a:ext uri="{FF2B5EF4-FFF2-40B4-BE49-F238E27FC236}">
                <a16:creationId xmlns:a16="http://schemas.microsoft.com/office/drawing/2014/main" id="{1A2561F8-5EA4-9F7F-6D86-B9BCCB9FD094}"/>
              </a:ext>
            </a:extLst>
          </p:cNvPr>
          <p:cNvSpPr>
            <a:spLocks noGrp="1"/>
          </p:cNvSpPr>
          <p:nvPr>
            <p:ph idx="10" hasCustomPrompt="1"/>
          </p:nvPr>
        </p:nvSpPr>
        <p:spPr>
          <a:xfrm>
            <a:off x="756555" y="2218967"/>
            <a:ext cx="3133392" cy="4196687"/>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pic>
        <p:nvPicPr>
          <p:cNvPr id="15" name="Afbeelding 9">
            <a:extLst>
              <a:ext uri="{FF2B5EF4-FFF2-40B4-BE49-F238E27FC236}">
                <a16:creationId xmlns:a16="http://schemas.microsoft.com/office/drawing/2014/main" id="{D2982903-82CD-1214-4468-992295E62FA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sp>
        <p:nvSpPr>
          <p:cNvPr id="18" name="Tijdelijke aanduiding voor inhoud 2">
            <a:extLst>
              <a:ext uri="{FF2B5EF4-FFF2-40B4-BE49-F238E27FC236}">
                <a16:creationId xmlns:a16="http://schemas.microsoft.com/office/drawing/2014/main" id="{F1BE5FF6-F4BC-7B03-1970-1AFBCBD156DC}"/>
              </a:ext>
            </a:extLst>
          </p:cNvPr>
          <p:cNvSpPr>
            <a:spLocks noGrp="1"/>
          </p:cNvSpPr>
          <p:nvPr>
            <p:ph idx="1" hasCustomPrompt="1"/>
          </p:nvPr>
        </p:nvSpPr>
        <p:spPr>
          <a:xfrm>
            <a:off x="4089399" y="2218967"/>
            <a:ext cx="7182756"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20" name="Titel 1">
            <a:extLst>
              <a:ext uri="{FF2B5EF4-FFF2-40B4-BE49-F238E27FC236}">
                <a16:creationId xmlns:a16="http://schemas.microsoft.com/office/drawing/2014/main" id="{94A05666-F05D-7446-A429-90E5C501D39E}"/>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21" name="object 2">
            <a:extLst>
              <a:ext uri="{FF2B5EF4-FFF2-40B4-BE49-F238E27FC236}">
                <a16:creationId xmlns:a16="http://schemas.microsoft.com/office/drawing/2014/main" id="{B624C766-B6F8-2B15-D9DA-AF0F4AB674F6}"/>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2" name="object 2">
            <a:extLst>
              <a:ext uri="{FF2B5EF4-FFF2-40B4-BE49-F238E27FC236}">
                <a16:creationId xmlns:a16="http://schemas.microsoft.com/office/drawing/2014/main" id="{26AB7F64-1038-F629-CADB-42710BBA3FC0}"/>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38015714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_ContentPage-Simple">
    <p:spTree>
      <p:nvGrpSpPr>
        <p:cNvPr id="1" name=""/>
        <p:cNvGrpSpPr/>
        <p:nvPr/>
      </p:nvGrpSpPr>
      <p:grpSpPr>
        <a:xfrm>
          <a:off x="0" y="0"/>
          <a:ext cx="0" cy="0"/>
          <a:chOff x="0" y="0"/>
          <a:chExt cx="0" cy="0"/>
        </a:xfrm>
      </p:grpSpPr>
      <p:pic>
        <p:nvPicPr>
          <p:cNvPr id="7" name="object 16">
            <a:extLst>
              <a:ext uri="{FF2B5EF4-FFF2-40B4-BE49-F238E27FC236}">
                <a16:creationId xmlns:a16="http://schemas.microsoft.com/office/drawing/2014/main" id="{7E332878-5E44-86D9-EC1F-71F4B32B2F00}"/>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9029" y="-79828"/>
            <a:ext cx="2770523" cy="2216948"/>
          </a:xfrm>
          <a:prstGeom prst="rect">
            <a:avLst/>
          </a:prstGeom>
        </p:spPr>
      </p:pic>
      <p:sp>
        <p:nvSpPr>
          <p:cNvPr id="20" name="object 2">
            <a:extLst>
              <a:ext uri="{FF2B5EF4-FFF2-40B4-BE49-F238E27FC236}">
                <a16:creationId xmlns:a16="http://schemas.microsoft.com/office/drawing/2014/main" id="{25F66D4E-5F42-A0FB-4EA5-96BBF1188BAD}"/>
              </a:ext>
            </a:extLst>
          </p:cNvPr>
          <p:cNvSpPr/>
          <p:nvPr userDrawn="1"/>
        </p:nvSpPr>
        <p:spPr>
          <a:xfrm>
            <a:off x="-29028" y="-79828"/>
            <a:ext cx="12453256" cy="6937827"/>
          </a:xfrm>
          <a:custGeom>
            <a:avLst/>
            <a:gdLst/>
            <a:ahLst/>
            <a:cxnLst/>
            <a:rect l="l" t="t" r="r" b="b"/>
            <a:pathLst>
              <a:path w="12134850" h="6681470">
                <a:moveTo>
                  <a:pt x="12134646" y="0"/>
                </a:moveTo>
                <a:lnTo>
                  <a:pt x="2527896" y="0"/>
                </a:lnTo>
                <a:lnTo>
                  <a:pt x="2487084" y="29083"/>
                </a:lnTo>
                <a:lnTo>
                  <a:pt x="2447387" y="59278"/>
                </a:lnTo>
                <a:lnTo>
                  <a:pt x="2408744" y="90527"/>
                </a:lnTo>
                <a:lnTo>
                  <a:pt x="2371096" y="122768"/>
                </a:lnTo>
                <a:lnTo>
                  <a:pt x="2334380" y="155946"/>
                </a:lnTo>
                <a:lnTo>
                  <a:pt x="2298536" y="189999"/>
                </a:lnTo>
                <a:lnTo>
                  <a:pt x="2263502" y="224870"/>
                </a:lnTo>
                <a:lnTo>
                  <a:pt x="2229218" y="260499"/>
                </a:lnTo>
                <a:lnTo>
                  <a:pt x="2195622" y="296828"/>
                </a:lnTo>
                <a:lnTo>
                  <a:pt x="2162654" y="333799"/>
                </a:lnTo>
                <a:lnTo>
                  <a:pt x="2130253" y="371351"/>
                </a:lnTo>
                <a:lnTo>
                  <a:pt x="2098357" y="409427"/>
                </a:lnTo>
                <a:lnTo>
                  <a:pt x="2066906" y="447967"/>
                </a:lnTo>
                <a:lnTo>
                  <a:pt x="2035838" y="486913"/>
                </a:lnTo>
                <a:lnTo>
                  <a:pt x="2005092" y="526206"/>
                </a:lnTo>
                <a:lnTo>
                  <a:pt x="1974608" y="565787"/>
                </a:lnTo>
                <a:lnTo>
                  <a:pt x="1914180" y="645578"/>
                </a:lnTo>
                <a:lnTo>
                  <a:pt x="1793777" y="806029"/>
                </a:lnTo>
                <a:lnTo>
                  <a:pt x="1763415" y="845980"/>
                </a:lnTo>
                <a:lnTo>
                  <a:pt x="1706368" y="920161"/>
                </a:lnTo>
                <a:lnTo>
                  <a:pt x="1654453" y="988919"/>
                </a:lnTo>
                <a:lnTo>
                  <a:pt x="1527585" y="1159060"/>
                </a:lnTo>
                <a:lnTo>
                  <a:pt x="1502213" y="1192554"/>
                </a:lnTo>
                <a:lnTo>
                  <a:pt x="1476695" y="1225802"/>
                </a:lnTo>
                <a:lnTo>
                  <a:pt x="1450969" y="1258775"/>
                </a:lnTo>
                <a:lnTo>
                  <a:pt x="1424972" y="1291443"/>
                </a:lnTo>
                <a:lnTo>
                  <a:pt x="1398643" y="1323778"/>
                </a:lnTo>
                <a:lnTo>
                  <a:pt x="1371918" y="1355750"/>
                </a:lnTo>
                <a:lnTo>
                  <a:pt x="1344736" y="1387331"/>
                </a:lnTo>
                <a:lnTo>
                  <a:pt x="1317034" y="1418490"/>
                </a:lnTo>
                <a:lnTo>
                  <a:pt x="1288748" y="1449199"/>
                </a:lnTo>
                <a:lnTo>
                  <a:pt x="1259818" y="1479429"/>
                </a:lnTo>
                <a:lnTo>
                  <a:pt x="1230180" y="1509150"/>
                </a:lnTo>
                <a:lnTo>
                  <a:pt x="1199772" y="1538333"/>
                </a:lnTo>
                <a:lnTo>
                  <a:pt x="1168531" y="1566950"/>
                </a:lnTo>
                <a:lnTo>
                  <a:pt x="1136396" y="1594970"/>
                </a:lnTo>
                <a:lnTo>
                  <a:pt x="1103303" y="1622366"/>
                </a:lnTo>
                <a:lnTo>
                  <a:pt x="1069190" y="1649107"/>
                </a:lnTo>
                <a:lnTo>
                  <a:pt x="1033994" y="1675165"/>
                </a:lnTo>
                <a:lnTo>
                  <a:pt x="997654" y="1700510"/>
                </a:lnTo>
                <a:lnTo>
                  <a:pt x="960106" y="1725113"/>
                </a:lnTo>
                <a:lnTo>
                  <a:pt x="921289" y="1748945"/>
                </a:lnTo>
                <a:lnTo>
                  <a:pt x="881139" y="1771977"/>
                </a:lnTo>
                <a:lnTo>
                  <a:pt x="839595" y="1794179"/>
                </a:lnTo>
                <a:lnTo>
                  <a:pt x="796594" y="1815523"/>
                </a:lnTo>
                <a:lnTo>
                  <a:pt x="752072" y="1835980"/>
                </a:lnTo>
                <a:lnTo>
                  <a:pt x="705969" y="1855520"/>
                </a:lnTo>
                <a:lnTo>
                  <a:pt x="658221" y="1874113"/>
                </a:lnTo>
                <a:lnTo>
                  <a:pt x="608767" y="1891732"/>
                </a:lnTo>
                <a:lnTo>
                  <a:pt x="557542" y="1908346"/>
                </a:lnTo>
                <a:lnTo>
                  <a:pt x="504486" y="1923927"/>
                </a:lnTo>
                <a:lnTo>
                  <a:pt x="449536" y="1938445"/>
                </a:lnTo>
                <a:lnTo>
                  <a:pt x="392628" y="1951872"/>
                </a:lnTo>
                <a:lnTo>
                  <a:pt x="333701" y="1964177"/>
                </a:lnTo>
                <a:lnTo>
                  <a:pt x="272693" y="1975332"/>
                </a:lnTo>
                <a:lnTo>
                  <a:pt x="209540" y="1985309"/>
                </a:lnTo>
                <a:lnTo>
                  <a:pt x="144180" y="1994076"/>
                </a:lnTo>
                <a:lnTo>
                  <a:pt x="76551" y="2001606"/>
                </a:lnTo>
                <a:lnTo>
                  <a:pt x="6591" y="2007870"/>
                </a:lnTo>
                <a:lnTo>
                  <a:pt x="0" y="2007870"/>
                </a:lnTo>
                <a:lnTo>
                  <a:pt x="0" y="6680860"/>
                </a:lnTo>
                <a:lnTo>
                  <a:pt x="12134646" y="6680860"/>
                </a:lnTo>
                <a:lnTo>
                  <a:pt x="12134646" y="0"/>
                </a:lnTo>
                <a:close/>
              </a:path>
            </a:pathLst>
          </a:custGeom>
          <a:solidFill>
            <a:schemeClr val="bg1"/>
          </a:solidFill>
        </p:spPr>
        <p:txBody>
          <a:bodyPr wrap="square" lIns="0" tIns="0" rIns="0" bIns="0" rtlCol="0"/>
          <a:lstStyle/>
          <a:p>
            <a:endParaRPr/>
          </a:p>
        </p:txBody>
      </p:sp>
      <p:sp>
        <p:nvSpPr>
          <p:cNvPr id="9" name="Titel 1">
            <a:extLst>
              <a:ext uri="{FF2B5EF4-FFF2-40B4-BE49-F238E27FC236}">
                <a16:creationId xmlns:a16="http://schemas.microsoft.com/office/drawing/2014/main" id="{DC0F8866-52FC-8D00-548F-06A6C3C72580}"/>
              </a:ext>
            </a:extLst>
          </p:cNvPr>
          <p:cNvSpPr>
            <a:spLocks noGrp="1"/>
          </p:cNvSpPr>
          <p:nvPr>
            <p:ph type="title"/>
          </p:nvPr>
        </p:nvSpPr>
        <p:spPr>
          <a:xfrm>
            <a:off x="2152733"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0" name="TextBox 9">
            <a:extLst>
              <a:ext uri="{FF2B5EF4-FFF2-40B4-BE49-F238E27FC236}">
                <a16:creationId xmlns:a16="http://schemas.microsoft.com/office/drawing/2014/main" id="{1328CA91-A3DB-33CC-D3E5-1C0AC867218B}"/>
              </a:ext>
            </a:extLst>
          </p:cNvPr>
          <p:cNvSpPr txBox="1"/>
          <p:nvPr userDrawn="1"/>
        </p:nvSpPr>
        <p:spPr>
          <a:xfrm>
            <a:off x="10921174" y="6363852"/>
            <a:ext cx="1182254"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cxnSp>
        <p:nvCxnSpPr>
          <p:cNvPr id="11" name="Straight Connector 10">
            <a:extLst>
              <a:ext uri="{FF2B5EF4-FFF2-40B4-BE49-F238E27FC236}">
                <a16:creationId xmlns:a16="http://schemas.microsoft.com/office/drawing/2014/main" id="{6A61C723-F0CA-A753-38DE-99307249D89E}"/>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pic>
        <p:nvPicPr>
          <p:cNvPr id="14" name="Afbeelding 9">
            <a:extLst>
              <a:ext uri="{FF2B5EF4-FFF2-40B4-BE49-F238E27FC236}">
                <a16:creationId xmlns:a16="http://schemas.microsoft.com/office/drawing/2014/main" id="{738C446F-A8C3-AEA3-FD0D-827420965CD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sp>
        <p:nvSpPr>
          <p:cNvPr id="16" name="Tijdelijke aanduiding voor inhoud 2">
            <a:extLst>
              <a:ext uri="{FF2B5EF4-FFF2-40B4-BE49-F238E27FC236}">
                <a16:creationId xmlns:a16="http://schemas.microsoft.com/office/drawing/2014/main" id="{F1F4D372-27D3-4058-636A-3BA4E4511D29}"/>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Tree>
    <p:extLst>
      <p:ext uri="{BB962C8B-B14F-4D97-AF65-F5344CB8AC3E}">
        <p14:creationId xmlns:p14="http://schemas.microsoft.com/office/powerpoint/2010/main" val="15112927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12955418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95796954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8041974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06324940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3809881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8962668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697501499"/>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5466125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4571136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7986864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0480712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37979943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3510385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4758590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58620778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07584550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9663590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400759056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03114958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11456517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48118240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5845" y="294527"/>
            <a:ext cx="10693400" cy="962025"/>
          </a:xfrm>
        </p:spPr>
        <p:txBody>
          <a:bodyPr/>
          <a:lstStyle>
            <a:lvl1pPr>
              <a:defRPr sz="4000">
                <a:latin typeface="Century Gothic" panose="020B0502020202020204" pitchFamily="34" charset="0"/>
              </a:defRPr>
            </a:lvl1pPr>
          </a:lstStyle>
          <a:p>
            <a:r>
              <a:rPr lang="en-US"/>
              <a:t>CLICK TO EDIT MASTER TITLE STYLE</a:t>
            </a:r>
            <a:endParaRPr lang="en-IE"/>
          </a:p>
        </p:txBody>
      </p:sp>
      <p:sp>
        <p:nvSpPr>
          <p:cNvPr id="3" name="Slide Number Placeholder 2"/>
          <p:cNvSpPr>
            <a:spLocks noGrp="1"/>
          </p:cNvSpPr>
          <p:nvPr>
            <p:ph type="sldNum" sz="quarter" idx="10"/>
          </p:nvPr>
        </p:nvSpPr>
        <p:spPr/>
        <p:txBody>
          <a:bodyPr/>
          <a:lstStyle/>
          <a:p>
            <a:fld id="{D4E6D71C-ACD7-49D2-9689-F9C4024FAC38}" type="slidenum">
              <a:rPr lang="en-IE" smtClean="0"/>
              <a:pPr/>
              <a:t>‹#›</a:t>
            </a:fld>
            <a:endParaRPr lang="en-IE"/>
          </a:p>
        </p:txBody>
      </p:sp>
      <p:sp>
        <p:nvSpPr>
          <p:cNvPr id="10" name="Content Placeholder 10"/>
          <p:cNvSpPr>
            <a:spLocks noGrp="1"/>
          </p:cNvSpPr>
          <p:nvPr>
            <p:ph sz="quarter" idx="14" hasCustomPrompt="1"/>
          </p:nvPr>
        </p:nvSpPr>
        <p:spPr>
          <a:xfrm>
            <a:off x="520257" y="2436813"/>
            <a:ext cx="3158762" cy="2847975"/>
          </a:xfrm>
          <a:solidFill>
            <a:srgbClr val="BF560F"/>
          </a:solidFill>
        </p:spPr>
        <p:txBody>
          <a:bodyPr lIns="216000" tIns="252000" rIns="216000" anchor="t" anchorCtr="1"/>
          <a:lstStyle>
            <a:lvl3pPr marL="0">
              <a:spcBef>
                <a:spcPts val="0"/>
              </a:spcBef>
              <a:defRPr b="1">
                <a:solidFill>
                  <a:schemeClr val="bg1"/>
                </a:solidFill>
              </a:defRPr>
            </a:lvl3pPr>
          </a:lstStyle>
          <a:p>
            <a:pPr lvl="2"/>
            <a:r>
              <a:rPr lang="en-US"/>
              <a:t>Third level</a:t>
            </a:r>
          </a:p>
        </p:txBody>
      </p:sp>
      <p:sp>
        <p:nvSpPr>
          <p:cNvPr id="14" name="Content Placeholder 10"/>
          <p:cNvSpPr>
            <a:spLocks noGrp="1"/>
          </p:cNvSpPr>
          <p:nvPr>
            <p:ph sz="quarter" idx="15" hasCustomPrompt="1"/>
          </p:nvPr>
        </p:nvSpPr>
        <p:spPr>
          <a:xfrm>
            <a:off x="4485743" y="2436813"/>
            <a:ext cx="3158762" cy="2847975"/>
          </a:xfrm>
          <a:solidFill>
            <a:srgbClr val="D68008"/>
          </a:solidFill>
        </p:spPr>
        <p:txBody>
          <a:bodyPr lIns="216000" tIns="252000" rIns="216000" anchor="t" anchorCtr="1"/>
          <a:lstStyle>
            <a:lvl3pPr marL="0">
              <a:spcBef>
                <a:spcPts val="0"/>
              </a:spcBef>
              <a:defRPr b="1">
                <a:solidFill>
                  <a:schemeClr val="bg1"/>
                </a:solidFill>
              </a:defRPr>
            </a:lvl3pPr>
          </a:lstStyle>
          <a:p>
            <a:pPr lvl="2"/>
            <a:r>
              <a:rPr lang="en-US"/>
              <a:t>Third level</a:t>
            </a:r>
          </a:p>
        </p:txBody>
      </p:sp>
      <p:sp>
        <p:nvSpPr>
          <p:cNvPr id="15" name="Content Placeholder 10"/>
          <p:cNvSpPr>
            <a:spLocks noGrp="1"/>
          </p:cNvSpPr>
          <p:nvPr>
            <p:ph sz="quarter" idx="16" hasCustomPrompt="1"/>
          </p:nvPr>
        </p:nvSpPr>
        <p:spPr>
          <a:xfrm>
            <a:off x="8484265" y="2436813"/>
            <a:ext cx="3158762" cy="2847975"/>
          </a:xfrm>
          <a:solidFill>
            <a:srgbClr val="F7A431"/>
          </a:solidFill>
        </p:spPr>
        <p:txBody>
          <a:bodyPr lIns="216000" tIns="252000" rIns="216000" anchor="t" anchorCtr="1"/>
          <a:lstStyle>
            <a:lvl3pPr marL="0">
              <a:spcBef>
                <a:spcPts val="0"/>
              </a:spcBef>
              <a:defRPr b="1"/>
            </a:lvl3pPr>
          </a:lstStyle>
          <a:p>
            <a:pPr lvl="2"/>
            <a:r>
              <a:rPr lang="en-US"/>
              <a:t>Third level</a:t>
            </a:r>
          </a:p>
        </p:txBody>
      </p:sp>
    </p:spTree>
    <p:extLst>
      <p:ext uri="{BB962C8B-B14F-4D97-AF65-F5344CB8AC3E}">
        <p14:creationId xmlns:p14="http://schemas.microsoft.com/office/powerpoint/2010/main" val="32679795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4.02.202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4897503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latin typeface="Calibri" panose="020F0502020204030204" pitchFamily="34" charset="0"/>
              <a:cs typeface="Calibri" panose="020F0502020204030204" pitchFamily="34" charset="0"/>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67154974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1673721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89625799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spTree>
    <p:extLst>
      <p:ext uri="{BB962C8B-B14F-4D97-AF65-F5344CB8AC3E}">
        <p14:creationId xmlns:p14="http://schemas.microsoft.com/office/powerpoint/2010/main" val="51964754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67660193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94330711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18913361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1630213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8124695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2987431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51242758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63255936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image" Target="../media/image1.png"/><Relationship Id="rId2" Type="http://schemas.openxmlformats.org/officeDocument/2006/relationships/slideLayout" Target="../slideLayouts/slideLayout149.xml"/><Relationship Id="rId16" Type="http://schemas.openxmlformats.org/officeDocument/2006/relationships/theme" Target="../theme/theme10.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slideLayout" Target="../slideLayouts/slideLayout188.xml"/><Relationship Id="rId39" Type="http://schemas.openxmlformats.org/officeDocument/2006/relationships/slideLayout" Target="../slideLayouts/slideLayout201.xml"/><Relationship Id="rId21" Type="http://schemas.openxmlformats.org/officeDocument/2006/relationships/slideLayout" Target="../slideLayouts/slideLayout183.xml"/><Relationship Id="rId34" Type="http://schemas.openxmlformats.org/officeDocument/2006/relationships/slideLayout" Target="../slideLayouts/slideLayout196.xml"/><Relationship Id="rId42" Type="http://schemas.openxmlformats.org/officeDocument/2006/relationships/theme" Target="../theme/theme11.xml"/><Relationship Id="rId7" Type="http://schemas.openxmlformats.org/officeDocument/2006/relationships/slideLayout" Target="../slideLayouts/slideLayout16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29" Type="http://schemas.openxmlformats.org/officeDocument/2006/relationships/slideLayout" Target="../slideLayouts/slideLayout191.xml"/><Relationship Id="rId41" Type="http://schemas.openxmlformats.org/officeDocument/2006/relationships/slideLayout" Target="../slideLayouts/slideLayout203.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32" Type="http://schemas.openxmlformats.org/officeDocument/2006/relationships/slideLayout" Target="../slideLayouts/slideLayout194.xml"/><Relationship Id="rId37" Type="http://schemas.openxmlformats.org/officeDocument/2006/relationships/slideLayout" Target="../slideLayouts/slideLayout199.xml"/><Relationship Id="rId40" Type="http://schemas.openxmlformats.org/officeDocument/2006/relationships/slideLayout" Target="../slideLayouts/slideLayout202.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36" Type="http://schemas.openxmlformats.org/officeDocument/2006/relationships/slideLayout" Target="../slideLayouts/slideLayout198.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31" Type="http://schemas.openxmlformats.org/officeDocument/2006/relationships/slideLayout" Target="../slideLayouts/slideLayout193.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slideLayout" Target="../slideLayouts/slideLayout192.xml"/><Relationship Id="rId35" Type="http://schemas.openxmlformats.org/officeDocument/2006/relationships/slideLayout" Target="../slideLayouts/slideLayout197.xml"/><Relationship Id="rId43" Type="http://schemas.openxmlformats.org/officeDocument/2006/relationships/image" Target="../media/image1.png"/><Relationship Id="rId8" Type="http://schemas.openxmlformats.org/officeDocument/2006/relationships/slideLayout" Target="../slideLayouts/slideLayout170.xml"/><Relationship Id="rId3" Type="http://schemas.openxmlformats.org/officeDocument/2006/relationships/slideLayout" Target="../slideLayouts/slideLayout165.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33" Type="http://schemas.openxmlformats.org/officeDocument/2006/relationships/slideLayout" Target="../slideLayouts/slideLayout195.xml"/><Relationship Id="rId38" Type="http://schemas.openxmlformats.org/officeDocument/2006/relationships/slideLayout" Target="../slideLayouts/slideLayout20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2.xml"/><Relationship Id="rId1" Type="http://schemas.openxmlformats.org/officeDocument/2006/relationships/slideLayout" Target="../slideLayouts/slideLayout30.xml"/><Relationship Id="rId4" Type="http://schemas.openxmlformats.org/officeDocument/2006/relationships/image" Target="../media/image9.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oleObject" Target="../embeddings/oleObject1.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10.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5.xml"/><Relationship Id="rId3" Type="http://schemas.openxmlformats.org/officeDocument/2006/relationships/slideLayout" Target="../slideLayouts/slideLayout53.xml"/><Relationship Id="rId21" Type="http://schemas.openxmlformats.org/officeDocument/2006/relationships/image" Target="../media/image11.emf"/><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oleObject" Target="../embeddings/oleObject2.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tags" Target="../tags/tag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4.jpeg"/><Relationship Id="rId2" Type="http://schemas.openxmlformats.org/officeDocument/2006/relationships/theme" Target="../theme/theme6.xml"/><Relationship Id="rId1" Type="http://schemas.openxmlformats.org/officeDocument/2006/relationships/slideLayout" Target="../slideLayouts/slideLayout68.xml"/><Relationship Id="rId6" Type="http://schemas.openxmlformats.org/officeDocument/2006/relationships/image" Target="../media/image23.jpeg"/><Relationship Id="rId5" Type="http://schemas.openxmlformats.org/officeDocument/2006/relationships/image" Target="../media/image22.emf"/><Relationship Id="rId4" Type="http://schemas.openxmlformats.org/officeDocument/2006/relationships/oleObject" Target="../embeddings/oleObject3.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theme" Target="../theme/theme7.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image" Target="../media/image1.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25.emf"/><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oleObject" Target="../embeddings/oleObject4.bin"/><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tags" Target="../tags/tag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theme" Target="../theme/theme8.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41" Type="http://schemas.openxmlformats.org/officeDocument/2006/relationships/slideLayout" Target="../slideLayouts/slideLayout129.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image" Target="../media/image1.png"/><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image" Target="../media/image1.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10" Type="http://schemas.openxmlformats.org/officeDocument/2006/relationships/slideLayout" Target="../slideLayouts/slideLayout139.xml"/><Relationship Id="rId19" Type="http://schemas.openxmlformats.org/officeDocument/2006/relationships/theme" Target="../theme/theme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413606912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4175" r:id="rId19"/>
    <p:sldLayoutId id="2147483688" r:id="rId20"/>
    <p:sldLayoutId id="2147483689" r:id="rId21"/>
    <p:sldLayoutId id="2147483690" r:id="rId22"/>
    <p:sldLayoutId id="2147483691" r:id="rId23"/>
    <p:sldLayoutId id="2147483692" r:id="rId24"/>
    <p:sldLayoutId id="2147484178" r:id="rId25"/>
    <p:sldLayoutId id="2147484179" r:id="rId26"/>
    <p:sldLayoutId id="2147484180" r:id="rId27"/>
    <p:sldLayoutId id="2147484181" r:id="rId28"/>
    <p:sldLayoutId id="2147484182" r:id="rId29"/>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2890237349"/>
      </p:ext>
    </p:extLst>
  </p:cSld>
  <p:clrMap bg1="lt1" tx1="dk1" bg2="lt2" tx2="dk2" accent1="accent1" accent2="accent2" accent3="accent3" accent4="accent4" accent5="accent5" accent6="accent6" hlink="hlink" folHlink="folHlink"/>
  <p:sldLayoutIdLst>
    <p:sldLayoutId id="2147484574" r:id="rId1"/>
    <p:sldLayoutId id="2147484575" r:id="rId2"/>
    <p:sldLayoutId id="2147484576" r:id="rId3"/>
    <p:sldLayoutId id="2147484577" r:id="rId4"/>
    <p:sldLayoutId id="2147484578" r:id="rId5"/>
    <p:sldLayoutId id="2147484579" r:id="rId6"/>
    <p:sldLayoutId id="2147484580" r:id="rId7"/>
    <p:sldLayoutId id="2147484581" r:id="rId8"/>
    <p:sldLayoutId id="2147484582" r:id="rId9"/>
    <p:sldLayoutId id="2147484583" r:id="rId10"/>
    <p:sldLayoutId id="2147484584" r:id="rId11"/>
    <p:sldLayoutId id="2147484585" r:id="rId12"/>
    <p:sldLayoutId id="2147484586" r:id="rId13"/>
    <p:sldLayoutId id="2147484587" r:id="rId14"/>
    <p:sldLayoutId id="2147484588" r:id="rId15"/>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a:off x="10205987" y="6160129"/>
            <a:ext cx="1349493" cy="365125"/>
          </a:xfrm>
          <a:prstGeom prst="rect">
            <a:avLst/>
          </a:prstGeom>
          <a:solidFill>
            <a:schemeClr val="bg1"/>
          </a:solidFill>
          <a:ln w="76200">
            <a:solidFill>
              <a:schemeClr val="bg1"/>
            </a:solidFill>
            <a:miter lim="800000"/>
          </a:ln>
        </p:spPr>
      </p:pic>
    </p:spTree>
    <p:extLst>
      <p:ext uri="{BB962C8B-B14F-4D97-AF65-F5344CB8AC3E}">
        <p14:creationId xmlns:p14="http://schemas.microsoft.com/office/powerpoint/2010/main" val="2222288629"/>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312" r:id="rId36"/>
    <p:sldLayoutId id="2147484022" r:id="rId37"/>
    <p:sldLayoutId id="2147484024" r:id="rId38"/>
    <p:sldLayoutId id="2147484028" r:id="rId39"/>
    <p:sldLayoutId id="2147484029" r:id="rId40"/>
    <p:sldLayoutId id="2147484030" r:id="rId4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3">
            <a:extLst>
              <a:ext uri="{28A0092B-C50C-407E-A947-70E740481C1C}">
                <a14:useLocalDpi xmlns:a14="http://schemas.microsoft.com/office/drawing/2010/main" val="0"/>
              </a:ext>
            </a:extLst>
          </a:blip>
          <a:srcRect l="-9" t="31140" r="9" b="22753"/>
          <a:stretch/>
        </p:blipFill>
        <p:spPr>
          <a:xfrm>
            <a:off x="479998" y="1956414"/>
            <a:ext cx="11712001" cy="3600000"/>
          </a:xfrm>
          <a:prstGeom prst="rect">
            <a:avLst/>
          </a:prstGeom>
        </p:spPr>
      </p:pic>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1946572389"/>
      </p:ext>
    </p:extLst>
  </p:cSld>
  <p:clrMap bg1="lt1" tx1="dk1" bg2="lt2" tx2="dk2" accent1="accent1" accent2="accent2" accent3="accent3" accent4="accent4" accent5="accent5" accent6="accent6" hlink="hlink" folHlink="folHlink"/>
  <p:sldLayoutIdLst>
    <p:sldLayoutId id="214748373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B7F1BBD-0878-489F-A742-2E14AF8AFC43}"/>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473" imgH="476" progId="TCLayout.ActiveDocument.1">
                  <p:embed/>
                </p:oleObj>
              </mc:Choice>
              <mc:Fallback>
                <p:oleObj name="think-cell Folie" r:id="rId21" imgW="473" imgH="476" progId="TCLayout.ActiveDocument.1">
                  <p:embed/>
                  <p:pic>
                    <p:nvPicPr>
                      <p:cNvPr id="2" name="Objekt 1" hidden="1">
                        <a:extLst>
                          <a:ext uri="{FF2B5EF4-FFF2-40B4-BE49-F238E27FC236}">
                            <a16:creationId xmlns:a16="http://schemas.microsoft.com/office/drawing/2014/main" id="{BB7F1BBD-0878-489F-A742-2E14AF8AFC4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723213979"/>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tex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level</a:t>
            </a:r>
            <a:endParaRPr lang="de-DE"/>
          </a:p>
          <a:p>
            <a:pPr lvl="4"/>
            <a:r>
              <a:rPr lang="de-DE" err="1"/>
              <a:t>Fifth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3326782068"/>
      </p:ext>
    </p:extLst>
  </p:cSld>
  <p:clrMap bg1="lt1" tx1="dk1" bg2="lt2" tx2="dk2" accent1="accent1" accent2="accent2" accent3="accent3" accent4="accent4" accent5="accent5" accent6="accent6" hlink="hlink" folHlink="folHlink"/>
  <p:sldLayoutIdLst>
    <p:sldLayoutId id="2147483797" r:id="rId1"/>
    <p:sldLayoutId id="2147483798" r:id="rId2"/>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5177C71-E892-E60F-CBA7-832B27277DD4}"/>
              </a:ext>
            </a:extLst>
          </p:cNvPr>
          <p:cNvGraphicFramePr>
            <a:graphicFrameLocks noChangeAspect="1"/>
          </p:cNvGraphicFramePr>
          <p:nvPr userDrawn="1">
            <p:custDataLst>
              <p:tags r:id="rId19"/>
            </p:custDataLst>
            <p:extLst>
              <p:ext uri="{D42A27DB-BD31-4B8C-83A1-F6EECF244321}">
                <p14:modId xmlns:p14="http://schemas.microsoft.com/office/powerpoint/2010/main" val="3724615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0" imgW="359" imgH="360" progId="TCLayout.ActiveDocument.1">
                  <p:embed/>
                </p:oleObj>
              </mc:Choice>
              <mc:Fallback>
                <p:oleObj name="think-cell Folie" r:id="rId20" imgW="359" imgH="360" progId="TCLayout.ActiveDocument.1">
                  <p:embed/>
                  <p:pic>
                    <p:nvPicPr>
                      <p:cNvPr id="3" name="think-cell data - do not delete" hidden="1">
                        <a:extLst>
                          <a:ext uri="{FF2B5EF4-FFF2-40B4-BE49-F238E27FC236}">
                            <a16:creationId xmlns:a16="http://schemas.microsoft.com/office/drawing/2014/main" id="{05177C71-E892-E60F-CBA7-832B27277DD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67262218"/>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 id="2147484219" r:id="rId12"/>
    <p:sldLayoutId id="2147484220" r:id="rId13"/>
    <p:sldLayoutId id="2147484221" r:id="rId14"/>
    <p:sldLayoutId id="2147484222" r:id="rId15"/>
    <p:sldLayoutId id="2147484223" r:id="rId16"/>
    <p:sldLayoutId id="214748422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94629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4" imgH="345" progId="TCLayout.ActiveDocument.1">
                  <p:embed/>
                </p:oleObj>
              </mc:Choice>
              <mc:Fallback>
                <p:oleObj name="Diapositive think-cell" r:id="rId4" imgW="344" imgH="345"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0000" y="1944000"/>
            <a:ext cx="11712000" cy="3600000"/>
          </a:xfrm>
          <a:prstGeom prst="rect">
            <a:avLst/>
          </a:prstGeom>
        </p:spPr>
      </p:pic>
      <p:sp>
        <p:nvSpPr>
          <p:cNvPr id="4" name="Textplatzhalter 2"/>
          <p:cNvSpPr>
            <a:spLocks noGrp="1"/>
          </p:cNvSpPr>
          <p:nvPr>
            <p:ph type="body" idx="1"/>
          </p:nvPr>
        </p:nvSpPr>
        <p:spPr>
          <a:xfrm>
            <a:off x="479999" y="476672"/>
            <a:ext cx="10154344"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490232453"/>
      </p:ext>
    </p:extLst>
  </p:cSld>
  <p:clrMap bg1="lt1" tx1="dk1" bg2="lt2" tx2="dk2" accent1="accent1" accent2="accent2" accent3="accent3" accent4="accent4" accent5="accent5" accent6="accent6" hlink="hlink" folHlink="folHlink"/>
  <p:sldLayoutIdLst>
    <p:sldLayoutId id="214748422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chemeClr val="accent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F35D93-59A4-A01B-268F-42C35B5C95BE}"/>
              </a:ext>
            </a:extLst>
          </p:cNvPr>
          <p:cNvGraphicFramePr>
            <a:graphicFrameLocks noChangeAspect="1"/>
          </p:cNvGraphicFramePr>
          <p:nvPr userDrawn="1">
            <p:custDataLst>
              <p:tags r:id="rId22"/>
            </p:custDataLst>
            <p:extLst>
              <p:ext uri="{D42A27DB-BD31-4B8C-83A1-F6EECF244321}">
                <p14:modId xmlns:p14="http://schemas.microsoft.com/office/powerpoint/2010/main" val="388594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3" imgW="411" imgH="411" progId="TCLayout.ActiveDocument.1">
                  <p:embed/>
                </p:oleObj>
              </mc:Choice>
              <mc:Fallback>
                <p:oleObj name="Diapositive think-cell" r:id="rId23" imgW="411" imgH="411" progId="TCLayout.ActiveDocument.1">
                  <p:embed/>
                  <p:pic>
                    <p:nvPicPr>
                      <p:cNvPr id="2" name="think-cell data - do not delete" hidden="1">
                        <a:extLst>
                          <a:ext uri="{FF2B5EF4-FFF2-40B4-BE49-F238E27FC236}">
                            <a16:creationId xmlns:a16="http://schemas.microsoft.com/office/drawing/2014/main" id="{84F35D93-59A4-A01B-268F-42C35B5C95BE}"/>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034145970"/>
      </p:ext>
    </p:extLst>
  </p:cSld>
  <p:clrMap bg1="lt1" tx1="dk1" bg2="lt2" tx2="dk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1" r:id="rId14"/>
    <p:sldLayoutId id="2147484242" r:id="rId15"/>
    <p:sldLayoutId id="2147484243" r:id="rId16"/>
    <p:sldLayoutId id="2147484244" r:id="rId17"/>
    <p:sldLayoutId id="2147484245" r:id="rId18"/>
    <p:sldLayoutId id="2147484246" r:id="rId19"/>
    <p:sldLayoutId id="2147484248" r:id="rId20"/>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a:off x="11025052" y="6517721"/>
            <a:ext cx="626223" cy="169434"/>
          </a:xfrm>
          <a:prstGeom prst="rect">
            <a:avLst/>
          </a:prstGeom>
          <a:solidFill>
            <a:schemeClr val="bg1"/>
          </a:solidFill>
          <a:ln w="76200">
            <a:solidFill>
              <a:schemeClr val="bg1"/>
            </a:solidFill>
            <a:miter lim="800000"/>
          </a:ln>
        </p:spPr>
      </p:pic>
    </p:spTree>
    <p:extLst>
      <p:ext uri="{BB962C8B-B14F-4D97-AF65-F5344CB8AC3E}">
        <p14:creationId xmlns:p14="http://schemas.microsoft.com/office/powerpoint/2010/main" val="3299027052"/>
      </p:ext>
    </p:extLst>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 id="2147484256" r:id="rId7"/>
    <p:sldLayoutId id="2147484257" r:id="rId8"/>
    <p:sldLayoutId id="2147484258" r:id="rId9"/>
    <p:sldLayoutId id="2147484259" r:id="rId10"/>
    <p:sldLayoutId id="2147484260" r:id="rId11"/>
    <p:sldLayoutId id="2147484261" r:id="rId12"/>
    <p:sldLayoutId id="2147484262" r:id="rId13"/>
    <p:sldLayoutId id="2147484263" r:id="rId14"/>
    <p:sldLayoutId id="2147484264" r:id="rId15"/>
    <p:sldLayoutId id="2147484265" r:id="rId16"/>
    <p:sldLayoutId id="2147484266" r:id="rId17"/>
    <p:sldLayoutId id="2147484267" r:id="rId18"/>
    <p:sldLayoutId id="2147484268" r:id="rId19"/>
    <p:sldLayoutId id="2147484269" r:id="rId20"/>
    <p:sldLayoutId id="2147484270" r:id="rId21"/>
    <p:sldLayoutId id="2147484271" r:id="rId22"/>
    <p:sldLayoutId id="2147484272" r:id="rId23"/>
    <p:sldLayoutId id="2147484273" r:id="rId24"/>
    <p:sldLayoutId id="2147484274" r:id="rId25"/>
    <p:sldLayoutId id="2147484275" r:id="rId26"/>
    <p:sldLayoutId id="2147484276" r:id="rId27"/>
    <p:sldLayoutId id="2147484277" r:id="rId28"/>
    <p:sldLayoutId id="2147484278" r:id="rId29"/>
    <p:sldLayoutId id="2147484279" r:id="rId30"/>
    <p:sldLayoutId id="2147484280" r:id="rId31"/>
    <p:sldLayoutId id="2147484281" r:id="rId32"/>
    <p:sldLayoutId id="2147484282" r:id="rId33"/>
    <p:sldLayoutId id="2147484283" r:id="rId34"/>
    <p:sldLayoutId id="2147484284" r:id="rId35"/>
    <p:sldLayoutId id="2147484285" r:id="rId36"/>
    <p:sldLayoutId id="2147484286" r:id="rId37"/>
    <p:sldLayoutId id="2147484287" r:id="rId38"/>
    <p:sldLayoutId id="2147484288" r:id="rId39"/>
    <p:sldLayoutId id="2147484289" r:id="rId40"/>
    <p:sldLayoutId id="2147484290" r:id="rId4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59032727"/>
      </p:ext>
    </p:extLst>
  </p:cSld>
  <p:clrMap bg1="lt1" tx1="dk1" bg2="lt2" tx2="dk2" accent1="accent1" accent2="accent2" accent3="accent3" accent4="accent4" accent5="accent5" accent6="accent6" hlink="hlink" folHlink="folHlink"/>
  <p:sldLayoutIdLst>
    <p:sldLayoutId id="2147483848" r:id="rId1"/>
    <p:sldLayoutId id="2147483776" r:id="rId2"/>
    <p:sldLayoutId id="2147483849" r:id="rId3"/>
    <p:sldLayoutId id="2147483850" r:id="rId4"/>
    <p:sldLayoutId id="2147483851" r:id="rId5"/>
    <p:sldLayoutId id="2147483742" r:id="rId6"/>
    <p:sldLayoutId id="2147484598" r:id="rId7"/>
    <p:sldLayoutId id="2147484599" r:id="rId8"/>
    <p:sldLayoutId id="2147484600" r:id="rId9"/>
    <p:sldLayoutId id="2147484601" r:id="rId10"/>
    <p:sldLayoutId id="2147483805" r:id="rId11"/>
    <p:sldLayoutId id="2147483806" r:id="rId12"/>
    <p:sldLayoutId id="2147483807" r:id="rId13"/>
    <p:sldLayoutId id="2147484602" r:id="rId14"/>
    <p:sldLayoutId id="2147483852" r:id="rId15"/>
    <p:sldLayoutId id="2147484603" r:id="rId16"/>
    <p:sldLayoutId id="2147483771" r:id="rId17"/>
    <p:sldLayoutId id="2147483775"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hyperlink" Target="mailto:%22Iriarte%20Ram&#237;rez%20Ignacio%20(50HzT%20OD-C)%22%20%3cignacio.iriarteramirez@50hertz.com%3e" TargetMode="External"/><Relationship Id="rId1" Type="http://schemas.openxmlformats.org/officeDocument/2006/relationships/slideLayout" Target="../slideLayouts/slideLayout16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6.emf"/><Relationship Id="rId5" Type="http://schemas.openxmlformats.org/officeDocument/2006/relationships/oleObject" Target="../embeddings/oleObject6.bin"/><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www.entsoe.eu/news/2025/12/19/4-july-grid-incident-in-the-czech-republic-expert-panel-releases-factual-report/" TargetMode="External"/><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hyperlink" Target="https://eepublicdownloads.blob.core.windows.net/public-cdn-container/clean-documents/Network%20codes%20documents/SO%20ESC/2025/AR-PR-2025-00084532_Request_for_extension.pdf"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oleObject" Target="../embeddings/oleObject5.bin"/><Relationship Id="rId7" Type="http://schemas.openxmlformats.org/officeDocument/2006/relationships/diagramQuickStyle" Target="../diagrams/quickStyle8.xml"/><Relationship Id="rId2" Type="http://schemas.openxmlformats.org/officeDocument/2006/relationships/slideLayout" Target="../slideLayouts/slideLayout29.xml"/><Relationship Id="rId1" Type="http://schemas.openxmlformats.org/officeDocument/2006/relationships/tags" Target="../tags/tag5.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image" Target="../media/image10.emf"/><Relationship Id="rId9" Type="http://schemas.microsoft.com/office/2007/relationships/diagramDrawing" Target="../diagrams/drawing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2DB50-8B63-4790-B8ED-3CC059B94A8B}"/>
              </a:ext>
            </a:extLst>
          </p:cNvPr>
          <p:cNvSpPr>
            <a:spLocks noGrp="1"/>
          </p:cNvSpPr>
          <p:nvPr>
            <p:ph type="title"/>
          </p:nvPr>
        </p:nvSpPr>
        <p:spPr>
          <a:xfrm>
            <a:off x="554306" y="567474"/>
            <a:ext cx="11281639" cy="465789"/>
          </a:xfrm>
        </p:spPr>
        <p:txBody>
          <a:bodyPr/>
          <a:lstStyle/>
          <a:p>
            <a:r>
              <a:rPr lang="en-US" sz="2800"/>
              <a:t>System Operation European Stakeholder Committee</a:t>
            </a:r>
            <a:endParaRPr lang="en-US"/>
          </a:p>
        </p:txBody>
      </p:sp>
      <p:sp>
        <p:nvSpPr>
          <p:cNvPr id="3" name="Text Placeholder 2">
            <a:extLst>
              <a:ext uri="{FF2B5EF4-FFF2-40B4-BE49-F238E27FC236}">
                <a16:creationId xmlns:a16="http://schemas.microsoft.com/office/drawing/2014/main" id="{0F55F079-FEF5-402C-93D8-6332955CD881}"/>
              </a:ext>
            </a:extLst>
          </p:cNvPr>
          <p:cNvSpPr>
            <a:spLocks noGrp="1"/>
          </p:cNvSpPr>
          <p:nvPr>
            <p:ph type="body" sz="quarter" idx="12"/>
          </p:nvPr>
        </p:nvSpPr>
        <p:spPr/>
        <p:txBody>
          <a:bodyPr/>
          <a:lstStyle/>
          <a:p>
            <a:r>
              <a:rPr lang="en-US">
                <a:latin typeface="Century Gothic" panose="020B0502020202020204" pitchFamily="34" charset="0"/>
              </a:rPr>
              <a:t>3 March 2026</a:t>
            </a:r>
          </a:p>
        </p:txBody>
      </p:sp>
    </p:spTree>
    <p:extLst>
      <p:ext uri="{BB962C8B-B14F-4D97-AF65-F5344CB8AC3E}">
        <p14:creationId xmlns:p14="http://schemas.microsoft.com/office/powerpoint/2010/main" val="1852452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377DE-8B76-D055-C6D8-F34BF9BF1C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25C442-F363-DB54-691E-850CC212A4BE}"/>
              </a:ext>
            </a:extLst>
          </p:cNvPr>
          <p:cNvSpPr>
            <a:spLocks noGrp="1"/>
          </p:cNvSpPr>
          <p:nvPr>
            <p:ph type="title"/>
          </p:nvPr>
        </p:nvSpPr>
        <p:spPr>
          <a:xfrm>
            <a:off x="287106" y="3197946"/>
            <a:ext cx="11617788" cy="356467"/>
          </a:xfrm>
        </p:spPr>
        <p:txBody>
          <a:bodyPr lIns="91440" tIns="45720" rIns="91440" bIns="45720" anchor="ctr"/>
          <a:lstStyle/>
          <a:p>
            <a:r>
              <a:rPr lang="en-GB" sz="3200">
                <a:latin typeface="Calibri"/>
                <a:ea typeface="Calibri"/>
                <a:cs typeface="Calibri"/>
              </a:rPr>
              <a:t>4. Frequency related topics </a:t>
            </a:r>
          </a:p>
        </p:txBody>
      </p:sp>
      <p:sp>
        <p:nvSpPr>
          <p:cNvPr id="3" name="Text Placeholder 2">
            <a:extLst>
              <a:ext uri="{FF2B5EF4-FFF2-40B4-BE49-F238E27FC236}">
                <a16:creationId xmlns:a16="http://schemas.microsoft.com/office/drawing/2014/main" id="{C4D64DF7-9F93-ABA9-C01A-9CA477DC28C8}"/>
              </a:ext>
            </a:extLst>
          </p:cNvPr>
          <p:cNvSpPr>
            <a:spLocks noGrp="1"/>
          </p:cNvSpPr>
          <p:nvPr>
            <p:ph type="body" sz="quarter" idx="4294967295"/>
          </p:nvPr>
        </p:nvSpPr>
        <p:spPr>
          <a:xfrm>
            <a:off x="574675" y="3554413"/>
            <a:ext cx="11617325" cy="1017587"/>
          </a:xfrm>
        </p:spPr>
        <p:txBody>
          <a:bodyPr vert="horz" lIns="91440" tIns="45720" rIns="91440" bIns="45720" rtlCol="0" anchor="t">
            <a:normAutofit/>
          </a:bodyPr>
          <a:lstStyle/>
          <a:p>
            <a:endParaRPr lang="en-GB" sz="2000">
              <a:solidFill>
                <a:schemeClr val="accent2"/>
              </a:solidFill>
              <a:latin typeface="Calibri"/>
              <a:ea typeface="Calibri"/>
              <a:cs typeface="Calibri"/>
            </a:endParaRPr>
          </a:p>
          <a:p>
            <a:r>
              <a:rPr lang="en-GB" sz="2000">
                <a:solidFill>
                  <a:schemeClr val="accent2"/>
                </a:solidFill>
                <a:latin typeface="Calibri"/>
                <a:ea typeface="Calibri"/>
                <a:cs typeface="Calibri"/>
              </a:rPr>
              <a:t>Roberto Puddu, ENTSO-E </a:t>
            </a:r>
            <a:endParaRPr lang="en-US" sz="2000">
              <a:solidFill>
                <a:schemeClr val="accent2"/>
              </a:solidFill>
              <a:latin typeface="Calibri"/>
              <a:ea typeface="Calibri"/>
              <a:cs typeface="Calibri"/>
            </a:endParaRPr>
          </a:p>
          <a:p>
            <a:endParaRPr lang="en-GB" sz="2000">
              <a:solidFill>
                <a:schemeClr val="accent2"/>
              </a:solidFill>
            </a:endParaRPr>
          </a:p>
        </p:txBody>
      </p:sp>
    </p:spTree>
    <p:extLst>
      <p:ext uri="{BB962C8B-B14F-4D97-AF65-F5344CB8AC3E}">
        <p14:creationId xmlns:p14="http://schemas.microsoft.com/office/powerpoint/2010/main" val="2369855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51E99-31D1-7A1A-FD6A-184E249F4B5B}"/>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54D2BC9D-B9E2-1F81-6BB4-E1EF9AF01B64}"/>
              </a:ext>
            </a:extLst>
          </p:cNvPr>
          <p:cNvSpPr txBox="1">
            <a:spLocks/>
          </p:cNvSpPr>
          <p:nvPr>
            <p:custDataLst>
              <p:tags r:id="rId1"/>
            </p:custDataLst>
          </p:nvPr>
        </p:nvSpPr>
        <p:spPr>
          <a:xfrm>
            <a:off x="392517" y="476672"/>
            <a:ext cx="11406965" cy="3334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F218B"/>
                </a:solidFill>
                <a:latin typeface="Calibri"/>
                <a:ea typeface="Calibri"/>
                <a:cs typeface="Calibri"/>
              </a:rPr>
              <a:t>TminLER</a:t>
            </a:r>
            <a:endParaRPr lang="en-US" sz="2800" b="1">
              <a:solidFill>
                <a:srgbClr val="0F218B"/>
              </a:solidFill>
              <a:latin typeface="Calibri" panose="020F0502020204030204" pitchFamily="34" charset="0"/>
              <a:ea typeface="Calibri"/>
              <a:cs typeface="Calibri" panose="020F0502020204030204" pitchFamily="34" charset="0"/>
            </a:endParaRPr>
          </a:p>
        </p:txBody>
      </p:sp>
      <p:sp>
        <p:nvSpPr>
          <p:cNvPr id="9" name="Rechteck 1">
            <a:extLst>
              <a:ext uri="{FF2B5EF4-FFF2-40B4-BE49-F238E27FC236}">
                <a16:creationId xmlns:a16="http://schemas.microsoft.com/office/drawing/2014/main" id="{8F1A3350-E184-C1BE-85DB-FFF36044AD5F}"/>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3" name="Segnaposto contenuto 2">
            <a:extLst>
              <a:ext uri="{FF2B5EF4-FFF2-40B4-BE49-F238E27FC236}">
                <a16:creationId xmlns:a16="http://schemas.microsoft.com/office/drawing/2014/main" id="{7B8528C9-510F-9ABC-6C00-7CF4253623FF}"/>
              </a:ext>
            </a:extLst>
          </p:cNvPr>
          <p:cNvSpPr txBox="1">
            <a:spLocks/>
          </p:cNvSpPr>
          <p:nvPr/>
        </p:nvSpPr>
        <p:spPr>
          <a:xfrm>
            <a:off x="119046" y="1604017"/>
            <a:ext cx="11953905" cy="4921247"/>
          </a:xfrm>
          <a:prstGeom prst="rect">
            <a:avLst/>
          </a:prstGeom>
        </p:spPr>
        <p:txBody>
          <a:bodyPr vert="horz" lIns="91440" tIns="0" rIns="360000" bIns="45720" rtlCol="0" anchor="t">
            <a:noAutofit/>
          </a:bodyPr>
          <a:lst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210" indent="-283210" algn="just" rtl="0" eaLnBrk="1" latinLnBrk="0" hangingPunct="1">
              <a:spcBef>
                <a:spcPts val="1000"/>
              </a:spcBef>
              <a:spcAft>
                <a:spcPts val="2000"/>
              </a:spcAft>
              <a:buFont typeface="Arial" panose="020B0604020202020204" pitchFamily="34" charset="0"/>
              <a:buChar char="•"/>
            </a:pPr>
            <a:r>
              <a:rPr lang="en-US" sz="2400">
                <a:solidFill>
                  <a:srgbClr val="123047"/>
                </a:solidFill>
                <a:effectLst/>
                <a:latin typeface="Calibri"/>
                <a:ea typeface="Calibri"/>
                <a:cs typeface="Calibri"/>
              </a:rPr>
              <a:t>The approval process of the “</a:t>
            </a:r>
            <a:r>
              <a:rPr lang="en-US" sz="2400" err="1">
                <a:solidFill>
                  <a:srgbClr val="123047"/>
                </a:solidFill>
                <a:effectLst/>
                <a:latin typeface="Calibri"/>
                <a:ea typeface="Calibri"/>
                <a:cs typeface="Calibri"/>
              </a:rPr>
              <a:t>TminLER</a:t>
            </a:r>
            <a:r>
              <a:rPr lang="en-US" sz="2400">
                <a:solidFill>
                  <a:srgbClr val="123047"/>
                </a:solidFill>
                <a:effectLst/>
                <a:latin typeface="Calibri"/>
                <a:ea typeface="Calibri"/>
                <a:cs typeface="Calibri"/>
              </a:rPr>
              <a:t> proposal” is currently ongoing.</a:t>
            </a:r>
          </a:p>
          <a:p>
            <a:pPr marL="283210" indent="-283210" algn="just" rtl="0" eaLnBrk="1" latinLnBrk="0" hangingPunct="1">
              <a:spcBef>
                <a:spcPts val="1000"/>
              </a:spcBef>
              <a:spcAft>
                <a:spcPts val="2000"/>
              </a:spcAft>
              <a:buFont typeface="Arial" panose="020B0604020202020204" pitchFamily="34" charset="0"/>
              <a:buChar char="•"/>
            </a:pPr>
            <a:r>
              <a:rPr lang="en-US" sz="2400">
                <a:solidFill>
                  <a:srgbClr val="123047"/>
                </a:solidFill>
                <a:effectLst/>
                <a:latin typeface="Calibri"/>
                <a:ea typeface="Calibri"/>
                <a:cs typeface="Calibri"/>
              </a:rPr>
              <a:t>Ad hoc meetings between CE TSOs and NRAs are being held to discuss the details.</a:t>
            </a:r>
            <a:endParaRPr lang="en-US" sz="2400">
              <a:solidFill>
                <a:schemeClr val="accent1">
                  <a:lumMod val="50000"/>
                </a:schemeClr>
              </a:solidFill>
              <a:latin typeface="Calibri"/>
              <a:ea typeface="Calibri"/>
              <a:cs typeface="Calibri"/>
            </a:endParaRPr>
          </a:p>
        </p:txBody>
      </p:sp>
    </p:spTree>
    <p:extLst>
      <p:ext uri="{BB962C8B-B14F-4D97-AF65-F5344CB8AC3E}">
        <p14:creationId xmlns:p14="http://schemas.microsoft.com/office/powerpoint/2010/main" val="4207341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D7CC0-16DF-A8A1-3957-C6098CC606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2FC8EB-A779-6AE5-72C2-424D80F30340}"/>
              </a:ext>
            </a:extLst>
          </p:cNvPr>
          <p:cNvSpPr>
            <a:spLocks noGrp="1"/>
          </p:cNvSpPr>
          <p:nvPr>
            <p:ph type="title"/>
          </p:nvPr>
        </p:nvSpPr>
        <p:spPr>
          <a:xfrm>
            <a:off x="287106" y="3197946"/>
            <a:ext cx="11617788" cy="356467"/>
          </a:xfrm>
        </p:spPr>
        <p:txBody>
          <a:bodyPr lIns="91440" tIns="45720" rIns="91440" bIns="45720" anchor="ctr"/>
          <a:lstStyle/>
          <a:p>
            <a:r>
              <a:rPr lang="en-GB" sz="3200">
                <a:latin typeface="Calibri"/>
                <a:ea typeface="Calibri"/>
                <a:cs typeface="Calibri"/>
              </a:rPr>
              <a:t>5. Update from the DSO Entity </a:t>
            </a:r>
          </a:p>
        </p:txBody>
      </p:sp>
      <p:sp>
        <p:nvSpPr>
          <p:cNvPr id="3" name="Text Placeholder 2">
            <a:extLst>
              <a:ext uri="{FF2B5EF4-FFF2-40B4-BE49-F238E27FC236}">
                <a16:creationId xmlns:a16="http://schemas.microsoft.com/office/drawing/2014/main" id="{208110ED-90A1-280B-7A2F-3C521BEB1CD6}"/>
              </a:ext>
            </a:extLst>
          </p:cNvPr>
          <p:cNvSpPr>
            <a:spLocks noGrp="1"/>
          </p:cNvSpPr>
          <p:nvPr>
            <p:ph type="body" sz="quarter" idx="4294967295"/>
          </p:nvPr>
        </p:nvSpPr>
        <p:spPr>
          <a:xfrm>
            <a:off x="574675" y="3554413"/>
            <a:ext cx="11617325" cy="1017587"/>
          </a:xfrm>
        </p:spPr>
        <p:txBody>
          <a:bodyPr vert="horz" lIns="91440" tIns="45720" rIns="91440" bIns="45720" rtlCol="0" anchor="t">
            <a:normAutofit/>
          </a:bodyPr>
          <a:lstStyle/>
          <a:p>
            <a:endParaRPr lang="en-US" sz="2000">
              <a:solidFill>
                <a:schemeClr val="accent2"/>
              </a:solidFill>
            </a:endParaRPr>
          </a:p>
          <a:p>
            <a:r>
              <a:rPr lang="en-US" sz="2000">
                <a:solidFill>
                  <a:schemeClr val="accent2"/>
                </a:solidFill>
                <a:latin typeface="Calibri"/>
                <a:ea typeface="Calibri"/>
                <a:cs typeface="Calibri"/>
              </a:rPr>
              <a:t>Florentien Benedict, DSO Entity </a:t>
            </a:r>
            <a:r>
              <a:rPr lang="en-GB" sz="2000">
                <a:solidFill>
                  <a:schemeClr val="accent2"/>
                </a:solidFill>
                <a:latin typeface="Calibri"/>
                <a:ea typeface="Calibri"/>
                <a:cs typeface="Calibri"/>
              </a:rPr>
              <a:t> </a:t>
            </a:r>
            <a:endParaRPr lang="en-US" sz="2000">
              <a:solidFill>
                <a:schemeClr val="accent2"/>
              </a:solidFill>
              <a:latin typeface="Calibri"/>
              <a:ea typeface="Calibri"/>
              <a:cs typeface="Calibri"/>
            </a:endParaRPr>
          </a:p>
          <a:p>
            <a:endParaRPr lang="en-GB" sz="2000">
              <a:solidFill>
                <a:schemeClr val="accent2"/>
              </a:solidFill>
            </a:endParaRPr>
          </a:p>
        </p:txBody>
      </p:sp>
    </p:spTree>
    <p:extLst>
      <p:ext uri="{BB962C8B-B14F-4D97-AF65-F5344CB8AC3E}">
        <p14:creationId xmlns:p14="http://schemas.microsoft.com/office/powerpoint/2010/main" val="38690711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76D58-8F1D-74FA-7C56-275FCB923D3B}"/>
            </a:ext>
          </a:extLst>
        </p:cNvPr>
        <p:cNvGrpSpPr/>
        <p:nvPr/>
      </p:nvGrpSpPr>
      <p:grpSpPr>
        <a:xfrm>
          <a:off x="0" y="0"/>
          <a:ext cx="0" cy="0"/>
          <a:chOff x="0" y="0"/>
          <a:chExt cx="0" cy="0"/>
        </a:xfrm>
      </p:grpSpPr>
      <p:sp>
        <p:nvSpPr>
          <p:cNvPr id="7" name="Title 2">
            <a:extLst>
              <a:ext uri="{FF2B5EF4-FFF2-40B4-BE49-F238E27FC236}">
                <a16:creationId xmlns:a16="http://schemas.microsoft.com/office/drawing/2014/main" id="{4C61F22B-72A9-56B6-85F5-0595C7A8071B}"/>
              </a:ext>
            </a:extLst>
          </p:cNvPr>
          <p:cNvSpPr>
            <a:spLocks noGrp="1"/>
          </p:cNvSpPr>
          <p:nvPr>
            <p:ph type="ctrTitle"/>
          </p:nvPr>
        </p:nvSpPr>
        <p:spPr>
          <a:xfrm>
            <a:off x="421298" y="2079766"/>
            <a:ext cx="7726634" cy="1005840"/>
          </a:xfrm>
        </p:spPr>
        <p:txBody>
          <a:bodyPr lIns="91440" tIns="45720" rIns="91440" bIns="45720" anchor="t">
            <a:normAutofit fontScale="90000"/>
          </a:bodyPr>
          <a:lstStyle/>
          <a:p>
            <a:r>
              <a:rPr lang="en-GB">
                <a:latin typeface="Avenir Black"/>
              </a:rPr>
              <a:t>ESC SO 3th March 2026</a:t>
            </a:r>
            <a:br>
              <a:rPr lang="en-GB">
                <a:latin typeface="Avenir Black"/>
              </a:rPr>
            </a:br>
            <a:br>
              <a:rPr lang="en-GB">
                <a:latin typeface="Avenir Black"/>
              </a:rPr>
            </a:br>
            <a:r>
              <a:rPr lang="en-GB">
                <a:latin typeface="Avenir Black"/>
              </a:rPr>
              <a:t>EU DSO Entity</a:t>
            </a:r>
            <a:br>
              <a:rPr lang="en-GB">
                <a:latin typeface="Avenir Black"/>
              </a:rPr>
            </a:br>
            <a:br>
              <a:rPr lang="en-GB">
                <a:latin typeface="Avenir Black"/>
              </a:rPr>
            </a:br>
            <a:r>
              <a:rPr lang="en-GB">
                <a:latin typeface="Avenir Black"/>
              </a:rPr>
              <a:t>Florentien Benedict</a:t>
            </a:r>
            <a:br>
              <a:rPr lang="en-GB"/>
            </a:br>
            <a:br>
              <a:rPr lang="en-GB"/>
            </a:br>
            <a:br>
              <a:rPr lang="en-GB"/>
            </a:br>
            <a:br>
              <a:rPr lang="en-GB"/>
            </a:br>
            <a:br>
              <a:rPr lang="en-GB" sz="3100"/>
            </a:br>
            <a:endParaRPr lang="en-GB">
              <a:latin typeface="Avenir Black"/>
            </a:endParaRPr>
          </a:p>
        </p:txBody>
      </p:sp>
    </p:spTree>
    <p:extLst>
      <p:ext uri="{BB962C8B-B14F-4D97-AF65-F5344CB8AC3E}">
        <p14:creationId xmlns:p14="http://schemas.microsoft.com/office/powerpoint/2010/main" val="4330162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B42034-35E2-44CD-9EFE-FC165CF19737}"/>
              </a:ext>
            </a:extLst>
          </p:cNvPr>
          <p:cNvSpPr>
            <a:spLocks noGrp="1"/>
          </p:cNvSpPr>
          <p:nvPr>
            <p:ph idx="1"/>
          </p:nvPr>
        </p:nvSpPr>
        <p:spPr>
          <a:xfrm>
            <a:off x="650230" y="2254783"/>
            <a:ext cx="10648278" cy="1738786"/>
          </a:xfrm>
        </p:spPr>
        <p:txBody>
          <a:bodyPr lIns="91440" tIns="45720" rIns="91440" bIns="45720" anchor="t">
            <a:normAutofit fontScale="92500" lnSpcReduction="20000"/>
          </a:bodyPr>
          <a:lstStyle/>
          <a:p>
            <a:pPr>
              <a:buSzPct val="100000"/>
              <a:buFont typeface="Arial" panose="020B0604020202020204" pitchFamily="34" charset="0"/>
              <a:buChar char="•"/>
            </a:pPr>
            <a:r>
              <a:rPr lang="en-GB"/>
              <a:t>1. Views and Recommendations on the 2026 ICS Methodology</a:t>
            </a:r>
          </a:p>
          <a:p>
            <a:pPr>
              <a:buSzPct val="100000"/>
              <a:buFont typeface="Arial" panose="020B0604020202020204" pitchFamily="34" charset="0"/>
              <a:buChar char="•"/>
            </a:pPr>
            <a:r>
              <a:rPr lang="en-GB"/>
              <a:t>2. Updates on DSO Entity Works on Iberian Black Out</a:t>
            </a:r>
          </a:p>
          <a:p>
            <a:pPr>
              <a:buSzPct val="100000"/>
              <a:buFont typeface="Arial" panose="020B0604020202020204" pitchFamily="34" charset="0"/>
              <a:buChar char="•"/>
            </a:pPr>
            <a:r>
              <a:rPr lang="en-GB"/>
              <a:t>3. Recommendations for SOGL </a:t>
            </a:r>
          </a:p>
          <a:p>
            <a:pPr>
              <a:buSzPct val="100000"/>
              <a:buFont typeface="Arial" panose="020B0604020202020204" pitchFamily="34" charset="0"/>
              <a:buChar char="•"/>
            </a:pPr>
            <a:r>
              <a:rPr lang="en-GB"/>
              <a:t>4. Recommendations for NC E&amp;R</a:t>
            </a:r>
          </a:p>
          <a:p>
            <a:pPr lvl="1">
              <a:buSzPct val="100000"/>
            </a:pPr>
            <a:endParaRPr lang="en-IE"/>
          </a:p>
        </p:txBody>
      </p:sp>
      <p:sp>
        <p:nvSpPr>
          <p:cNvPr id="3" name="Title 2">
            <a:extLst>
              <a:ext uri="{FF2B5EF4-FFF2-40B4-BE49-F238E27FC236}">
                <a16:creationId xmlns:a16="http://schemas.microsoft.com/office/drawing/2014/main" id="{816754BE-DFA7-658C-7D12-193B8A9B11B4}"/>
              </a:ext>
            </a:extLst>
          </p:cNvPr>
          <p:cNvSpPr>
            <a:spLocks noGrp="1"/>
          </p:cNvSpPr>
          <p:nvPr>
            <p:ph type="title"/>
          </p:nvPr>
        </p:nvSpPr>
        <p:spPr/>
        <p:txBody>
          <a:bodyPr>
            <a:normAutofit fontScale="90000"/>
          </a:bodyPr>
          <a:lstStyle/>
          <a:p>
            <a:r>
              <a:rPr lang="en-US"/>
              <a:t>Agenda Topics</a:t>
            </a:r>
            <a:br>
              <a:rPr lang="en-GB" sz="1800">
                <a:effectLst/>
                <a:latin typeface="Calibri" panose="020F0502020204030204" pitchFamily="34" charset="0"/>
                <a:ea typeface="Times New Roman" panose="02020603050405020304" pitchFamily="18" charset="0"/>
                <a:cs typeface="Times New Roman" panose="02020603050405020304" pitchFamily="18" charset="0"/>
              </a:rPr>
            </a:br>
            <a:endParaRPr lang="en-IE"/>
          </a:p>
        </p:txBody>
      </p:sp>
    </p:spTree>
    <p:extLst>
      <p:ext uri="{BB962C8B-B14F-4D97-AF65-F5344CB8AC3E}">
        <p14:creationId xmlns:p14="http://schemas.microsoft.com/office/powerpoint/2010/main" val="4140629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2F419-3FC2-556F-FC2B-E246A4B6118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F4941E6-50CD-8FF0-D786-B585EB73E460}"/>
              </a:ext>
            </a:extLst>
          </p:cNvPr>
          <p:cNvSpPr>
            <a:spLocks noGrp="1"/>
          </p:cNvSpPr>
          <p:nvPr>
            <p:ph type="title"/>
          </p:nvPr>
        </p:nvSpPr>
        <p:spPr>
          <a:xfrm>
            <a:off x="426943" y="765779"/>
            <a:ext cx="11630376" cy="965531"/>
          </a:xfrm>
        </p:spPr>
        <p:txBody>
          <a:bodyPr>
            <a:normAutofit fontScale="90000"/>
          </a:bodyPr>
          <a:lstStyle/>
          <a:p>
            <a:pPr>
              <a:buSzPct val="100000"/>
            </a:pPr>
            <a:r>
              <a:rPr lang="en-GB" sz="3600"/>
              <a:t>1. Views and Recommendations on the 2026 ICS Methodology (1/3)</a:t>
            </a:r>
          </a:p>
        </p:txBody>
      </p:sp>
      <p:sp>
        <p:nvSpPr>
          <p:cNvPr id="7" name="TextBox 6">
            <a:extLst>
              <a:ext uri="{FF2B5EF4-FFF2-40B4-BE49-F238E27FC236}">
                <a16:creationId xmlns:a16="http://schemas.microsoft.com/office/drawing/2014/main" id="{7A28F458-B5CF-2FD3-CD77-F120572E3866}"/>
              </a:ext>
            </a:extLst>
          </p:cNvPr>
          <p:cNvSpPr txBox="1"/>
          <p:nvPr/>
        </p:nvSpPr>
        <p:spPr>
          <a:xfrm>
            <a:off x="716747" y="2229834"/>
            <a:ext cx="10758505" cy="3754874"/>
          </a:xfrm>
          <a:prstGeom prst="rect">
            <a:avLst/>
          </a:prstGeom>
          <a:noFill/>
        </p:spPr>
        <p:txBody>
          <a:bodyPr wrap="square">
            <a:spAutoFit/>
          </a:bodyPr>
          <a:lstStyle/>
          <a:p>
            <a:pPr marL="342900" indent="-342900">
              <a:buAutoNum type="alphaUcPeriod"/>
            </a:pPr>
            <a:r>
              <a:rPr lang="en-GB" sz="2800" b="1"/>
              <a:t>General Background</a:t>
            </a:r>
          </a:p>
          <a:p>
            <a:endParaRPr lang="en-GB" b="1">
              <a:solidFill>
                <a:schemeClr val="tx2"/>
              </a:solidFill>
            </a:endParaRPr>
          </a:p>
          <a:p>
            <a:pPr marL="285750" indent="-285750">
              <a:buClr>
                <a:schemeClr val="tx2"/>
              </a:buClr>
              <a:buFont typeface="Arial" panose="020B0604020202020204" pitchFamily="34" charset="0"/>
              <a:buChar char="•"/>
            </a:pPr>
            <a:r>
              <a:rPr lang="en-GB" sz="2400"/>
              <a:t>As of now ENTSO-E manages ICS and maintains the Incident Classification Scale and consulted on ICS in November 2025</a:t>
            </a:r>
          </a:p>
          <a:p>
            <a:pPr marL="285750" lvl="0" indent="-285750" eaLnBrk="0" fontAlgn="base" hangingPunct="0">
              <a:spcBef>
                <a:spcPct val="0"/>
              </a:spcBef>
              <a:spcAft>
                <a:spcPct val="0"/>
              </a:spcAft>
              <a:buClr>
                <a:schemeClr val="tx2"/>
              </a:buClr>
              <a:buFont typeface="Arial" panose="020B0604020202020204" pitchFamily="34" charset="0"/>
              <a:buChar char="•"/>
            </a:pPr>
            <a:r>
              <a:rPr lang="en-US" altLang="en-US" sz="2400"/>
              <a:t>DSO Entity actively engaged in the 2025 consultation, actively engaging with ENTSO-E </a:t>
            </a:r>
          </a:p>
          <a:p>
            <a:pPr marL="285750" lvl="0" indent="-285750" eaLnBrk="0" fontAlgn="base" hangingPunct="0">
              <a:spcBef>
                <a:spcPct val="0"/>
              </a:spcBef>
              <a:spcAft>
                <a:spcPct val="0"/>
              </a:spcAft>
              <a:buClr>
                <a:schemeClr val="tx2"/>
              </a:buClr>
              <a:buFont typeface="Arial" panose="020B0604020202020204" pitchFamily="34" charset="0"/>
              <a:buChar char="•"/>
            </a:pPr>
            <a:r>
              <a:rPr lang="en-US" altLang="en-US" sz="2400"/>
              <a:t>In January 2026, ICS methodology was updated, with DSO Entity explicitly mentioned in Article 7.2.</a:t>
            </a:r>
          </a:p>
          <a:p>
            <a:pPr marL="285750" lvl="0" indent="-285750" eaLnBrk="0" fontAlgn="base" hangingPunct="0">
              <a:spcBef>
                <a:spcPct val="0"/>
              </a:spcBef>
              <a:spcAft>
                <a:spcPct val="0"/>
              </a:spcAft>
              <a:buClr>
                <a:schemeClr val="tx2"/>
              </a:buClr>
              <a:buFont typeface="Arial" panose="020B0604020202020204" pitchFamily="34" charset="0"/>
              <a:buChar char="•"/>
            </a:pPr>
            <a:r>
              <a:rPr lang="en-GB" sz="2400"/>
              <a:t>DSO Entity is exploring collaboration with EU associations on future ICS revision initiatives in 2026</a:t>
            </a:r>
            <a:endParaRPr lang="en-US" altLang="en-US"/>
          </a:p>
        </p:txBody>
      </p:sp>
    </p:spTree>
    <p:extLst>
      <p:ext uri="{BB962C8B-B14F-4D97-AF65-F5344CB8AC3E}">
        <p14:creationId xmlns:p14="http://schemas.microsoft.com/office/powerpoint/2010/main" val="117412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AFD22-AD27-C764-F8FA-B4B3E8B0E7B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B56CA9FA-D0DD-2530-0280-F138167C4F38}"/>
              </a:ext>
            </a:extLst>
          </p:cNvPr>
          <p:cNvSpPr txBox="1"/>
          <p:nvPr/>
        </p:nvSpPr>
        <p:spPr>
          <a:xfrm>
            <a:off x="716747" y="2197893"/>
            <a:ext cx="10758505" cy="4031873"/>
          </a:xfrm>
          <a:prstGeom prst="rect">
            <a:avLst/>
          </a:prstGeom>
          <a:noFill/>
        </p:spPr>
        <p:txBody>
          <a:bodyPr wrap="square">
            <a:spAutoFit/>
          </a:bodyPr>
          <a:lstStyle/>
          <a:p>
            <a:pPr lvl="0" eaLnBrk="0" fontAlgn="base" hangingPunct="0">
              <a:spcBef>
                <a:spcPct val="0"/>
              </a:spcBef>
              <a:spcAft>
                <a:spcPct val="0"/>
              </a:spcAft>
            </a:pPr>
            <a:r>
              <a:rPr lang="en-GB" altLang="en-US" sz="2800" b="1"/>
              <a:t>B. Key Points</a:t>
            </a:r>
          </a:p>
          <a:p>
            <a:pPr eaLnBrk="0" fontAlgn="base" hangingPunct="0">
              <a:spcBef>
                <a:spcPct val="0"/>
              </a:spcBef>
              <a:spcAft>
                <a:spcPct val="0"/>
              </a:spcAft>
              <a:buClr>
                <a:schemeClr val="tx2"/>
              </a:buClr>
            </a:pPr>
            <a:endParaRPr lang="en-GB"/>
          </a:p>
          <a:p>
            <a:pPr lvl="0" eaLnBrk="0" fontAlgn="base" hangingPunct="0">
              <a:spcBef>
                <a:spcPct val="0"/>
              </a:spcBef>
              <a:spcAft>
                <a:spcPct val="0"/>
              </a:spcAft>
            </a:pPr>
            <a:r>
              <a:rPr lang="en-US" altLang="en-US" sz="2400" b="1">
                <a:solidFill>
                  <a:schemeClr val="tx2"/>
                </a:solidFill>
              </a:rPr>
              <a:t>Key point of the 2025 consultation </a:t>
            </a:r>
          </a:p>
          <a:p>
            <a:pPr marL="285750" lvl="0" indent="-285750" eaLnBrk="0" fontAlgn="base" hangingPunct="0">
              <a:spcBef>
                <a:spcPct val="0"/>
              </a:spcBef>
              <a:spcAft>
                <a:spcPct val="0"/>
              </a:spcAft>
              <a:buClr>
                <a:schemeClr val="tx2"/>
              </a:buClr>
              <a:buFont typeface="Arial" panose="020B0604020202020204" pitchFamily="34" charset="0"/>
              <a:buChar char="•"/>
            </a:pPr>
            <a:r>
              <a:rPr lang="en-US" altLang="en-US" sz="2400"/>
              <a:t>DSO Entity welcomes the opportunity to contribute to ENTSO-E’s future investigations and stresses its importance in ICS methodology, but express the concerns on:</a:t>
            </a:r>
          </a:p>
          <a:p>
            <a:pPr marL="800100" lvl="1" indent="-342900">
              <a:buFont typeface="+mj-lt"/>
              <a:buAutoNum type="arabicPeriod"/>
            </a:pPr>
            <a:r>
              <a:rPr lang="en-GB" sz="2400"/>
              <a:t>Rejection of DSO Entity proposal mandatory participation of affected DSOs in the 2026 ICS update.</a:t>
            </a:r>
          </a:p>
          <a:p>
            <a:pPr marL="800100" lvl="1" indent="-342900">
              <a:buFont typeface="+mj-lt"/>
              <a:buAutoNum type="arabicPeriod"/>
            </a:pPr>
            <a:r>
              <a:rPr lang="en-GB" sz="2400"/>
              <a:t>Non-acceptance of the DSO Entity’s proposed thresholds for scale criteria by ENTSO-E.</a:t>
            </a:r>
          </a:p>
          <a:p>
            <a:endParaRPr lang="en-GB"/>
          </a:p>
        </p:txBody>
      </p:sp>
      <p:sp>
        <p:nvSpPr>
          <p:cNvPr id="9" name="Title 2">
            <a:extLst>
              <a:ext uri="{FF2B5EF4-FFF2-40B4-BE49-F238E27FC236}">
                <a16:creationId xmlns:a16="http://schemas.microsoft.com/office/drawing/2014/main" id="{E7528A26-72CC-EEA5-10AA-A65EBD8A2047}"/>
              </a:ext>
            </a:extLst>
          </p:cNvPr>
          <p:cNvSpPr>
            <a:spLocks noGrp="1"/>
          </p:cNvSpPr>
          <p:nvPr>
            <p:ph type="title"/>
          </p:nvPr>
        </p:nvSpPr>
        <p:spPr>
          <a:xfrm>
            <a:off x="426943" y="765779"/>
            <a:ext cx="11630376" cy="965531"/>
          </a:xfrm>
        </p:spPr>
        <p:txBody>
          <a:bodyPr>
            <a:normAutofit fontScale="90000"/>
          </a:bodyPr>
          <a:lstStyle/>
          <a:p>
            <a:pPr>
              <a:buSzPct val="100000"/>
            </a:pPr>
            <a:r>
              <a:rPr lang="en-GB" sz="3600"/>
              <a:t>1. Views and Recommendations on the 2026 ICS Methodology (2/3)</a:t>
            </a:r>
          </a:p>
        </p:txBody>
      </p:sp>
    </p:spTree>
    <p:extLst>
      <p:ext uri="{BB962C8B-B14F-4D97-AF65-F5344CB8AC3E}">
        <p14:creationId xmlns:p14="http://schemas.microsoft.com/office/powerpoint/2010/main" val="2735116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75FEC-58F9-973C-CF9F-82AF76439A3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1184398F-72DD-2454-7882-18FACE2C0685}"/>
              </a:ext>
            </a:extLst>
          </p:cNvPr>
          <p:cNvSpPr txBox="1"/>
          <p:nvPr/>
        </p:nvSpPr>
        <p:spPr>
          <a:xfrm>
            <a:off x="716747" y="2166458"/>
            <a:ext cx="10758505" cy="3385542"/>
          </a:xfrm>
          <a:prstGeom prst="rect">
            <a:avLst/>
          </a:prstGeom>
          <a:noFill/>
        </p:spPr>
        <p:txBody>
          <a:bodyPr wrap="square">
            <a:spAutoFit/>
          </a:bodyPr>
          <a:lstStyle/>
          <a:p>
            <a:pPr lvl="0" eaLnBrk="0" fontAlgn="base" hangingPunct="0">
              <a:spcBef>
                <a:spcPct val="0"/>
              </a:spcBef>
              <a:spcAft>
                <a:spcPct val="0"/>
              </a:spcAft>
            </a:pPr>
            <a:r>
              <a:rPr lang="en-GB" altLang="en-US" sz="2800" b="1"/>
              <a:t>C. Recommendations and Asks</a:t>
            </a:r>
          </a:p>
          <a:p>
            <a:pPr eaLnBrk="0" fontAlgn="base" hangingPunct="0">
              <a:spcBef>
                <a:spcPct val="0"/>
              </a:spcBef>
              <a:spcAft>
                <a:spcPct val="0"/>
              </a:spcAft>
              <a:buClr>
                <a:schemeClr val="tx2"/>
              </a:buClr>
            </a:pPr>
            <a:endParaRPr lang="en-GB"/>
          </a:p>
          <a:p>
            <a:r>
              <a:rPr lang="en-GB" sz="2400" b="1">
                <a:solidFill>
                  <a:schemeClr val="tx2"/>
                </a:solidFill>
              </a:rPr>
              <a:t>Recommendations &amp; Asks:</a:t>
            </a:r>
            <a:endParaRPr lang="en-GB" sz="2400">
              <a:solidFill>
                <a:schemeClr val="tx2"/>
              </a:solidFill>
            </a:endParaRPr>
          </a:p>
          <a:p>
            <a:pPr marL="285750" indent="-285750">
              <a:buClr>
                <a:schemeClr val="tx2"/>
              </a:buClr>
              <a:buFont typeface="Arial" panose="020B0604020202020204" pitchFamily="34" charset="0"/>
              <a:buChar char="•"/>
            </a:pPr>
            <a:r>
              <a:rPr lang="en-GB" sz="2400"/>
              <a:t>Include both affected and non-affected System Operators (SOs) in Expert Panels to ensure comprehensive incident analysis.</a:t>
            </a:r>
          </a:p>
          <a:p>
            <a:pPr marL="285750" indent="-285750">
              <a:buClr>
                <a:schemeClr val="tx2"/>
              </a:buClr>
              <a:buFont typeface="Arial" panose="020B0604020202020204" pitchFamily="34" charset="0"/>
              <a:buChar char="•"/>
            </a:pPr>
            <a:r>
              <a:rPr lang="en-GB" sz="2400"/>
              <a:t>Apply lessons from the Iberian Blackout and other incident investigation to value full DSO Entity expert participation. </a:t>
            </a:r>
          </a:p>
          <a:p>
            <a:pPr marL="285750" indent="-285750">
              <a:buClr>
                <a:schemeClr val="tx2"/>
              </a:buClr>
              <a:buFont typeface="Arial" panose="020B0604020202020204" pitchFamily="34" charset="0"/>
              <a:buChar char="•"/>
            </a:pPr>
            <a:r>
              <a:rPr lang="en-GB" sz="2400"/>
              <a:t>Early and full involvement of the EU DSO Entity will ensure that the distribution perspective is fully represented in the investigation</a:t>
            </a:r>
            <a:endParaRPr lang="fr-FR" sz="2400" b="1"/>
          </a:p>
        </p:txBody>
      </p:sp>
      <p:sp>
        <p:nvSpPr>
          <p:cNvPr id="9" name="Title 2">
            <a:extLst>
              <a:ext uri="{FF2B5EF4-FFF2-40B4-BE49-F238E27FC236}">
                <a16:creationId xmlns:a16="http://schemas.microsoft.com/office/drawing/2014/main" id="{4FD55E8B-3DB9-47FB-4E91-98CEEE02EF1C}"/>
              </a:ext>
            </a:extLst>
          </p:cNvPr>
          <p:cNvSpPr>
            <a:spLocks noGrp="1"/>
          </p:cNvSpPr>
          <p:nvPr>
            <p:ph type="title"/>
          </p:nvPr>
        </p:nvSpPr>
        <p:spPr>
          <a:xfrm>
            <a:off x="426943" y="765779"/>
            <a:ext cx="11630376" cy="965531"/>
          </a:xfrm>
        </p:spPr>
        <p:txBody>
          <a:bodyPr>
            <a:normAutofit fontScale="90000"/>
          </a:bodyPr>
          <a:lstStyle/>
          <a:p>
            <a:pPr>
              <a:buSzPct val="100000"/>
            </a:pPr>
            <a:r>
              <a:rPr lang="en-GB" sz="3600"/>
              <a:t>1. Views and Recommendations on the 2026 ICS Methodology (3/3)</a:t>
            </a:r>
          </a:p>
        </p:txBody>
      </p:sp>
    </p:spTree>
    <p:extLst>
      <p:ext uri="{BB962C8B-B14F-4D97-AF65-F5344CB8AC3E}">
        <p14:creationId xmlns:p14="http://schemas.microsoft.com/office/powerpoint/2010/main" val="3463771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FF3CC-2D65-7286-103E-23B83A021155}"/>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FD780758-1F39-E8A1-A6FE-64A7D2BE03FC}"/>
              </a:ext>
            </a:extLst>
          </p:cNvPr>
          <p:cNvSpPr>
            <a:spLocks noGrp="1"/>
          </p:cNvSpPr>
          <p:nvPr>
            <p:ph type="title"/>
          </p:nvPr>
        </p:nvSpPr>
        <p:spPr>
          <a:xfrm>
            <a:off x="426943" y="765779"/>
            <a:ext cx="11630376" cy="965531"/>
          </a:xfrm>
        </p:spPr>
        <p:txBody>
          <a:bodyPr>
            <a:normAutofit/>
          </a:bodyPr>
          <a:lstStyle/>
          <a:p>
            <a:pPr>
              <a:buSzPct val="100000"/>
              <a:buFont typeface="Arial" panose="020B0604020202020204" pitchFamily="34" charset="0"/>
              <a:buChar char="•"/>
            </a:pPr>
            <a:r>
              <a:rPr lang="en-GB" sz="3600"/>
              <a:t>2. Updates on DSO Entity works on Iberian black out (1/3) </a:t>
            </a:r>
          </a:p>
        </p:txBody>
      </p:sp>
      <p:sp>
        <p:nvSpPr>
          <p:cNvPr id="7" name="TextBox 6">
            <a:extLst>
              <a:ext uri="{FF2B5EF4-FFF2-40B4-BE49-F238E27FC236}">
                <a16:creationId xmlns:a16="http://schemas.microsoft.com/office/drawing/2014/main" id="{F3B52657-3566-3202-DCDA-15EEB5FFD1E2}"/>
              </a:ext>
            </a:extLst>
          </p:cNvPr>
          <p:cNvSpPr txBox="1"/>
          <p:nvPr/>
        </p:nvSpPr>
        <p:spPr>
          <a:xfrm>
            <a:off x="716747" y="1247783"/>
            <a:ext cx="10758505" cy="5386090"/>
          </a:xfrm>
          <a:prstGeom prst="rect">
            <a:avLst/>
          </a:prstGeom>
          <a:noFill/>
        </p:spPr>
        <p:txBody>
          <a:bodyPr wrap="square" lIns="91440" tIns="45720" rIns="91440" bIns="45720" anchor="t">
            <a:spAutoFit/>
          </a:bodyPr>
          <a:lstStyle/>
          <a:p>
            <a:pPr marL="285750" indent="-285750">
              <a:buClr>
                <a:schemeClr val="tx2"/>
              </a:buClr>
              <a:buFont typeface="Arial" panose="020B0604020202020204" pitchFamily="34" charset="0"/>
              <a:buChar char="•"/>
            </a:pPr>
            <a:endParaRPr lang="en-GB" sz="2000"/>
          </a:p>
          <a:p>
            <a:pPr>
              <a:buClr>
                <a:schemeClr val="tx2"/>
              </a:buClr>
            </a:pPr>
            <a:r>
              <a:rPr lang="en-GB" sz="2000" b="1">
                <a:solidFill>
                  <a:schemeClr val="tx2"/>
                </a:solidFill>
              </a:rPr>
              <a:t>General overview</a:t>
            </a:r>
          </a:p>
          <a:p>
            <a:pPr>
              <a:buClr>
                <a:schemeClr val="tx2"/>
              </a:buClr>
            </a:pPr>
            <a:endParaRPr lang="en-GB" sz="2000"/>
          </a:p>
          <a:p>
            <a:pPr marL="285750" indent="-285750">
              <a:buClr>
                <a:schemeClr val="tx2"/>
              </a:buClr>
              <a:buFont typeface="Arial" panose="020B0604020202020204" pitchFamily="34" charset="0"/>
              <a:buChar char="•"/>
            </a:pPr>
            <a:r>
              <a:rPr lang="en-GB" sz="2400"/>
              <a:t>Overview of the meetings of the DSO Entity Ad Hoc Expert Group Iberian Blackout with Expert Panel Iberian Blackout; </a:t>
            </a:r>
          </a:p>
          <a:p>
            <a:pPr marL="285750" indent="-285750">
              <a:buClr>
                <a:schemeClr val="tx2"/>
              </a:buClr>
              <a:buFont typeface="Arial" panose="020B0604020202020204" pitchFamily="34" charset="0"/>
              <a:buChar char="•"/>
            </a:pPr>
            <a:r>
              <a:rPr lang="en-GB" sz="2400"/>
              <a:t>three meetings with expert panel in 2025</a:t>
            </a:r>
            <a:endParaRPr lang="en-GB" sz="2400">
              <a:ea typeface="Calibri"/>
              <a:cs typeface="Calibri"/>
            </a:endParaRPr>
          </a:p>
          <a:p>
            <a:pPr marL="742950" lvl="1" indent="-285750">
              <a:buClr>
                <a:schemeClr val="tx2"/>
              </a:buClr>
              <a:buFont typeface="Arial" panose="020B0604020202020204" pitchFamily="34" charset="0"/>
              <a:buChar char="•"/>
            </a:pPr>
            <a:r>
              <a:rPr lang="en-GB" sz="2400"/>
              <a:t>30 October, </a:t>
            </a:r>
          </a:p>
          <a:p>
            <a:pPr marL="742950" lvl="1" indent="-285750">
              <a:buClr>
                <a:schemeClr val="tx2"/>
              </a:buClr>
              <a:buFont typeface="Arial" panose="020B0604020202020204" pitchFamily="34" charset="0"/>
              <a:buChar char="•"/>
            </a:pPr>
            <a:r>
              <a:rPr lang="en-GB" sz="2400"/>
              <a:t>12 November and </a:t>
            </a:r>
          </a:p>
          <a:p>
            <a:pPr marL="742950" lvl="1" indent="-285750">
              <a:buClr>
                <a:schemeClr val="tx2"/>
              </a:buClr>
              <a:buFont typeface="Arial" panose="020B0604020202020204" pitchFamily="34" charset="0"/>
              <a:buChar char="•"/>
            </a:pPr>
            <a:r>
              <a:rPr lang="en-GB" sz="2400"/>
              <a:t>3 December.</a:t>
            </a:r>
            <a:endParaRPr lang="en-GB" sz="2400">
              <a:ea typeface="Calibri"/>
              <a:cs typeface="Calibri"/>
            </a:endParaRPr>
          </a:p>
          <a:p>
            <a:pPr marL="285750" indent="-285750">
              <a:buClr>
                <a:schemeClr val="tx2"/>
              </a:buClr>
              <a:buFont typeface="Arial,Sans-Serif" panose="020B0604020202020204" pitchFamily="34" charset="0"/>
              <a:buChar char="•"/>
            </a:pPr>
            <a:r>
              <a:rPr lang="en-GB" sz="2400">
                <a:ea typeface="Calibri"/>
                <a:cs typeface="Calibri"/>
              </a:rPr>
              <a:t>One meeting scheduled 2026</a:t>
            </a:r>
            <a:endParaRPr lang="en-GB">
              <a:ea typeface="Calibri"/>
              <a:cs typeface="Calibri"/>
            </a:endParaRPr>
          </a:p>
          <a:p>
            <a:pPr marL="742950" lvl="1" indent="-285750">
              <a:buClr>
                <a:schemeClr val="tx2"/>
              </a:buClr>
              <a:buFont typeface="Arial" panose="020B0604020202020204" pitchFamily="34" charset="0"/>
              <a:buChar char="•"/>
            </a:pPr>
            <a:r>
              <a:rPr lang="en-GB" sz="2400"/>
              <a:t>One extra meeting scheduled, following ESC March 2026</a:t>
            </a:r>
            <a:endParaRPr lang="nl-NL" sz="2400"/>
          </a:p>
          <a:p>
            <a:pPr marL="285750" indent="-285750">
              <a:buClr>
                <a:schemeClr val="tx2"/>
              </a:buClr>
              <a:buFont typeface="Arial" panose="020B0604020202020204" pitchFamily="34" charset="0"/>
              <a:buChar char="•"/>
            </a:pPr>
            <a:r>
              <a:rPr lang="en-GB" sz="2400"/>
              <a:t>Data exchanges </a:t>
            </a:r>
          </a:p>
          <a:p>
            <a:pPr marL="742950" lvl="1" indent="-285750">
              <a:buClr>
                <a:schemeClr val="tx2"/>
              </a:buClr>
              <a:buFont typeface="Arial" panose="020B0604020202020204" pitchFamily="34" charset="0"/>
              <a:buChar char="•"/>
            </a:pPr>
            <a:r>
              <a:rPr lang="en-GB" sz="2400"/>
              <a:t>DSOs sent all the required data and also requested the details of disconnection of generators at distribution level to provide the best information.</a:t>
            </a:r>
            <a:endParaRPr lang="nl-NL" sz="2400"/>
          </a:p>
          <a:p>
            <a:pPr marL="742950" lvl="1" indent="-285750">
              <a:buClr>
                <a:schemeClr val="tx2"/>
              </a:buClr>
              <a:buFont typeface="Arial" panose="020B0604020202020204" pitchFamily="34" charset="0"/>
              <a:buChar char="•"/>
            </a:pPr>
            <a:endParaRPr lang="fr-FR" sz="2000" b="1"/>
          </a:p>
        </p:txBody>
      </p:sp>
    </p:spTree>
    <p:extLst>
      <p:ext uri="{BB962C8B-B14F-4D97-AF65-F5344CB8AC3E}">
        <p14:creationId xmlns:p14="http://schemas.microsoft.com/office/powerpoint/2010/main" val="34414503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2D93027-B7EA-61AC-9BE1-F7C1472ADCF6}"/>
              </a:ext>
            </a:extLst>
          </p:cNvPr>
          <p:cNvSpPr>
            <a:spLocks noGrp="1"/>
          </p:cNvSpPr>
          <p:nvPr>
            <p:ph type="title"/>
          </p:nvPr>
        </p:nvSpPr>
        <p:spPr>
          <a:xfrm>
            <a:off x="426943" y="765779"/>
            <a:ext cx="11630376" cy="965531"/>
          </a:xfrm>
        </p:spPr>
        <p:txBody>
          <a:bodyPr>
            <a:normAutofit/>
          </a:bodyPr>
          <a:lstStyle/>
          <a:p>
            <a:pPr>
              <a:buSzPct val="100000"/>
              <a:buFont typeface="Arial" panose="020B0604020202020204" pitchFamily="34" charset="0"/>
              <a:buChar char="•"/>
            </a:pPr>
            <a:r>
              <a:rPr lang="en-GB" sz="3600"/>
              <a:t>2. Updates on DSO Entity works on Iberian black out (2/3) </a:t>
            </a:r>
          </a:p>
        </p:txBody>
      </p:sp>
      <p:sp>
        <p:nvSpPr>
          <p:cNvPr id="7" name="TextBox 6">
            <a:extLst>
              <a:ext uri="{FF2B5EF4-FFF2-40B4-BE49-F238E27FC236}">
                <a16:creationId xmlns:a16="http://schemas.microsoft.com/office/drawing/2014/main" id="{BCBD2443-A923-A323-4464-6145D82EB469}"/>
              </a:ext>
            </a:extLst>
          </p:cNvPr>
          <p:cNvSpPr txBox="1"/>
          <p:nvPr/>
        </p:nvSpPr>
        <p:spPr>
          <a:xfrm>
            <a:off x="716747" y="1505215"/>
            <a:ext cx="10758505" cy="3539430"/>
          </a:xfrm>
          <a:prstGeom prst="rect">
            <a:avLst/>
          </a:prstGeom>
          <a:noFill/>
        </p:spPr>
        <p:txBody>
          <a:bodyPr wrap="square">
            <a:spAutoFit/>
          </a:bodyPr>
          <a:lstStyle/>
          <a:p>
            <a:pPr marL="285750" indent="-285750">
              <a:buClr>
                <a:schemeClr val="tx2"/>
              </a:buClr>
              <a:buFont typeface="Arial" panose="020B0604020202020204" pitchFamily="34" charset="0"/>
              <a:buChar char="•"/>
            </a:pPr>
            <a:endParaRPr lang="en-GB" sz="2000"/>
          </a:p>
          <a:p>
            <a:pPr>
              <a:buClr>
                <a:schemeClr val="tx2"/>
              </a:buClr>
            </a:pPr>
            <a:endParaRPr lang="en-GB" sz="2000"/>
          </a:p>
          <a:p>
            <a:pPr>
              <a:buClr>
                <a:schemeClr val="tx2"/>
              </a:buClr>
            </a:pPr>
            <a:r>
              <a:rPr lang="en-GB" sz="2000" b="1">
                <a:solidFill>
                  <a:schemeClr val="tx2"/>
                </a:solidFill>
              </a:rPr>
              <a:t>Preliminary views</a:t>
            </a:r>
          </a:p>
          <a:p>
            <a:pPr marL="285750" indent="-285750">
              <a:buClr>
                <a:schemeClr val="tx2"/>
              </a:buClr>
              <a:buFont typeface="Arial" panose="020B0604020202020204" pitchFamily="34" charset="0"/>
              <a:buChar char="•"/>
            </a:pPr>
            <a:endParaRPr lang="en-GB" sz="2400"/>
          </a:p>
          <a:p>
            <a:pPr marL="285750" indent="-285750">
              <a:buClr>
                <a:schemeClr val="tx2"/>
              </a:buClr>
              <a:buFont typeface="Arial" panose="020B0604020202020204" pitchFamily="34" charset="0"/>
              <a:buChar char="•"/>
            </a:pPr>
            <a:r>
              <a:rPr lang="en-GB" sz="2400"/>
              <a:t>Preliminary lessons learned are drawn at high level and related to next steps for existing network codes, see next slides</a:t>
            </a:r>
          </a:p>
          <a:p>
            <a:pPr marL="285750" indent="-285750">
              <a:buClr>
                <a:schemeClr val="tx2"/>
              </a:buClr>
              <a:buFont typeface="Arial" panose="020B0604020202020204" pitchFamily="34" charset="0"/>
              <a:buChar char="•"/>
            </a:pPr>
            <a:r>
              <a:rPr lang="en-GB" sz="2400"/>
              <a:t>Main: there were no disconnections of distribution generation and voltage levels at distribution level were always within margins.</a:t>
            </a:r>
            <a:endParaRPr lang="nl-NL" sz="2400"/>
          </a:p>
          <a:p>
            <a:pPr marL="285750" indent="-285750">
              <a:buClr>
                <a:schemeClr val="tx2"/>
              </a:buClr>
              <a:buFont typeface="Arial" panose="020B0604020202020204" pitchFamily="34" charset="0"/>
              <a:buChar char="•"/>
            </a:pPr>
            <a:r>
              <a:rPr lang="en-GB" sz="2400"/>
              <a:t>Final report – DSO Entity expect the panel to adapt the final report to the above.</a:t>
            </a:r>
            <a:endParaRPr lang="nl-NL" sz="2400"/>
          </a:p>
          <a:p>
            <a:pPr marL="742950" lvl="1" indent="-285750">
              <a:buClr>
                <a:schemeClr val="tx2"/>
              </a:buClr>
              <a:buFont typeface="Arial" panose="020B0604020202020204" pitchFamily="34" charset="0"/>
              <a:buChar char="•"/>
            </a:pPr>
            <a:endParaRPr lang="fr-FR" sz="2000" b="1"/>
          </a:p>
        </p:txBody>
      </p:sp>
    </p:spTree>
    <p:extLst>
      <p:ext uri="{BB962C8B-B14F-4D97-AF65-F5344CB8AC3E}">
        <p14:creationId xmlns:p14="http://schemas.microsoft.com/office/powerpoint/2010/main" val="3058805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38A17B-D4F8-46A4-8700-786CA3428031}"/>
              </a:ext>
            </a:extLst>
          </p:cNvPr>
          <p:cNvSpPr>
            <a:spLocks noGrp="1"/>
          </p:cNvSpPr>
          <p:nvPr>
            <p:ph type="title"/>
          </p:nvPr>
        </p:nvSpPr>
        <p:spPr/>
        <p:txBody>
          <a:bodyPr lIns="91440" tIns="45720" rIns="91440" bIns="45720" anchor="ctr"/>
          <a:lstStyle/>
          <a:p>
            <a:r>
              <a:rPr lang="en-US">
                <a:latin typeface="Calibri"/>
                <a:ea typeface="Calibri"/>
                <a:cs typeface="Calibri"/>
              </a:rPr>
              <a:t>Agenda</a:t>
            </a:r>
            <a:endParaRPr lang="en-GB"/>
          </a:p>
        </p:txBody>
      </p:sp>
      <p:graphicFrame>
        <p:nvGraphicFramePr>
          <p:cNvPr id="6" name="Table 5">
            <a:extLst>
              <a:ext uri="{FF2B5EF4-FFF2-40B4-BE49-F238E27FC236}">
                <a16:creationId xmlns:a16="http://schemas.microsoft.com/office/drawing/2014/main" id="{C2BA9898-86D7-AFF5-5C45-FD51241F61AC}"/>
              </a:ext>
            </a:extLst>
          </p:cNvPr>
          <p:cNvGraphicFramePr>
            <a:graphicFrameLocks noGrp="1"/>
          </p:cNvGraphicFramePr>
          <p:nvPr>
            <p:extLst>
              <p:ext uri="{D42A27DB-BD31-4B8C-83A1-F6EECF244321}">
                <p14:modId xmlns:p14="http://schemas.microsoft.com/office/powerpoint/2010/main" val="3069105728"/>
              </p:ext>
            </p:extLst>
          </p:nvPr>
        </p:nvGraphicFramePr>
        <p:xfrm>
          <a:off x="2619375" y="6184233"/>
          <a:ext cx="6838950" cy="261684"/>
        </p:xfrm>
        <a:graphic>
          <a:graphicData uri="http://schemas.openxmlformats.org/drawingml/2006/table">
            <a:tbl>
              <a:tblPr bandRow="1">
                <a:tableStyleId>{5C22544A-7EE6-4342-B048-85BDC9FD1C3A}</a:tableStyleId>
              </a:tblPr>
              <a:tblGrid>
                <a:gridCol w="3581400">
                  <a:extLst>
                    <a:ext uri="{9D8B030D-6E8A-4147-A177-3AD203B41FA5}">
                      <a16:colId xmlns:a16="http://schemas.microsoft.com/office/drawing/2014/main" val="2869026943"/>
                    </a:ext>
                  </a:extLst>
                </a:gridCol>
                <a:gridCol w="1257300">
                  <a:extLst>
                    <a:ext uri="{9D8B030D-6E8A-4147-A177-3AD203B41FA5}">
                      <a16:colId xmlns:a16="http://schemas.microsoft.com/office/drawing/2014/main" val="1936324942"/>
                    </a:ext>
                  </a:extLst>
                </a:gridCol>
                <a:gridCol w="2000250">
                  <a:extLst>
                    <a:ext uri="{9D8B030D-6E8A-4147-A177-3AD203B41FA5}">
                      <a16:colId xmlns:a16="http://schemas.microsoft.com/office/drawing/2014/main" val="1221128589"/>
                    </a:ext>
                  </a:extLst>
                </a:gridCol>
              </a:tblGrid>
              <a:tr h="180975">
                <a:tc>
                  <a:txBody>
                    <a:bodyPr/>
                    <a:lstStyle/>
                    <a:p>
                      <a:pPr marL="342900" lvl="0" indent="-342900" rtl="0" fontAlgn="base">
                        <a:lnSpc>
                          <a:spcPts val="1425"/>
                        </a:lnSpc>
                        <a:buFont typeface="+mj-lt"/>
                        <a:buAutoNum type="arabicPeriod" startAt="9"/>
                      </a:pPr>
                      <a:r>
                        <a:rPr lang="en-GB" sz="1100">
                          <a:effectLst/>
                          <a:latin typeface="Calibri" panose="020F0502020204030204" pitchFamily="34" charset="0"/>
                        </a:rPr>
                        <a:t>Czech Republic Incident Investigation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en-GB" sz="1100">
                          <a:effectLst/>
                          <a:latin typeface="Calibri" panose="020F0502020204030204" pitchFamily="34" charset="0"/>
                        </a:rPr>
                        <a:t>15.30 - 15.45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en-US" sz="1100">
                          <a:effectLst/>
                          <a:latin typeface="Calibri" panose="020F0502020204030204" pitchFamily="34" charset="0"/>
                        </a:rPr>
                        <a:t>Donatas Matelionis, ENTSO-E </a:t>
                      </a:r>
                      <a:endParaRPr lang="en-US">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extLst>
                  <a:ext uri="{0D108BD9-81ED-4DB2-BD59-A6C34878D82A}">
                    <a16:rowId xmlns:a16="http://schemas.microsoft.com/office/drawing/2014/main" val="2102666373"/>
                  </a:ext>
                </a:extLst>
              </a:tr>
            </a:tbl>
          </a:graphicData>
        </a:graphic>
      </p:graphicFrame>
      <p:sp>
        <p:nvSpPr>
          <p:cNvPr id="7" name="TextBox 6">
            <a:extLst>
              <a:ext uri="{FF2B5EF4-FFF2-40B4-BE49-F238E27FC236}">
                <a16:creationId xmlns:a16="http://schemas.microsoft.com/office/drawing/2014/main" id="{D4A0E523-79CA-7D55-5AE5-AB4640DE12D4}"/>
              </a:ext>
            </a:extLst>
          </p:cNvPr>
          <p:cNvSpPr txBox="1"/>
          <p:nvPr/>
        </p:nvSpPr>
        <p:spPr>
          <a:xfrm>
            <a:off x="2905125" y="5905500"/>
            <a:ext cx="6096000" cy="8386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lnSpc>
                <a:spcPts val="1538"/>
              </a:lnSpc>
            </a:pPr>
            <a:r>
              <a:rPr lang="en-US" sz="1100" b="1">
                <a:latin typeface="Calibri"/>
                <a:ea typeface="Segoe UI"/>
                <a:cs typeface="Segoe UI"/>
              </a:rPr>
              <a:t>Joint SO ESC/GC ESC session</a:t>
            </a:r>
            <a:r>
              <a:rPr sz="1100">
                <a:latin typeface="Calibri"/>
                <a:ea typeface="Calibri"/>
                <a:cs typeface="Calibri"/>
              </a:rPr>
              <a:t> </a:t>
            </a:r>
          </a:p>
          <a:p>
            <a:pPr rtl="0"/>
            <a:endParaRPr>
              <a:latin typeface="Segoe UI"/>
              <a:ea typeface="Segoe UI"/>
              <a:cs typeface="Segoe UI"/>
            </a:endParaRPr>
          </a:p>
          <a:p>
            <a:pPr algn="ctr"/>
            <a:endParaRPr lang="en-US"/>
          </a:p>
        </p:txBody>
      </p:sp>
      <p:graphicFrame>
        <p:nvGraphicFramePr>
          <p:cNvPr id="5" name="Table 4">
            <a:extLst>
              <a:ext uri="{FF2B5EF4-FFF2-40B4-BE49-F238E27FC236}">
                <a16:creationId xmlns:a16="http://schemas.microsoft.com/office/drawing/2014/main" id="{0ABE8F67-7C1E-DE1F-75B3-560E4573A804}"/>
              </a:ext>
            </a:extLst>
          </p:cNvPr>
          <p:cNvGraphicFramePr>
            <a:graphicFrameLocks noGrp="1"/>
          </p:cNvGraphicFramePr>
          <p:nvPr/>
        </p:nvGraphicFramePr>
        <p:xfrm>
          <a:off x="2633662" y="938815"/>
          <a:ext cx="6924675" cy="4980370"/>
        </p:xfrm>
        <a:graphic>
          <a:graphicData uri="http://schemas.openxmlformats.org/drawingml/2006/table">
            <a:tbl>
              <a:tblPr bandRow="1">
                <a:tableStyleId>{5C22544A-7EE6-4342-B048-85BDC9FD1C3A}</a:tableStyleId>
              </a:tblPr>
              <a:tblGrid>
                <a:gridCol w="3638550">
                  <a:extLst>
                    <a:ext uri="{9D8B030D-6E8A-4147-A177-3AD203B41FA5}">
                      <a16:colId xmlns:a16="http://schemas.microsoft.com/office/drawing/2014/main" val="2201650866"/>
                    </a:ext>
                  </a:extLst>
                </a:gridCol>
                <a:gridCol w="1257300">
                  <a:extLst>
                    <a:ext uri="{9D8B030D-6E8A-4147-A177-3AD203B41FA5}">
                      <a16:colId xmlns:a16="http://schemas.microsoft.com/office/drawing/2014/main" val="3407926792"/>
                    </a:ext>
                  </a:extLst>
                </a:gridCol>
                <a:gridCol w="2028825">
                  <a:extLst>
                    <a:ext uri="{9D8B030D-6E8A-4147-A177-3AD203B41FA5}">
                      <a16:colId xmlns:a16="http://schemas.microsoft.com/office/drawing/2014/main" val="2581558547"/>
                    </a:ext>
                  </a:extLst>
                </a:gridCol>
              </a:tblGrid>
              <a:tr h="361950">
                <a:tc>
                  <a:txBody>
                    <a:bodyPr/>
                    <a:lstStyle/>
                    <a:p>
                      <a:pPr algn="ctr" rtl="0" fontAlgn="base">
                        <a:lnSpc>
                          <a:spcPts val="1425"/>
                        </a:lnSpc>
                        <a:buNone/>
                      </a:pPr>
                      <a:r>
                        <a:rPr lang="en-US" sz="1100" b="1">
                          <a:solidFill>
                            <a:srgbClr val="FFFFFF"/>
                          </a:solidFill>
                          <a:effectLst/>
                          <a:latin typeface="Calibri" panose="020F0502020204030204" pitchFamily="34" charset="0"/>
                        </a:rPr>
                        <a:t>Subject </a:t>
                      </a:r>
                      <a:endParaRPr lang="en-US" b="1">
                        <a:solidFill>
                          <a:srgbClr val="FFFFFF"/>
                        </a:solidFill>
                        <a:effectLst/>
                      </a:endParaRPr>
                    </a:p>
                  </a:txBody>
                  <a:tcPr marL="66675" marR="66675">
                    <a:lnL w="9525" cap="flat" cmpd="sng" algn="ctr">
                      <a:solidFill>
                        <a:srgbClr val="A5A5A5"/>
                      </a:solidFill>
                      <a:prstDash val="solid"/>
                      <a:round/>
                      <a:headEnd type="none" w="med" len="med"/>
                      <a:tailEnd type="none" w="med" len="med"/>
                    </a:lnL>
                    <a:lnR>
                      <a:noFill/>
                    </a:lnR>
                    <a:lnT w="9525" cap="flat" cmpd="sng" algn="ctr">
                      <a:solidFill>
                        <a:srgbClr val="A5A5A5"/>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A5A5A5"/>
                    </a:solidFill>
                  </a:tcPr>
                </a:tc>
                <a:tc>
                  <a:txBody>
                    <a:bodyPr/>
                    <a:lstStyle/>
                    <a:p>
                      <a:pPr algn="ctr" rtl="0" fontAlgn="base">
                        <a:lnSpc>
                          <a:spcPts val="1425"/>
                        </a:lnSpc>
                        <a:buNone/>
                      </a:pPr>
                      <a:r>
                        <a:rPr lang="en-US" sz="1100" b="1">
                          <a:solidFill>
                            <a:srgbClr val="FFFFFF"/>
                          </a:solidFill>
                          <a:effectLst/>
                          <a:latin typeface="Calibri" panose="020F0502020204030204" pitchFamily="34" charset="0"/>
                        </a:rPr>
                        <a:t>Timing </a:t>
                      </a:r>
                      <a:endParaRPr lang="en-US" b="1">
                        <a:solidFill>
                          <a:srgbClr val="FFFFFF"/>
                        </a:solidFill>
                        <a:effectLst/>
                      </a:endParaRPr>
                    </a:p>
                  </a:txBody>
                  <a:tcPr marL="66675" marR="66675">
                    <a:lnL>
                      <a:noFill/>
                    </a:lnL>
                    <a:lnR>
                      <a:noFill/>
                    </a:lnR>
                    <a:lnT w="9525" cap="flat" cmpd="sng" algn="ctr">
                      <a:solidFill>
                        <a:srgbClr val="A5A5A5"/>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A5A5A5"/>
                    </a:solidFill>
                  </a:tcPr>
                </a:tc>
                <a:tc>
                  <a:txBody>
                    <a:bodyPr/>
                    <a:lstStyle/>
                    <a:p>
                      <a:pPr algn="ctr" rtl="0" fontAlgn="base">
                        <a:lnSpc>
                          <a:spcPts val="1425"/>
                        </a:lnSpc>
                        <a:buNone/>
                      </a:pPr>
                      <a:r>
                        <a:rPr lang="en-US" sz="1100" b="1">
                          <a:solidFill>
                            <a:srgbClr val="FFFFFF"/>
                          </a:solidFill>
                          <a:effectLst/>
                          <a:latin typeface="Calibri" panose="020F0502020204030204" pitchFamily="34" charset="0"/>
                        </a:rPr>
                        <a:t>Lead </a:t>
                      </a:r>
                      <a:endParaRPr lang="en-US" b="1">
                        <a:solidFill>
                          <a:srgbClr val="FFFFFF"/>
                        </a:solidFill>
                        <a:effectLst/>
                      </a:endParaRPr>
                    </a:p>
                  </a:txBody>
                  <a:tcPr marL="66675" marR="66675">
                    <a:lnL>
                      <a:noFill/>
                    </a:lnL>
                    <a:lnR w="9525" cap="flat" cmpd="sng" algn="ctr">
                      <a:solidFill>
                        <a:srgbClr val="A5A5A5"/>
                      </a:solidFill>
                      <a:prstDash val="solid"/>
                      <a:round/>
                      <a:headEnd type="none" w="med" len="med"/>
                      <a:tailEnd type="none" w="med" len="med"/>
                    </a:lnR>
                    <a:lnT w="9525" cap="flat" cmpd="sng" algn="ctr">
                      <a:solidFill>
                        <a:srgbClr val="A5A5A5"/>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A5A5A5"/>
                    </a:solidFill>
                  </a:tcPr>
                </a:tc>
                <a:extLst>
                  <a:ext uri="{0D108BD9-81ED-4DB2-BD59-A6C34878D82A}">
                    <a16:rowId xmlns:a16="http://schemas.microsoft.com/office/drawing/2014/main" val="10091871"/>
                  </a:ext>
                </a:extLst>
              </a:tr>
              <a:tr h="361950">
                <a:tc>
                  <a:txBody>
                    <a:bodyPr/>
                    <a:lstStyle/>
                    <a:p>
                      <a:pPr rtl="0" fontAlgn="base">
                        <a:lnSpc>
                          <a:spcPts val="1425"/>
                        </a:lnSpc>
                        <a:spcAft>
                          <a:spcPts val="600"/>
                        </a:spcAft>
                        <a:buNone/>
                      </a:pPr>
                      <a:r>
                        <a:rPr lang="en-GB" sz="1100" i="1">
                          <a:effectLst/>
                          <a:latin typeface="Calibri" panose="020F0502020204030204" pitchFamily="34" charset="0"/>
                        </a:rPr>
                        <a:t>Lunch</a:t>
                      </a:r>
                      <a:r>
                        <a:rPr lang="en-GB" sz="1100">
                          <a:effectLst/>
                          <a:latin typeface="Calibri" panose="020F0502020204030204" pitchFamily="34" charset="0"/>
                        </a:rPr>
                        <a:t>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pt-PT" sz="1100">
                          <a:effectLst/>
                          <a:latin typeface="Calibri" panose="020F0502020204030204" pitchFamily="34" charset="0"/>
                        </a:rPr>
                        <a:t>12.00 - 13.00 </a:t>
                      </a:r>
                      <a:endParaRPr lang="pt-PT">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pt-PT" sz="1100">
                          <a:effectLst/>
                          <a:latin typeface="Calibri" panose="020F0502020204030204" pitchFamily="34" charset="0"/>
                        </a:rPr>
                        <a:t>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extLst>
                  <a:ext uri="{0D108BD9-81ED-4DB2-BD59-A6C34878D82A}">
                    <a16:rowId xmlns:a16="http://schemas.microsoft.com/office/drawing/2014/main" val="2976605201"/>
                  </a:ext>
                </a:extLst>
              </a:tr>
              <a:tr h="361950">
                <a:tc>
                  <a:txBody>
                    <a:bodyPr/>
                    <a:lstStyle/>
                    <a:p>
                      <a:pPr marL="342900" lvl="0" indent="-342900" rtl="0" fontAlgn="base">
                        <a:lnSpc>
                          <a:spcPts val="1425"/>
                        </a:lnSpc>
                        <a:buFont typeface="+mj-lt"/>
                        <a:buAutoNum type="arabicPeriod"/>
                      </a:pPr>
                      <a:r>
                        <a:rPr lang="en-GB" sz="1100">
                          <a:effectLst/>
                          <a:latin typeface="Calibri" panose="020F0502020204030204" pitchFamily="34" charset="0"/>
                        </a:rPr>
                        <a:t>Opening  </a:t>
                      </a:r>
                    </a:p>
                    <a:p>
                      <a:pPr marL="342900" lvl="0" indent="-342900" rtl="0" fontAlgn="base">
                        <a:lnSpc>
                          <a:spcPts val="1425"/>
                        </a:lnSpc>
                        <a:buFont typeface="Arial" panose="020B0604020202020204" pitchFamily="34" charset="0"/>
                        <a:buChar char="•"/>
                      </a:pPr>
                      <a:r>
                        <a:rPr lang="en-GB" sz="1100">
                          <a:effectLst/>
                          <a:latin typeface="Calibri" panose="020F0502020204030204" pitchFamily="34" charset="0"/>
                        </a:rPr>
                        <a:t>Review of the agenda, approval of last meeting minutes  </a:t>
                      </a:r>
                    </a:p>
                    <a:p>
                      <a:pPr marL="342900" lvl="0" indent="-342900" rtl="0" fontAlgn="base">
                        <a:lnSpc>
                          <a:spcPts val="1425"/>
                        </a:lnSpc>
                        <a:buFont typeface="Arial" panose="020B0604020202020204" pitchFamily="34" charset="0"/>
                        <a:buChar char="•"/>
                      </a:pPr>
                      <a:r>
                        <a:rPr lang="en-GB" sz="1100">
                          <a:effectLst/>
                          <a:latin typeface="Calibri" panose="020F0502020204030204" pitchFamily="34" charset="0"/>
                        </a:rPr>
                        <a:t>Review of actions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spcAft>
                          <a:spcPts val="600"/>
                        </a:spcAft>
                        <a:buNone/>
                      </a:pPr>
                      <a:r>
                        <a:rPr lang="pt-PT" sz="1100">
                          <a:effectLst/>
                          <a:latin typeface="Calibri" panose="020F0502020204030204" pitchFamily="34" charset="0"/>
                        </a:rPr>
                        <a:t>13.00 – 13.15 </a:t>
                      </a:r>
                      <a:endParaRPr lang="pt-PT">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spcAft>
                          <a:spcPts val="600"/>
                        </a:spcAft>
                        <a:buNone/>
                      </a:pPr>
                      <a:r>
                        <a:rPr lang="pt-PT" sz="1100">
                          <a:effectLst/>
                          <a:latin typeface="Calibri" panose="020F0502020204030204" pitchFamily="34" charset="0"/>
                        </a:rPr>
                        <a:t> </a:t>
                      </a:r>
                    </a:p>
                    <a:p>
                      <a:pPr rtl="0" fontAlgn="base">
                        <a:lnSpc>
                          <a:spcPts val="1425"/>
                        </a:lnSpc>
                        <a:spcAft>
                          <a:spcPts val="600"/>
                        </a:spcAft>
                        <a:buNone/>
                      </a:pPr>
                      <a:r>
                        <a:rPr lang="pt-PT" sz="1100">
                          <a:effectLst/>
                          <a:latin typeface="Calibri" panose="020F0502020204030204" pitchFamily="34" charset="0"/>
                        </a:rPr>
                        <a:t>Uros Gabrijel, ACER</a:t>
                      </a:r>
                      <a:r>
                        <a:rPr lang="pt-PT" sz="1100">
                          <a:effectLst/>
                          <a:latin typeface="WordVisiCarriageReturn_MSFontService"/>
                        </a:rPr>
                        <a:t> </a:t>
                      </a:r>
                      <a:br>
                        <a:rPr lang="pt-PT" sz="1100">
                          <a:effectLst/>
                          <a:latin typeface="WordVisiCarriageReturn_MSFontService"/>
                        </a:rPr>
                      </a:br>
                      <a:r>
                        <a:rPr lang="pt-PT" sz="1100">
                          <a:effectLst/>
                          <a:latin typeface="Calibri" panose="020F0502020204030204" pitchFamily="34" charset="0"/>
                        </a:rPr>
                        <a:t> </a:t>
                      </a:r>
                      <a:endParaRPr lang="pt-PT">
                        <a:effectLst/>
                      </a:endParaRPr>
                    </a:p>
                    <a:p>
                      <a:pPr rtl="0" fontAlgn="base">
                        <a:lnSpc>
                          <a:spcPts val="1425"/>
                        </a:lnSpc>
                        <a:spcAft>
                          <a:spcPts val="600"/>
                        </a:spcAft>
                        <a:buNone/>
                      </a:pPr>
                      <a:r>
                        <a:rPr lang="pt-PT" sz="1100">
                          <a:effectLst/>
                          <a:latin typeface="Calibri" panose="020F0502020204030204" pitchFamily="34" charset="0"/>
                        </a:rPr>
                        <a:t>Cherry Yuen, ENTSO-E </a:t>
                      </a:r>
                      <a:endParaRPr lang="pt-PT">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extLst>
                  <a:ext uri="{0D108BD9-81ED-4DB2-BD59-A6C34878D82A}">
                    <a16:rowId xmlns:a16="http://schemas.microsoft.com/office/drawing/2014/main" val="453640471"/>
                  </a:ext>
                </a:extLst>
              </a:tr>
              <a:tr h="361950">
                <a:tc>
                  <a:txBody>
                    <a:bodyPr/>
                    <a:lstStyle/>
                    <a:p>
                      <a:pPr marL="342900" lvl="0" indent="-342900" rtl="0" fontAlgn="base">
                        <a:lnSpc>
                          <a:spcPts val="1425"/>
                        </a:lnSpc>
                        <a:buFont typeface="+mj-lt"/>
                        <a:buAutoNum type="arabicPeriod" startAt="2"/>
                      </a:pPr>
                      <a:r>
                        <a:rPr lang="en-US" sz="1100">
                          <a:effectLst/>
                          <a:latin typeface="Calibri" panose="020F0502020204030204" pitchFamily="34" charset="0"/>
                        </a:rPr>
                        <a:t>Update on the implementation actions at pan-EU level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spcAft>
                          <a:spcPts val="600"/>
                        </a:spcAft>
                        <a:buNone/>
                      </a:pPr>
                      <a:r>
                        <a:rPr lang="pt-PT" sz="1100">
                          <a:effectLst/>
                          <a:latin typeface="Calibri" panose="020F0502020204030204" pitchFamily="34" charset="0"/>
                        </a:rPr>
                        <a:t>13.15 - 13.20 </a:t>
                      </a:r>
                      <a:endParaRPr lang="pt-PT">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spcAft>
                          <a:spcPts val="600"/>
                        </a:spcAft>
                        <a:buNone/>
                      </a:pPr>
                      <a:r>
                        <a:rPr lang="de-CH" sz="1100">
                          <a:effectLst/>
                          <a:latin typeface="Calibri" panose="020F0502020204030204" pitchFamily="34" charset="0"/>
                        </a:rPr>
                        <a:t>Cherry Yuen, ENTSO-E </a:t>
                      </a:r>
                      <a:endParaRPr lang="de-CH">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extLst>
                  <a:ext uri="{0D108BD9-81ED-4DB2-BD59-A6C34878D82A}">
                    <a16:rowId xmlns:a16="http://schemas.microsoft.com/office/drawing/2014/main" val="1371631680"/>
                  </a:ext>
                </a:extLst>
              </a:tr>
              <a:tr h="361950">
                <a:tc>
                  <a:txBody>
                    <a:bodyPr/>
                    <a:lstStyle/>
                    <a:p>
                      <a:pPr marL="342900" lvl="0" indent="-342900" rtl="0" fontAlgn="base">
                        <a:lnSpc>
                          <a:spcPts val="1425"/>
                        </a:lnSpc>
                        <a:buFont typeface="+mj-lt"/>
                        <a:buAutoNum type="arabicPeriod" startAt="3"/>
                      </a:pPr>
                      <a:r>
                        <a:rPr lang="en-GB" sz="1100">
                          <a:effectLst/>
                          <a:latin typeface="Calibri" panose="020F0502020204030204" pitchFamily="34" charset="0"/>
                        </a:rPr>
                        <a:t>Report on CGM implementation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spcAft>
                          <a:spcPts val="600"/>
                        </a:spcAft>
                        <a:buNone/>
                      </a:pPr>
                      <a:r>
                        <a:rPr lang="pt-PT" sz="1100">
                          <a:effectLst/>
                          <a:latin typeface="Calibri" panose="020F0502020204030204" pitchFamily="34" charset="0"/>
                        </a:rPr>
                        <a:t>13.20 – 13.30 </a:t>
                      </a:r>
                      <a:endParaRPr lang="pt-PT">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spcAft>
                          <a:spcPts val="600"/>
                        </a:spcAft>
                        <a:buNone/>
                      </a:pPr>
                      <a:r>
                        <a:rPr lang="en-GB" sz="1100">
                          <a:effectLst/>
                          <a:latin typeface="Calibri" panose="020F0502020204030204" pitchFamily="34" charset="0"/>
                        </a:rPr>
                        <a:t>Habir Paré, ENTSO-E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extLst>
                  <a:ext uri="{0D108BD9-81ED-4DB2-BD59-A6C34878D82A}">
                    <a16:rowId xmlns:a16="http://schemas.microsoft.com/office/drawing/2014/main" val="1428231806"/>
                  </a:ext>
                </a:extLst>
              </a:tr>
              <a:tr h="209550">
                <a:tc>
                  <a:txBody>
                    <a:bodyPr/>
                    <a:lstStyle/>
                    <a:p>
                      <a:pPr marL="342900" lvl="0" indent="-342900" rtl="0" fontAlgn="base">
                        <a:lnSpc>
                          <a:spcPts val="1425"/>
                        </a:lnSpc>
                        <a:buFont typeface="+mj-lt"/>
                        <a:buAutoNum type="arabicPeriod" startAt="4"/>
                      </a:pPr>
                      <a:r>
                        <a:rPr lang="en-GB" sz="1100">
                          <a:effectLst/>
                          <a:latin typeface="Calibri" panose="020F0502020204030204" pitchFamily="34" charset="0"/>
                        </a:rPr>
                        <a:t>Frequency related topic (Tmin LER for FCR provision)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spcAft>
                          <a:spcPts val="600"/>
                        </a:spcAft>
                        <a:buNone/>
                      </a:pPr>
                      <a:r>
                        <a:rPr lang="pt-PT" sz="1100">
                          <a:effectLst/>
                          <a:latin typeface="Calibri" panose="020F0502020204030204" pitchFamily="34" charset="0"/>
                        </a:rPr>
                        <a:t>13.30 – 13.35 </a:t>
                      </a:r>
                      <a:endParaRPr lang="pt-PT">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spcAft>
                          <a:spcPts val="600"/>
                        </a:spcAft>
                        <a:buNone/>
                      </a:pPr>
                      <a:r>
                        <a:rPr lang="en-GB" sz="1100">
                          <a:effectLst/>
                          <a:latin typeface="Calibri" panose="020F0502020204030204" pitchFamily="34" charset="0"/>
                        </a:rPr>
                        <a:t>Luca Ortolano, ENTSO-E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extLst>
                  <a:ext uri="{0D108BD9-81ED-4DB2-BD59-A6C34878D82A}">
                    <a16:rowId xmlns:a16="http://schemas.microsoft.com/office/drawing/2014/main" val="276994783"/>
                  </a:ext>
                </a:extLst>
              </a:tr>
              <a:tr h="361950">
                <a:tc>
                  <a:txBody>
                    <a:bodyPr/>
                    <a:lstStyle/>
                    <a:p>
                      <a:pPr marL="342900" lvl="0" indent="-342900" rtl="0" fontAlgn="base">
                        <a:lnSpc>
                          <a:spcPts val="1425"/>
                        </a:lnSpc>
                        <a:buFont typeface="+mj-lt"/>
                        <a:buAutoNum type="arabicPeriod" startAt="5"/>
                      </a:pPr>
                      <a:r>
                        <a:rPr lang="en-GB" sz="1100">
                          <a:effectLst/>
                          <a:latin typeface="Calibri" panose="020F0502020204030204" pitchFamily="34" charset="0"/>
                        </a:rPr>
                        <a:t>Updates from the DSO Entity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spcAft>
                          <a:spcPts val="600"/>
                        </a:spcAft>
                        <a:buNone/>
                      </a:pPr>
                      <a:r>
                        <a:rPr lang="en-GB" sz="1100">
                          <a:effectLst/>
                          <a:latin typeface="Calibri" panose="020F0502020204030204" pitchFamily="34" charset="0"/>
                        </a:rPr>
                        <a:t>13.35 – 14.10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spcAft>
                          <a:spcPts val="600"/>
                        </a:spcAft>
                        <a:buNone/>
                      </a:pPr>
                      <a:r>
                        <a:rPr lang="en-GB" sz="1100">
                          <a:effectLst/>
                          <a:latin typeface="Calibri" panose="020F0502020204030204" pitchFamily="34" charset="0"/>
                        </a:rPr>
                        <a:t>Florentien Benedict, DSO Entity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extLst>
                  <a:ext uri="{0D108BD9-81ED-4DB2-BD59-A6C34878D82A}">
                    <a16:rowId xmlns:a16="http://schemas.microsoft.com/office/drawing/2014/main" val="3797135104"/>
                  </a:ext>
                </a:extLst>
              </a:tr>
              <a:tr h="361950">
                <a:tc>
                  <a:txBody>
                    <a:bodyPr/>
                    <a:lstStyle/>
                    <a:p>
                      <a:pPr marL="342900" lvl="0" indent="-342900" rtl="0" fontAlgn="base">
                        <a:lnSpc>
                          <a:spcPts val="1425"/>
                        </a:lnSpc>
                        <a:buFont typeface="+mj-lt"/>
                        <a:buAutoNum type="arabicPeriod" startAt="6"/>
                      </a:pPr>
                      <a:r>
                        <a:rPr lang="en-GB" sz="1100">
                          <a:effectLst/>
                          <a:latin typeface="Calibri" panose="020F0502020204030204" pitchFamily="34" charset="0"/>
                        </a:rPr>
                        <a:t>ENTSO-E's preparatory work for SO GL 2.0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en-GB" sz="1100">
                          <a:effectLst/>
                          <a:latin typeface="Calibri" panose="020F0502020204030204" pitchFamily="34" charset="0"/>
                        </a:rPr>
                        <a:t>14.10 - 14.25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en-GB" sz="1100">
                          <a:effectLst/>
                          <a:latin typeface="Calibri" panose="020F0502020204030204" pitchFamily="34" charset="0"/>
                        </a:rPr>
                        <a:t>Ignacio Iriarte Ramirez, ENTSO-E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extLst>
                  <a:ext uri="{0D108BD9-81ED-4DB2-BD59-A6C34878D82A}">
                    <a16:rowId xmlns:a16="http://schemas.microsoft.com/office/drawing/2014/main" val="2976620404"/>
                  </a:ext>
                </a:extLst>
              </a:tr>
              <a:tr h="361950">
                <a:tc>
                  <a:txBody>
                    <a:bodyPr/>
                    <a:lstStyle/>
                    <a:p>
                      <a:pPr marL="342900" lvl="0" indent="-342900" rtl="0" fontAlgn="base">
                        <a:lnSpc>
                          <a:spcPts val="1425"/>
                        </a:lnSpc>
                        <a:buFont typeface="+mj-lt"/>
                        <a:buAutoNum type="arabicPeriod" startAt="7"/>
                      </a:pPr>
                      <a:r>
                        <a:rPr lang="en-GB" sz="1100">
                          <a:effectLst/>
                          <a:latin typeface="Calibri" panose="020F0502020204030204" pitchFamily="34" charset="0"/>
                        </a:rPr>
                        <a:t>ICS methodology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buNone/>
                      </a:pPr>
                      <a:r>
                        <a:rPr lang="en-GB" sz="1100">
                          <a:effectLst/>
                          <a:latin typeface="Calibri" panose="020F0502020204030204" pitchFamily="34" charset="0"/>
                        </a:rPr>
                        <a:t>14.25 - 14.40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buNone/>
                      </a:pPr>
                      <a:r>
                        <a:rPr lang="de-CH" sz="1100">
                          <a:effectLst/>
                          <a:latin typeface="Calibri" panose="020F0502020204030204" pitchFamily="34" charset="0"/>
                        </a:rPr>
                        <a:t>Donna Kearney, ENTSO-E </a:t>
                      </a:r>
                      <a:endParaRPr lang="de-CH">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extLst>
                  <a:ext uri="{0D108BD9-81ED-4DB2-BD59-A6C34878D82A}">
                    <a16:rowId xmlns:a16="http://schemas.microsoft.com/office/drawing/2014/main" val="4266266570"/>
                  </a:ext>
                </a:extLst>
              </a:tr>
              <a:tr h="361950">
                <a:tc>
                  <a:txBody>
                    <a:bodyPr/>
                    <a:lstStyle/>
                    <a:p>
                      <a:pPr marL="342900" lvl="0" indent="-342900" rtl="0" fontAlgn="base">
                        <a:lnSpc>
                          <a:spcPts val="1425"/>
                        </a:lnSpc>
                        <a:buFont typeface="+mj-lt"/>
                        <a:buAutoNum type="arabicPeriod" startAt="8"/>
                      </a:pPr>
                      <a:r>
                        <a:rPr lang="en-GB" sz="1100">
                          <a:effectLst/>
                          <a:latin typeface="Calibri" panose="020F0502020204030204" pitchFamily="34" charset="0"/>
                        </a:rPr>
                        <a:t>Update on DfDs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spcAft>
                          <a:spcPts val="600"/>
                        </a:spcAft>
                        <a:buNone/>
                      </a:pPr>
                      <a:r>
                        <a:rPr lang="en-GB" sz="1100">
                          <a:effectLst/>
                          <a:latin typeface="Calibri" panose="020F0502020204030204" pitchFamily="34" charset="0"/>
                        </a:rPr>
                        <a:t>14.40 – 14.55 </a:t>
                      </a:r>
                      <a:endParaRPr lang="en-GB">
                        <a:effectLst/>
                      </a:endParaRPr>
                    </a:p>
                    <a:p>
                      <a:pPr rtl="0" fontAlgn="base">
                        <a:lnSpc>
                          <a:spcPts val="1425"/>
                        </a:lnSpc>
                        <a:buNone/>
                      </a:pPr>
                      <a:r>
                        <a:rPr lang="en-GB" sz="1100">
                          <a:effectLst/>
                          <a:latin typeface="Calibri" panose="020F0502020204030204" pitchFamily="34" charset="0"/>
                        </a:rPr>
                        <a:t>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en-GB" sz="1100">
                          <a:effectLst/>
                          <a:latin typeface="Calibri" panose="020F0502020204030204" pitchFamily="34" charset="0"/>
                        </a:rPr>
                        <a:t>Jens Albrecht, ENTSO-E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extLst>
                  <a:ext uri="{0D108BD9-81ED-4DB2-BD59-A6C34878D82A}">
                    <a16:rowId xmlns:a16="http://schemas.microsoft.com/office/drawing/2014/main" val="47187527"/>
                  </a:ext>
                </a:extLst>
              </a:tr>
              <a:tr h="361950">
                <a:tc>
                  <a:txBody>
                    <a:bodyPr/>
                    <a:lstStyle/>
                    <a:p>
                      <a:pPr marL="342900" lvl="0" indent="-342900" rtl="0" fontAlgn="base">
                        <a:lnSpc>
                          <a:spcPts val="1425"/>
                        </a:lnSpc>
                        <a:buFont typeface="+mj-lt"/>
                        <a:buAutoNum type="arabicPeriod" startAt="9"/>
                      </a:pPr>
                      <a:r>
                        <a:rPr lang="en-GB" sz="1100">
                          <a:effectLst/>
                          <a:latin typeface="Calibri" panose="020F0502020204030204" pitchFamily="34" charset="0"/>
                        </a:rPr>
                        <a:t>AOB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spcAft>
                          <a:spcPts val="600"/>
                        </a:spcAft>
                        <a:buNone/>
                      </a:pPr>
                      <a:r>
                        <a:rPr lang="en-GB" sz="1100">
                          <a:effectLst/>
                          <a:latin typeface="Calibri" panose="020F0502020204030204" pitchFamily="34" charset="0"/>
                        </a:rPr>
                        <a:t>14.55 – 15.10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tc>
                  <a:txBody>
                    <a:bodyPr/>
                    <a:lstStyle/>
                    <a:p>
                      <a:pPr rtl="0" fontAlgn="base">
                        <a:lnSpc>
                          <a:spcPts val="1425"/>
                        </a:lnSpc>
                        <a:buNone/>
                      </a:pPr>
                      <a:r>
                        <a:rPr lang="en-GB" sz="1100">
                          <a:effectLst/>
                          <a:latin typeface="Calibri" panose="020F0502020204030204" pitchFamily="34" charset="0"/>
                        </a:rPr>
                        <a:t>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noFill/>
                  </a:tcPr>
                </a:tc>
                <a:extLst>
                  <a:ext uri="{0D108BD9-81ED-4DB2-BD59-A6C34878D82A}">
                    <a16:rowId xmlns:a16="http://schemas.microsoft.com/office/drawing/2014/main" val="3636326165"/>
                  </a:ext>
                </a:extLst>
              </a:tr>
              <a:tr h="361950">
                <a:tc>
                  <a:txBody>
                    <a:bodyPr/>
                    <a:lstStyle/>
                    <a:p>
                      <a:pPr rtl="0" fontAlgn="base">
                        <a:lnSpc>
                          <a:spcPts val="1425"/>
                        </a:lnSpc>
                        <a:buNone/>
                      </a:pPr>
                      <a:r>
                        <a:rPr lang="en-GB" sz="1100" i="1">
                          <a:effectLst/>
                          <a:latin typeface="Calibri" panose="020F0502020204030204" pitchFamily="34" charset="0"/>
                        </a:rPr>
                        <a:t>Coffee break</a:t>
                      </a:r>
                      <a:r>
                        <a:rPr lang="en-GB" sz="1100">
                          <a:effectLst/>
                          <a:latin typeface="Calibri" panose="020F0502020204030204" pitchFamily="34" charset="0"/>
                        </a:rPr>
                        <a:t>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en-GB" sz="1100">
                          <a:effectLst/>
                          <a:latin typeface="Calibri" panose="020F0502020204030204" pitchFamily="34" charset="0"/>
                        </a:rPr>
                        <a:t>15.10 - 15.30 </a:t>
                      </a:r>
                      <a:endParaRPr lang="en-GB">
                        <a:effectLst/>
                      </a:endParaRP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tc>
                  <a:txBody>
                    <a:bodyPr/>
                    <a:lstStyle/>
                    <a:p>
                      <a:pPr rtl="0" fontAlgn="base">
                        <a:lnSpc>
                          <a:spcPts val="1425"/>
                        </a:lnSpc>
                        <a:buNone/>
                      </a:pPr>
                      <a:r>
                        <a:rPr lang="en-GB" sz="1100">
                          <a:effectLst/>
                          <a:latin typeface="Calibri" panose="020F0502020204030204" pitchFamily="34" charset="0"/>
                        </a:rPr>
                        <a:t> </a:t>
                      </a:r>
                    </a:p>
                  </a:txBody>
                  <a:tcPr marL="66675" marR="66675">
                    <a:lnL w="9525" cap="flat" cmpd="sng" algn="ctr">
                      <a:solidFill>
                        <a:srgbClr val="C9C9C9"/>
                      </a:solidFill>
                      <a:prstDash val="solid"/>
                      <a:round/>
                      <a:headEnd type="none" w="med" len="med"/>
                      <a:tailEnd type="none" w="med" len="med"/>
                    </a:lnL>
                    <a:lnR w="9525" cap="flat" cmpd="sng" algn="ctr">
                      <a:solidFill>
                        <a:srgbClr val="C9C9C9"/>
                      </a:solidFill>
                      <a:prstDash val="solid"/>
                      <a:round/>
                      <a:headEnd type="none" w="med" len="med"/>
                      <a:tailEnd type="none" w="med" len="med"/>
                    </a:lnR>
                    <a:lnT w="9525" cap="flat" cmpd="sng" algn="ctr">
                      <a:solidFill>
                        <a:srgbClr val="C9C9C9"/>
                      </a:solidFill>
                      <a:prstDash val="solid"/>
                      <a:round/>
                      <a:headEnd type="none" w="med" len="med"/>
                      <a:tailEnd type="none" w="med" len="med"/>
                    </a:lnT>
                    <a:lnB w="9525" cap="flat" cmpd="sng" algn="ctr">
                      <a:solidFill>
                        <a:srgbClr val="C9C9C9"/>
                      </a:solidFill>
                      <a:prstDash val="solid"/>
                      <a:round/>
                      <a:headEnd type="none" w="med" len="med"/>
                      <a:tailEnd type="none" w="med" len="med"/>
                    </a:lnB>
                    <a:solidFill>
                      <a:srgbClr val="EDEDED"/>
                    </a:solidFill>
                  </a:tcPr>
                </a:tc>
                <a:extLst>
                  <a:ext uri="{0D108BD9-81ED-4DB2-BD59-A6C34878D82A}">
                    <a16:rowId xmlns:a16="http://schemas.microsoft.com/office/drawing/2014/main" val="3683479999"/>
                  </a:ext>
                </a:extLst>
              </a:tr>
            </a:tbl>
          </a:graphicData>
        </a:graphic>
      </p:graphicFrame>
    </p:spTree>
    <p:extLst>
      <p:ext uri="{BB962C8B-B14F-4D97-AF65-F5344CB8AC3E}">
        <p14:creationId xmlns:p14="http://schemas.microsoft.com/office/powerpoint/2010/main" val="38737527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5DE2C-B4F8-BDC3-00C1-1E0A8D421D77}"/>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A9253DAE-E0D8-3326-0791-77C90DFC9245}"/>
              </a:ext>
            </a:extLst>
          </p:cNvPr>
          <p:cNvSpPr>
            <a:spLocks noGrp="1"/>
          </p:cNvSpPr>
          <p:nvPr>
            <p:ph type="title"/>
          </p:nvPr>
        </p:nvSpPr>
        <p:spPr>
          <a:xfrm>
            <a:off x="426943" y="765779"/>
            <a:ext cx="11630376" cy="965531"/>
          </a:xfrm>
        </p:spPr>
        <p:txBody>
          <a:bodyPr>
            <a:normAutofit/>
          </a:bodyPr>
          <a:lstStyle/>
          <a:p>
            <a:pPr>
              <a:buSzPct val="100000"/>
              <a:buFont typeface="Arial" panose="020B0604020202020204" pitchFamily="34" charset="0"/>
              <a:buChar char="•"/>
            </a:pPr>
            <a:r>
              <a:rPr lang="en-GB" sz="3600"/>
              <a:t>2. Updates on DSO Entity works on Iberian black out (3/3) </a:t>
            </a:r>
          </a:p>
        </p:txBody>
      </p:sp>
      <p:sp>
        <p:nvSpPr>
          <p:cNvPr id="7" name="TextBox 6">
            <a:extLst>
              <a:ext uri="{FF2B5EF4-FFF2-40B4-BE49-F238E27FC236}">
                <a16:creationId xmlns:a16="http://schemas.microsoft.com/office/drawing/2014/main" id="{3CBE507B-7610-88FE-EC2E-2CFCC40352EC}"/>
              </a:ext>
            </a:extLst>
          </p:cNvPr>
          <p:cNvSpPr txBox="1"/>
          <p:nvPr/>
        </p:nvSpPr>
        <p:spPr>
          <a:xfrm>
            <a:off x="716747" y="1505215"/>
            <a:ext cx="10758505" cy="3170099"/>
          </a:xfrm>
          <a:prstGeom prst="rect">
            <a:avLst/>
          </a:prstGeom>
          <a:noFill/>
        </p:spPr>
        <p:txBody>
          <a:bodyPr wrap="square">
            <a:spAutoFit/>
          </a:bodyPr>
          <a:lstStyle/>
          <a:p>
            <a:pPr marL="285750" indent="-285750">
              <a:buClr>
                <a:schemeClr val="tx2"/>
              </a:buClr>
              <a:buFont typeface="Arial" panose="020B0604020202020204" pitchFamily="34" charset="0"/>
              <a:buChar char="•"/>
            </a:pPr>
            <a:endParaRPr lang="en-GB" sz="2000"/>
          </a:p>
          <a:p>
            <a:pPr>
              <a:buClr>
                <a:schemeClr val="tx2"/>
              </a:buClr>
            </a:pPr>
            <a:endParaRPr lang="en-GB" sz="2000"/>
          </a:p>
          <a:p>
            <a:pPr>
              <a:buClr>
                <a:schemeClr val="tx2"/>
              </a:buClr>
            </a:pPr>
            <a:r>
              <a:rPr lang="en-GB" sz="2000" b="1">
                <a:solidFill>
                  <a:schemeClr val="tx2"/>
                </a:solidFill>
              </a:rPr>
              <a:t>Next steps</a:t>
            </a:r>
          </a:p>
          <a:p>
            <a:pPr marL="285750" indent="-285750">
              <a:buClr>
                <a:schemeClr val="tx2"/>
              </a:buClr>
              <a:buFont typeface="Arial" panose="020B0604020202020204" pitchFamily="34" charset="0"/>
              <a:buChar char="•"/>
            </a:pPr>
            <a:endParaRPr lang="en-GB" sz="2400"/>
          </a:p>
          <a:p>
            <a:pPr marL="285750" indent="-285750">
              <a:buClr>
                <a:schemeClr val="tx2"/>
              </a:buClr>
              <a:buFont typeface="Arial" panose="020B0604020202020204" pitchFamily="34" charset="0"/>
              <a:buChar char="•"/>
            </a:pPr>
            <a:r>
              <a:rPr lang="en-GB" sz="2400"/>
              <a:t>Final report – DSO Entity expects the panel to adapt the final report to the findings from the cooperation with the Ad Hoc Taskforce Iberian black out</a:t>
            </a:r>
            <a:endParaRPr lang="nl-NL" sz="2400"/>
          </a:p>
          <a:p>
            <a:pPr marL="285750" indent="-285750">
              <a:buClr>
                <a:schemeClr val="tx2"/>
              </a:buClr>
              <a:buFont typeface="Arial" panose="020B0604020202020204" pitchFamily="34" charset="0"/>
              <a:buChar char="•"/>
            </a:pPr>
            <a:r>
              <a:rPr lang="en-GB" sz="2400"/>
              <a:t>Next steps on high level and related to general findings for existing network codes, see next slides</a:t>
            </a:r>
            <a:endParaRPr lang="nl-NL" sz="2400"/>
          </a:p>
          <a:p>
            <a:pPr marL="742950" lvl="1" indent="-285750">
              <a:buClr>
                <a:schemeClr val="tx2"/>
              </a:buClr>
              <a:buFont typeface="Arial" panose="020B0604020202020204" pitchFamily="34" charset="0"/>
              <a:buChar char="•"/>
            </a:pPr>
            <a:endParaRPr lang="fr-FR" sz="2000" b="1"/>
          </a:p>
        </p:txBody>
      </p:sp>
    </p:spTree>
    <p:extLst>
      <p:ext uri="{BB962C8B-B14F-4D97-AF65-F5344CB8AC3E}">
        <p14:creationId xmlns:p14="http://schemas.microsoft.com/office/powerpoint/2010/main" val="4241050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24CE7-FDE8-A91A-8BFC-8E3783C65851}"/>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A330ED4A-6226-6E85-6709-B2A5E7D92E8A}"/>
              </a:ext>
            </a:extLst>
          </p:cNvPr>
          <p:cNvSpPr>
            <a:spLocks noGrp="1"/>
          </p:cNvSpPr>
          <p:nvPr>
            <p:ph type="title"/>
          </p:nvPr>
        </p:nvSpPr>
        <p:spPr>
          <a:xfrm>
            <a:off x="426943" y="765779"/>
            <a:ext cx="11630376" cy="965531"/>
          </a:xfrm>
        </p:spPr>
        <p:txBody>
          <a:bodyPr>
            <a:normAutofit/>
          </a:bodyPr>
          <a:lstStyle/>
          <a:p>
            <a:pPr>
              <a:buSzPct val="100000"/>
              <a:buFont typeface="Arial" panose="020B0604020202020204" pitchFamily="34" charset="0"/>
              <a:buChar char="•"/>
            </a:pPr>
            <a:r>
              <a:rPr lang="en-GB" sz="3600"/>
              <a:t>3. Recommendations for SOGL (1/1) </a:t>
            </a:r>
          </a:p>
        </p:txBody>
      </p:sp>
      <p:sp>
        <p:nvSpPr>
          <p:cNvPr id="7" name="TextBox 6">
            <a:extLst>
              <a:ext uri="{FF2B5EF4-FFF2-40B4-BE49-F238E27FC236}">
                <a16:creationId xmlns:a16="http://schemas.microsoft.com/office/drawing/2014/main" id="{4182ED35-5900-622D-9D1E-187D2BB5D81A}"/>
              </a:ext>
            </a:extLst>
          </p:cNvPr>
          <p:cNvSpPr txBox="1"/>
          <p:nvPr/>
        </p:nvSpPr>
        <p:spPr>
          <a:xfrm>
            <a:off x="716747" y="1505215"/>
            <a:ext cx="10758505" cy="5324535"/>
          </a:xfrm>
          <a:prstGeom prst="rect">
            <a:avLst/>
          </a:prstGeom>
          <a:noFill/>
        </p:spPr>
        <p:txBody>
          <a:bodyPr wrap="square" lIns="91440" tIns="45720" rIns="91440" bIns="45720" anchor="t">
            <a:spAutoFit/>
          </a:bodyPr>
          <a:lstStyle/>
          <a:p>
            <a:pPr marL="285750" indent="-285750">
              <a:buClr>
                <a:schemeClr val="tx2"/>
              </a:buClr>
              <a:buFont typeface="Arial" panose="020B0604020202020204" pitchFamily="34" charset="0"/>
              <a:buChar char="•"/>
            </a:pPr>
            <a:endParaRPr lang="en-GB" sz="2000"/>
          </a:p>
          <a:p>
            <a:pPr marL="285750" indent="-285750">
              <a:buClr>
                <a:schemeClr val="tx2"/>
              </a:buClr>
              <a:buFont typeface="Arial" panose="020B0604020202020204" pitchFamily="34" charset="0"/>
              <a:buChar char="•"/>
            </a:pPr>
            <a:r>
              <a:rPr lang="en-GB" sz="2000"/>
              <a:t>High level and related to next steps for existing network codes</a:t>
            </a:r>
          </a:p>
          <a:p>
            <a:pPr marL="285750" indent="-285750">
              <a:buClr>
                <a:schemeClr val="tx2"/>
              </a:buClr>
              <a:buFont typeface="Arial" panose="020B0604020202020204" pitchFamily="34" charset="0"/>
              <a:buChar char="•"/>
            </a:pPr>
            <a:r>
              <a:rPr lang="en-GB" sz="2000"/>
              <a:t>Currently DSO Entity is working on an internal document on SOGL recommendations</a:t>
            </a:r>
          </a:p>
          <a:p>
            <a:pPr marL="285750" indent="-285750">
              <a:buClr>
                <a:schemeClr val="tx2"/>
              </a:buClr>
              <a:buFont typeface="Arial" panose="020B0604020202020204" pitchFamily="34" charset="0"/>
              <a:buChar char="•"/>
            </a:pPr>
            <a:r>
              <a:rPr lang="en-GB" sz="2000"/>
              <a:t>Revision of SOGL aims to enhance the role of DSOs</a:t>
            </a:r>
          </a:p>
          <a:p>
            <a:pPr>
              <a:buClr>
                <a:schemeClr val="tx2"/>
              </a:buClr>
            </a:pPr>
            <a:endParaRPr lang="en-GB" sz="2000"/>
          </a:p>
          <a:p>
            <a:pPr>
              <a:buClr>
                <a:schemeClr val="tx2"/>
              </a:buClr>
            </a:pPr>
            <a:r>
              <a:rPr lang="en-GB" sz="2000">
                <a:solidFill>
                  <a:schemeClr val="tx2"/>
                </a:solidFill>
              </a:rPr>
              <a:t>Main points of attention:</a:t>
            </a:r>
          </a:p>
          <a:p>
            <a:pPr marL="742950" lvl="1" indent="-285750">
              <a:buClr>
                <a:schemeClr val="tx2"/>
              </a:buClr>
              <a:buFont typeface="Arial" panose="020B0604020202020204" pitchFamily="34" charset="0"/>
              <a:buChar char="•"/>
            </a:pPr>
            <a:endParaRPr lang="en-GB" sz="2000"/>
          </a:p>
          <a:p>
            <a:pPr marL="742950" lvl="1" indent="-285750">
              <a:buClr>
                <a:schemeClr val="tx2"/>
              </a:buClr>
              <a:buFont typeface="Arial" panose="020B0604020202020204" pitchFamily="34" charset="0"/>
              <a:buChar char="•"/>
            </a:pPr>
            <a:r>
              <a:rPr lang="en-GB" sz="2000"/>
              <a:t>DSOs' role is growing in significance in SOGL due to renewables and other technologies (EVs, heat pumps).</a:t>
            </a:r>
          </a:p>
          <a:p>
            <a:pPr marL="742950" lvl="1" indent="-285750">
              <a:buClr>
                <a:schemeClr val="tx2"/>
              </a:buClr>
              <a:buFont typeface="Arial" panose="020B0604020202020204" pitchFamily="34" charset="0"/>
              <a:buChar char="•"/>
            </a:pPr>
            <a:r>
              <a:rPr lang="en-GB" sz="2000"/>
              <a:t>SOGL expected to remain unchanged for ~10 years → must address current and future challenges.</a:t>
            </a:r>
          </a:p>
          <a:p>
            <a:pPr marL="742950" lvl="1" indent="-285750">
              <a:buClr>
                <a:schemeClr val="tx2"/>
              </a:buClr>
              <a:buFont typeface="Arial" panose="020B0604020202020204" pitchFamily="34" charset="0"/>
              <a:buChar char="•"/>
            </a:pPr>
            <a:r>
              <a:rPr lang="en-GB" sz="2000"/>
              <a:t>Any new revision of SOGL must include DSOs’ rights and obligations to avoid gaps in system stability and resilience</a:t>
            </a:r>
          </a:p>
          <a:p>
            <a:pPr marL="742950" lvl="1" indent="-285750">
              <a:buClr>
                <a:schemeClr val="tx2"/>
              </a:buClr>
              <a:buFont typeface="Arial" panose="020B0604020202020204" pitchFamily="34" charset="0"/>
              <a:buChar char="•"/>
            </a:pPr>
            <a:r>
              <a:rPr lang="en-GB" sz="2000"/>
              <a:t>Key extension needed: enable DSOs to manage systems and fully coordinate with TSOs</a:t>
            </a:r>
          </a:p>
          <a:p>
            <a:pPr marL="742950" lvl="1" indent="-285750">
              <a:buClr>
                <a:schemeClr val="tx2"/>
              </a:buClr>
              <a:buFont typeface="Arial" panose="020B0604020202020204" pitchFamily="34" charset="0"/>
              <a:buChar char="•"/>
            </a:pPr>
            <a:r>
              <a:rPr lang="en-GB" sz="2000"/>
              <a:t>DSOs need to control reactive power/voltage control</a:t>
            </a:r>
          </a:p>
          <a:p>
            <a:pPr marL="742950" lvl="1" indent="-285750">
              <a:buClr>
                <a:schemeClr val="tx2"/>
              </a:buClr>
              <a:buFont typeface="Arial" panose="020B0604020202020204" pitchFamily="34" charset="0"/>
              <a:buChar char="•"/>
            </a:pPr>
            <a:r>
              <a:rPr lang="en-GB" sz="2000"/>
              <a:t>DSOs prefer binding national collaborative training</a:t>
            </a:r>
          </a:p>
          <a:p>
            <a:pPr marL="742950" lvl="1" indent="-285750">
              <a:buClr>
                <a:schemeClr val="tx2"/>
              </a:buClr>
              <a:buFont typeface="Arial" panose="020B0604020202020204" pitchFamily="34" charset="0"/>
              <a:buChar char="•"/>
            </a:pPr>
            <a:endParaRPr lang="fr-FR" sz="2000" b="1"/>
          </a:p>
        </p:txBody>
      </p:sp>
    </p:spTree>
    <p:extLst>
      <p:ext uri="{BB962C8B-B14F-4D97-AF65-F5344CB8AC3E}">
        <p14:creationId xmlns:p14="http://schemas.microsoft.com/office/powerpoint/2010/main" val="3939503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01ED5C-C8B0-353D-2250-99296AB823C4}"/>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527F71A5-0855-3F2F-1B3E-D6DDBE60963E}"/>
              </a:ext>
            </a:extLst>
          </p:cNvPr>
          <p:cNvSpPr>
            <a:spLocks noGrp="1"/>
          </p:cNvSpPr>
          <p:nvPr>
            <p:ph type="title"/>
          </p:nvPr>
        </p:nvSpPr>
        <p:spPr>
          <a:xfrm>
            <a:off x="426943" y="765779"/>
            <a:ext cx="11630376" cy="965531"/>
          </a:xfrm>
        </p:spPr>
        <p:txBody>
          <a:bodyPr>
            <a:normAutofit/>
          </a:bodyPr>
          <a:lstStyle/>
          <a:p>
            <a:pPr>
              <a:buSzPct val="100000"/>
              <a:buFont typeface="Arial" panose="020B0604020202020204" pitchFamily="34" charset="0"/>
              <a:buChar char="•"/>
            </a:pPr>
            <a:r>
              <a:rPr lang="en-GB" sz="3600"/>
              <a:t>3. Recommendations for E&amp;R (1/1) </a:t>
            </a:r>
          </a:p>
        </p:txBody>
      </p:sp>
      <p:sp>
        <p:nvSpPr>
          <p:cNvPr id="7" name="TextBox 6">
            <a:extLst>
              <a:ext uri="{FF2B5EF4-FFF2-40B4-BE49-F238E27FC236}">
                <a16:creationId xmlns:a16="http://schemas.microsoft.com/office/drawing/2014/main" id="{5DE7ACA6-A200-439C-767A-515FEB74CE5D}"/>
              </a:ext>
            </a:extLst>
          </p:cNvPr>
          <p:cNvSpPr txBox="1"/>
          <p:nvPr/>
        </p:nvSpPr>
        <p:spPr>
          <a:xfrm>
            <a:off x="716747" y="2031426"/>
            <a:ext cx="10758505" cy="2985433"/>
          </a:xfrm>
          <a:prstGeom prst="rect">
            <a:avLst/>
          </a:prstGeom>
          <a:noFill/>
        </p:spPr>
        <p:txBody>
          <a:bodyPr wrap="square">
            <a:spAutoFit/>
          </a:bodyPr>
          <a:lstStyle/>
          <a:p>
            <a:pPr marL="285750" indent="-285750">
              <a:buClr>
                <a:schemeClr val="tx2"/>
              </a:buClr>
              <a:buFont typeface="Arial" panose="020B0604020202020204" pitchFamily="34" charset="0"/>
              <a:buChar char="•"/>
            </a:pPr>
            <a:endParaRPr lang="en-GB" sz="2000"/>
          </a:p>
          <a:p>
            <a:pPr marL="285750" indent="-285750">
              <a:buClr>
                <a:schemeClr val="tx2"/>
              </a:buClr>
              <a:buFont typeface="Arial" panose="020B0604020202020204" pitchFamily="34" charset="0"/>
              <a:buChar char="•"/>
            </a:pPr>
            <a:r>
              <a:rPr lang="en-US" sz="2400"/>
              <a:t>The rationale behind this directive is that the system will reach its limits under certain (unforeseen) circumstances (ALERT) and could fail if no immediate action is taken (EMERGENCY), requiring a controlled rebuild.</a:t>
            </a:r>
          </a:p>
          <a:p>
            <a:pPr marL="285750" indent="-285750">
              <a:buClr>
                <a:schemeClr val="tx2"/>
              </a:buClr>
              <a:buFont typeface="Arial" panose="020B0604020202020204" pitchFamily="34" charset="0"/>
              <a:buChar char="•"/>
            </a:pPr>
            <a:r>
              <a:rPr lang="en-US" sz="2400"/>
              <a:t>Given that significant amounts of generation and demand response are located in the DSO systems, these types of system risks could also arise regionally. </a:t>
            </a:r>
          </a:p>
          <a:p>
            <a:pPr marL="285750" indent="-285750">
              <a:buClr>
                <a:schemeClr val="tx2"/>
              </a:buClr>
              <a:buFont typeface="Arial" panose="020B0604020202020204" pitchFamily="34" charset="0"/>
              <a:buChar char="•"/>
            </a:pPr>
            <a:r>
              <a:rPr lang="en-US" sz="2400"/>
              <a:t>In those cases, DSOs would want regulatory resources, rather than just a generic emergency button that still needs to be activated.</a:t>
            </a:r>
            <a:endParaRPr lang="fr-FR" sz="2400" b="1"/>
          </a:p>
        </p:txBody>
      </p:sp>
    </p:spTree>
    <p:extLst>
      <p:ext uri="{BB962C8B-B14F-4D97-AF65-F5344CB8AC3E}">
        <p14:creationId xmlns:p14="http://schemas.microsoft.com/office/powerpoint/2010/main" val="16750545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E590B-558D-BB0E-0210-37FE889A8AC8}"/>
              </a:ext>
            </a:extLst>
          </p:cNvPr>
          <p:cNvSpPr>
            <a:spLocks noGrp="1"/>
          </p:cNvSpPr>
          <p:nvPr>
            <p:ph type="title"/>
          </p:nvPr>
        </p:nvSpPr>
        <p:spPr>
          <a:xfrm>
            <a:off x="2359152" y="3429000"/>
            <a:ext cx="9272016" cy="744858"/>
          </a:xfrm>
        </p:spPr>
        <p:txBody>
          <a:bodyPr>
            <a:normAutofit fontScale="90000"/>
          </a:bodyPr>
          <a:lstStyle/>
          <a:p>
            <a:r>
              <a:rPr lang="en-GB"/>
              <a:t>Thank you for your attention</a:t>
            </a:r>
            <a:br>
              <a:rPr lang="en-GB"/>
            </a:br>
            <a:r>
              <a:rPr lang="en-GB"/>
              <a:t>Questions?</a:t>
            </a:r>
            <a:br>
              <a:rPr lang="en-GB"/>
            </a:br>
            <a:r>
              <a:rPr lang="en-GB"/>
              <a:t>Please contact us!</a:t>
            </a:r>
            <a:endParaRPr lang="en-IE"/>
          </a:p>
        </p:txBody>
      </p:sp>
    </p:spTree>
    <p:extLst>
      <p:ext uri="{BB962C8B-B14F-4D97-AF65-F5344CB8AC3E}">
        <p14:creationId xmlns:p14="http://schemas.microsoft.com/office/powerpoint/2010/main" val="1207290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73F53-039C-6E2F-5B18-8CBCEBFF6F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8E464C-5014-EBC6-CD87-AB726F39F608}"/>
              </a:ext>
            </a:extLst>
          </p:cNvPr>
          <p:cNvSpPr>
            <a:spLocks noGrp="1"/>
          </p:cNvSpPr>
          <p:nvPr>
            <p:ph type="title"/>
          </p:nvPr>
        </p:nvSpPr>
        <p:spPr>
          <a:xfrm>
            <a:off x="287106" y="3197946"/>
            <a:ext cx="11617788" cy="356467"/>
          </a:xfrm>
        </p:spPr>
        <p:txBody>
          <a:bodyPr lIns="91440" tIns="45720" rIns="91440" bIns="45720" anchor="ctr"/>
          <a:lstStyle/>
          <a:p>
            <a:r>
              <a:rPr lang="en-GB" sz="3200">
                <a:latin typeface="Calibri"/>
                <a:ea typeface="Calibri"/>
                <a:cs typeface="Calibri"/>
              </a:rPr>
              <a:t>6. ENTSO-E's preparatory work for SO GL2.0</a:t>
            </a:r>
          </a:p>
        </p:txBody>
      </p:sp>
      <p:sp>
        <p:nvSpPr>
          <p:cNvPr id="3" name="Text Placeholder 2">
            <a:extLst>
              <a:ext uri="{FF2B5EF4-FFF2-40B4-BE49-F238E27FC236}">
                <a16:creationId xmlns:a16="http://schemas.microsoft.com/office/drawing/2014/main" id="{71F45A66-76C5-4CA8-13C6-D483EAA28A88}"/>
              </a:ext>
            </a:extLst>
          </p:cNvPr>
          <p:cNvSpPr>
            <a:spLocks noGrp="1"/>
          </p:cNvSpPr>
          <p:nvPr>
            <p:ph type="body" sz="quarter" idx="4294967295"/>
          </p:nvPr>
        </p:nvSpPr>
        <p:spPr>
          <a:xfrm>
            <a:off x="574675" y="3554413"/>
            <a:ext cx="11617325" cy="1017587"/>
          </a:xfrm>
        </p:spPr>
        <p:txBody>
          <a:bodyPr vert="horz" lIns="91440" tIns="45720" rIns="91440" bIns="45720" rtlCol="0" anchor="t">
            <a:normAutofit/>
          </a:bodyPr>
          <a:lstStyle/>
          <a:p>
            <a:endParaRPr lang="en-US" sz="2000">
              <a:solidFill>
                <a:schemeClr val="accent2"/>
              </a:solidFill>
            </a:endParaRPr>
          </a:p>
          <a:p>
            <a:r>
              <a:rPr lang="en-US" sz="2000">
                <a:solidFill>
                  <a:schemeClr val="accent2"/>
                </a:solidFill>
                <a:latin typeface="Calibri"/>
                <a:ea typeface="Calibri"/>
                <a:cs typeface="Calibri"/>
              </a:rPr>
              <a:t>Ignacio Iriarte Ramirez, ENTSOE </a:t>
            </a:r>
            <a:r>
              <a:rPr lang="en-GB" sz="2000">
                <a:solidFill>
                  <a:schemeClr val="accent2"/>
                </a:solidFill>
                <a:latin typeface="Calibri"/>
                <a:ea typeface="Calibri"/>
                <a:cs typeface="Calibri"/>
              </a:rPr>
              <a:t> </a:t>
            </a:r>
            <a:endParaRPr lang="en-US" sz="2000">
              <a:solidFill>
                <a:schemeClr val="accent2"/>
              </a:solidFill>
              <a:latin typeface="Calibri"/>
              <a:ea typeface="Calibri"/>
              <a:cs typeface="Calibri"/>
            </a:endParaRPr>
          </a:p>
          <a:p>
            <a:endParaRPr lang="en-GB" sz="2000">
              <a:solidFill>
                <a:schemeClr val="accent2"/>
              </a:solidFill>
            </a:endParaRPr>
          </a:p>
        </p:txBody>
      </p:sp>
    </p:spTree>
    <p:extLst>
      <p:ext uri="{BB962C8B-B14F-4D97-AF65-F5344CB8AC3E}">
        <p14:creationId xmlns:p14="http://schemas.microsoft.com/office/powerpoint/2010/main" val="1356103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2F31B-EDCC-6392-632B-CBE76436021B}"/>
            </a:ext>
          </a:extLst>
        </p:cNvPr>
        <p:cNvGrpSpPr/>
        <p:nvPr/>
      </p:nvGrpSpPr>
      <p:grpSpPr>
        <a:xfrm>
          <a:off x="0" y="0"/>
          <a:ext cx="0" cy="0"/>
          <a:chOff x="0" y="0"/>
          <a:chExt cx="0" cy="0"/>
        </a:xfrm>
      </p:grpSpPr>
      <p:sp>
        <p:nvSpPr>
          <p:cNvPr id="9" name="Rechteck 1">
            <a:extLst>
              <a:ext uri="{FF2B5EF4-FFF2-40B4-BE49-F238E27FC236}">
                <a16:creationId xmlns:a16="http://schemas.microsoft.com/office/drawing/2014/main" id="{204E606A-F73D-560C-D453-6F8132F35211}"/>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a:ln>
                <a:noFill/>
              </a:ln>
              <a:solidFill>
                <a:srgbClr val="0FB29A"/>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8" name="Title 1">
            <a:extLst>
              <a:ext uri="{FF2B5EF4-FFF2-40B4-BE49-F238E27FC236}">
                <a16:creationId xmlns:a16="http://schemas.microsoft.com/office/drawing/2014/main" id="{221D5B73-8D75-6ABD-E233-0577F650F4CF}"/>
              </a:ext>
            </a:extLst>
          </p:cNvPr>
          <p:cNvSpPr txBox="1">
            <a:spLocks/>
          </p:cNvSpPr>
          <p:nvPr>
            <p:custDataLst>
              <p:tags r:id="rId1"/>
            </p:custDataLst>
          </p:nvPr>
        </p:nvSpPr>
        <p:spPr>
          <a:xfrm>
            <a:off x="1055440" y="1988840"/>
            <a:ext cx="9332681" cy="1000274"/>
          </a:xfrm>
          <a:prstGeom prst="rect">
            <a:avLst/>
          </a:prstGeom>
        </p:spPr>
        <p:txBody>
          <a:bodyPr vert="horz" wrap="square" lIns="0" tIns="0" rIns="0" bIns="0" rtlCol="0" anchor="t" anchorCtr="0">
            <a:spAutoFit/>
          </a:bodyPr>
          <a:lstStyle>
            <a:lvl1pPr algn="l" defTabSz="914400" rtl="0" eaLnBrk="1" latinLnBrk="0" hangingPunct="1">
              <a:lnSpc>
                <a:spcPts val="2614"/>
              </a:lnSpc>
              <a:spcBef>
                <a:spcPct val="0"/>
              </a:spcBef>
              <a:buNone/>
              <a:defRPr sz="2000" b="1" kern="1200">
                <a:solidFill>
                  <a:schemeClr val="tx1"/>
                </a:solidFill>
                <a:latin typeface="+mj-lt"/>
                <a:ea typeface="+mj-ea"/>
                <a:cs typeface="+mj-cs"/>
              </a:defRPr>
            </a:lvl1pPr>
          </a:lstStyle>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400" b="0" i="0" u="none" strike="noStrike" kern="1200" cap="none" spc="0" normalizeH="0" baseline="0" noProof="0">
              <a:ln>
                <a:noFill/>
              </a:ln>
              <a:solidFill>
                <a:srgbClr val="3A3A3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400" b="0" i="0" u="none" strike="noStrike" kern="1200" cap="none" spc="0" normalizeH="0" baseline="0" noProof="0">
              <a:ln>
                <a:noFill/>
              </a:ln>
              <a:solidFill>
                <a:srgbClr val="3A3A3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400" b="0" i="0" u="none" strike="noStrike" kern="1200" cap="none" spc="0" normalizeH="0" baseline="0" noProof="0">
              <a:ln>
                <a:noFill/>
              </a:ln>
              <a:solidFill>
                <a:srgbClr val="3A3A3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6" name="Content Placeholder 4" descr="Aerial view, drone footage of electrical substation. Electric power transmission lines running across the towers, electric power being divided to go to different places. Electric power transmission center in the countryside.">
            <a:extLst>
              <a:ext uri="{FF2B5EF4-FFF2-40B4-BE49-F238E27FC236}">
                <a16:creationId xmlns:a16="http://schemas.microsoft.com/office/drawing/2014/main" id="{6031F194-041F-344C-F6EE-7E63E33A390E}"/>
              </a:ext>
            </a:extLst>
          </p:cNvPr>
          <p:cNvPicPr>
            <a:picLocks noChangeAspect="1"/>
          </p:cNvPicPr>
          <p:nvPr/>
        </p:nvPicPr>
        <p:blipFill>
          <a:blip r:embed="rId3"/>
          <a:srcRect l="32630" r="39943" b="-2"/>
          <a:stretch>
            <a:fillRect/>
          </a:stretch>
        </p:blipFill>
        <p:spPr>
          <a:xfrm>
            <a:off x="561377" y="1052736"/>
            <a:ext cx="1666921" cy="4558277"/>
          </a:xfrm>
          <a:prstGeom prst="rect">
            <a:avLst/>
          </a:prstGeom>
          <a:noFill/>
        </p:spPr>
      </p:pic>
      <p:sp>
        <p:nvSpPr>
          <p:cNvPr id="2" name="Title 1">
            <a:extLst>
              <a:ext uri="{FF2B5EF4-FFF2-40B4-BE49-F238E27FC236}">
                <a16:creationId xmlns:a16="http://schemas.microsoft.com/office/drawing/2014/main" id="{CFB33A33-C1FB-85C2-3E4F-0E0D5B28CE36}"/>
              </a:ext>
            </a:extLst>
          </p:cNvPr>
          <p:cNvSpPr>
            <a:spLocks noGrp="1"/>
          </p:cNvSpPr>
          <p:nvPr>
            <p:ph type="title"/>
          </p:nvPr>
        </p:nvSpPr>
        <p:spPr>
          <a:xfrm>
            <a:off x="382588" y="296863"/>
            <a:ext cx="11617788" cy="599249"/>
          </a:xfrm>
        </p:spPr>
        <p:txBody>
          <a:bodyPr/>
          <a:lstStyle/>
          <a:p>
            <a:r>
              <a:rPr lang="en-US" sz="3200">
                <a:ea typeface="Calibri" panose="020F0502020204030204" pitchFamily="34" charset="0"/>
              </a:rPr>
              <a:t>Introduction</a:t>
            </a:r>
            <a:endParaRPr lang="de-DE"/>
          </a:p>
        </p:txBody>
      </p:sp>
      <p:sp>
        <p:nvSpPr>
          <p:cNvPr id="4" name="TextBox 7">
            <a:extLst>
              <a:ext uri="{FF2B5EF4-FFF2-40B4-BE49-F238E27FC236}">
                <a16:creationId xmlns:a16="http://schemas.microsoft.com/office/drawing/2014/main" id="{6E65A5F7-2401-A9D5-01BC-F02DBB26B53C}"/>
              </a:ext>
            </a:extLst>
          </p:cNvPr>
          <p:cNvSpPr txBox="1">
            <a:spLocks noGrp="1"/>
          </p:cNvSpPr>
          <p:nvPr>
            <p:ph idx="1"/>
          </p:nvPr>
        </p:nvSpPr>
        <p:spPr>
          <a:xfrm>
            <a:off x="2454315" y="821827"/>
            <a:ext cx="9534485" cy="4625688"/>
          </a:xfrm>
          <a:prstGeom prst="rect">
            <a:avLst/>
          </a:prstGeom>
          <a:noFill/>
        </p:spPr>
        <p:txBody>
          <a:bodyPr wrap="square" lIns="91440" tIns="45720" rIns="91440" bIns="45720" anchor="ctr">
            <a:normAutofit/>
          </a:bodyPr>
          <a:lstStyle/>
          <a:p>
            <a:pPr marL="342900" indent="-342900" fontAlgn="base">
              <a:buFont typeface="Arial" panose="020B0604020202020204" pitchFamily="34" charset="0"/>
              <a:buChar char="•"/>
            </a:pPr>
            <a:r>
              <a:rPr lang="en-US" sz="2000">
                <a:solidFill>
                  <a:srgbClr val="0F218B"/>
                </a:solidFill>
                <a:latin typeface="Calibri"/>
                <a:ea typeface="Calibri"/>
                <a:cs typeface="Calibri"/>
              </a:rPr>
              <a:t>The system evolution accompanied by the EU policies to drive RES integration, electrification, and consequently decentralization, poses many challenges like variability, forecast volatility, grid flexibility, complex system management </a:t>
            </a:r>
            <a:r>
              <a:rPr lang="en-US" sz="2000">
                <a:solidFill>
                  <a:srgbClr val="0F218B"/>
                </a:solidFill>
                <a:latin typeface="Calibri"/>
                <a:ea typeface="Calibri"/>
                <a:cs typeface="Calibri"/>
                <a:sym typeface="Wingdings" panose="05000000000000000000" pitchFamily="2" charset="2"/>
              </a:rPr>
              <a:t></a:t>
            </a:r>
            <a:r>
              <a:rPr lang="en-US" sz="2000">
                <a:solidFill>
                  <a:srgbClr val="0F218B"/>
                </a:solidFill>
                <a:latin typeface="Calibri"/>
                <a:ea typeface="Calibri"/>
                <a:cs typeface="Calibri"/>
              </a:rPr>
              <a:t> This leads to </a:t>
            </a:r>
            <a:r>
              <a:rPr lang="en-US" sz="2000" b="1">
                <a:solidFill>
                  <a:srgbClr val="0F218B"/>
                </a:solidFill>
                <a:latin typeface="Calibri"/>
                <a:ea typeface="Calibri"/>
                <a:cs typeface="Calibri"/>
              </a:rPr>
              <a:t>a need for an SOGL revision. </a:t>
            </a:r>
            <a:endParaRPr lang="en-US" sz="1600" b="1"/>
          </a:p>
          <a:p>
            <a:pPr marL="800100" lvl="1" indent="-342900" fontAlgn="base">
              <a:buFont typeface="Wingdings" panose="05000000000000000000" pitchFamily="2" charset="2"/>
              <a:buChar char="è"/>
            </a:pPr>
            <a:endParaRPr lang="en-US" sz="2000">
              <a:solidFill>
                <a:srgbClr val="0F218B"/>
              </a:solidFill>
              <a:ea typeface="Calibri" panose="020F0502020204030204" pitchFamily="34" charset="0"/>
            </a:endParaRPr>
          </a:p>
          <a:p>
            <a:pPr marL="342900" indent="-342900" fontAlgn="base">
              <a:buFont typeface="Arial" panose="020B0604020202020204" pitchFamily="34" charset="0"/>
              <a:buChar char="•"/>
            </a:pPr>
            <a:r>
              <a:rPr lang="en-US" sz="2000">
                <a:solidFill>
                  <a:srgbClr val="0F218B"/>
                </a:solidFill>
                <a:latin typeface="Calibri"/>
                <a:ea typeface="Calibri"/>
                <a:cs typeface="Calibri"/>
              </a:rPr>
              <a:t>Inclusion of new technologies (storage, prosumers, flexible demand) reshapes the ways systems are operated </a:t>
            </a:r>
            <a:r>
              <a:rPr lang="en-US" sz="2000">
                <a:solidFill>
                  <a:srgbClr val="0F218B"/>
                </a:solidFill>
                <a:latin typeface="Calibri"/>
                <a:ea typeface="Calibri"/>
                <a:cs typeface="Calibri"/>
                <a:sym typeface="Wingdings" panose="05000000000000000000" pitchFamily="2" charset="2"/>
              </a:rPr>
              <a:t> </a:t>
            </a:r>
            <a:r>
              <a:rPr lang="en-US" sz="2000" b="1">
                <a:solidFill>
                  <a:srgbClr val="0F218B"/>
                </a:solidFill>
                <a:latin typeface="Calibri"/>
                <a:ea typeface="Calibri"/>
                <a:cs typeface="Calibri"/>
              </a:rPr>
              <a:t>SOGL must adapt to maintain security and efficiency. </a:t>
            </a:r>
          </a:p>
        </p:txBody>
      </p:sp>
    </p:spTree>
    <p:extLst>
      <p:ext uri="{BB962C8B-B14F-4D97-AF65-F5344CB8AC3E}">
        <p14:creationId xmlns:p14="http://schemas.microsoft.com/office/powerpoint/2010/main" val="15847876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7140C-B233-377F-8E2C-297EC6253E80}"/>
            </a:ext>
          </a:extLst>
        </p:cNvPr>
        <p:cNvGrpSpPr/>
        <p:nvPr/>
      </p:nvGrpSpPr>
      <p:grpSpPr>
        <a:xfrm>
          <a:off x="0" y="0"/>
          <a:ext cx="0" cy="0"/>
          <a:chOff x="0" y="0"/>
          <a:chExt cx="0" cy="0"/>
        </a:xfrm>
      </p:grpSpPr>
      <p:sp>
        <p:nvSpPr>
          <p:cNvPr id="9" name="Rechteck 1">
            <a:extLst>
              <a:ext uri="{FF2B5EF4-FFF2-40B4-BE49-F238E27FC236}">
                <a16:creationId xmlns:a16="http://schemas.microsoft.com/office/drawing/2014/main" id="{61B2CD22-83BD-4934-29B0-71C14CF0B74F}"/>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FB29A"/>
              </a:solidFill>
              <a:effectLst/>
              <a:uLnTx/>
              <a:uFillTx/>
              <a:latin typeface="Trebuchet MS"/>
              <a:ea typeface="+mn-ea"/>
              <a:cs typeface="+mn-cs"/>
            </a:endParaRPr>
          </a:p>
        </p:txBody>
      </p:sp>
      <p:sp>
        <p:nvSpPr>
          <p:cNvPr id="6" name="Content Placeholder 5">
            <a:extLst>
              <a:ext uri="{FF2B5EF4-FFF2-40B4-BE49-F238E27FC236}">
                <a16:creationId xmlns:a16="http://schemas.microsoft.com/office/drawing/2014/main" id="{FF2E1E66-07A8-17E2-D0F2-0C471F17932A}"/>
              </a:ext>
            </a:extLst>
          </p:cNvPr>
          <p:cNvSpPr>
            <a:spLocks noGrp="1"/>
          </p:cNvSpPr>
          <p:nvPr>
            <p:ph idx="1"/>
          </p:nvPr>
        </p:nvSpPr>
        <p:spPr>
          <a:xfrm>
            <a:off x="382588" y="1252728"/>
            <a:ext cx="10562780" cy="4956048"/>
          </a:xfrm>
        </p:spPr>
        <p:txBody>
          <a:bodyPr vert="horz" lIns="91440" tIns="45720" rIns="91440" bIns="45720" rtlCol="0" anchor="t">
            <a:normAutofit fontScale="85000" lnSpcReduction="10000"/>
          </a:bodyPr>
          <a:lstStyle/>
          <a:p>
            <a:pPr lvl="0" fontAlgn="base">
              <a:spcBef>
                <a:spcPts val="2500"/>
              </a:spcBef>
              <a:spcAft>
                <a:spcPct val="0"/>
              </a:spcAft>
            </a:pPr>
            <a:r>
              <a:rPr lang="en-GB" altLang="de-DE" sz="2000" b="1">
                <a:solidFill>
                  <a:srgbClr val="0F218B"/>
                </a:solidFill>
                <a:latin typeface="Calibri"/>
                <a:ea typeface="Calibri"/>
                <a:cs typeface="Calibri"/>
              </a:rPr>
              <a:t>Expand SOGL Scope</a:t>
            </a:r>
          </a:p>
          <a:p>
            <a:pPr marL="342900" lvl="1" indent="-342900" fontAlgn="base">
              <a:spcBef>
                <a:spcPts val="1000"/>
              </a:spcBef>
              <a:spcAft>
                <a:spcPct val="0"/>
              </a:spcAft>
              <a:buFont typeface="Arial" panose="020B0604020202020204" pitchFamily="34" charset="0"/>
              <a:buChar char="•"/>
            </a:pPr>
            <a:r>
              <a:rPr lang="en-GB" altLang="de-DE">
                <a:solidFill>
                  <a:srgbClr val="000000"/>
                </a:solidFill>
                <a:latin typeface="Calibri"/>
                <a:ea typeface="Calibri"/>
                <a:cs typeface="Calibri"/>
              </a:rPr>
              <a:t>Include storage (BESS,EVs), Type A generators, large demand facilities connected to distribution grid, offshore systems. </a:t>
            </a:r>
          </a:p>
          <a:p>
            <a:pPr fontAlgn="base">
              <a:spcBef>
                <a:spcPts val="2500"/>
              </a:spcBef>
              <a:spcAft>
                <a:spcPct val="0"/>
              </a:spcAft>
            </a:pPr>
            <a:r>
              <a:rPr lang="en-GB" altLang="de-DE" sz="2000" b="1">
                <a:solidFill>
                  <a:srgbClr val="0F218B"/>
                </a:solidFill>
                <a:latin typeface="Calibri"/>
                <a:ea typeface="Calibri"/>
                <a:cs typeface="Calibri"/>
              </a:rPr>
              <a:t>Operational Security Enhancements</a:t>
            </a:r>
          </a:p>
          <a:p>
            <a:pPr marL="342900" lvl="1" indent="-342900" fontAlgn="base">
              <a:spcBef>
                <a:spcPts val="1000"/>
              </a:spcBef>
              <a:spcAft>
                <a:spcPct val="0"/>
              </a:spcAft>
              <a:buFont typeface="Arial" panose="020B0604020202020204" pitchFamily="34" charset="0"/>
              <a:buChar char="•"/>
            </a:pPr>
            <a:r>
              <a:rPr lang="en-GB" altLang="de-DE">
                <a:solidFill>
                  <a:srgbClr val="000000"/>
                </a:solidFill>
                <a:latin typeface="Calibri"/>
                <a:ea typeface="Calibri"/>
                <a:cs typeface="Calibri"/>
              </a:rPr>
              <a:t>Voltage control, frequency stability, dynamic performance. </a:t>
            </a:r>
          </a:p>
          <a:p>
            <a:pPr fontAlgn="base">
              <a:spcBef>
                <a:spcPts val="2500"/>
              </a:spcBef>
              <a:spcAft>
                <a:spcPct val="0"/>
              </a:spcAft>
            </a:pPr>
            <a:r>
              <a:rPr lang="en-GB" altLang="de-DE" sz="2000" b="1">
                <a:solidFill>
                  <a:srgbClr val="0F218B"/>
                </a:solidFill>
                <a:latin typeface="Calibri"/>
                <a:ea typeface="Calibri"/>
                <a:cs typeface="Calibri"/>
              </a:rPr>
              <a:t>Regional Grid Model (RGM)</a:t>
            </a:r>
          </a:p>
          <a:p>
            <a:pPr marL="342900" lvl="1" indent="-342900" fontAlgn="base">
              <a:spcBef>
                <a:spcPts val="1000"/>
              </a:spcBef>
              <a:spcAft>
                <a:spcPct val="0"/>
              </a:spcAft>
              <a:buFont typeface="Arial" panose="020B0604020202020204" pitchFamily="34" charset="0"/>
              <a:buChar char="•"/>
            </a:pPr>
            <a:r>
              <a:rPr lang="en-GB" altLang="de-DE">
                <a:solidFill>
                  <a:srgbClr val="000000"/>
                </a:solidFill>
                <a:latin typeface="Calibri"/>
                <a:ea typeface="Calibri"/>
                <a:cs typeface="Calibri"/>
              </a:rPr>
              <a:t>Allow regional/process-specific grid models for efficiency. </a:t>
            </a:r>
          </a:p>
          <a:p>
            <a:pPr fontAlgn="base">
              <a:spcBef>
                <a:spcPts val="2500"/>
              </a:spcBef>
              <a:spcAft>
                <a:spcPct val="0"/>
              </a:spcAft>
            </a:pPr>
            <a:r>
              <a:rPr lang="en-GB" altLang="de-DE" sz="2000" b="1">
                <a:solidFill>
                  <a:srgbClr val="0F218B"/>
                </a:solidFill>
                <a:latin typeface="Calibri"/>
                <a:ea typeface="Calibri"/>
                <a:cs typeface="Calibri"/>
              </a:rPr>
              <a:t>LFCR-Update </a:t>
            </a:r>
          </a:p>
          <a:p>
            <a:pPr marL="342900" lvl="1" indent="-342900" fontAlgn="base">
              <a:lnSpc>
                <a:spcPct val="100000"/>
              </a:lnSpc>
              <a:spcBef>
                <a:spcPts val="1000"/>
              </a:spcBef>
              <a:spcAft>
                <a:spcPct val="0"/>
              </a:spcAft>
              <a:buFont typeface="Arial" panose="020B0604020202020204" pitchFamily="34" charset="0"/>
              <a:buChar char="•"/>
            </a:pPr>
            <a:r>
              <a:rPr lang="en-GB" altLang="de-DE">
                <a:solidFill>
                  <a:srgbClr val="000000"/>
                </a:solidFill>
                <a:latin typeface="Calibri"/>
                <a:ea typeface="Calibri"/>
                <a:cs typeface="Calibri"/>
              </a:rPr>
              <a:t>Probabilistic reserve dimensioning, harmonized ramping rules, flexible balancing. </a:t>
            </a:r>
          </a:p>
          <a:p>
            <a:pPr lvl="0" fontAlgn="base">
              <a:spcBef>
                <a:spcPts val="2500"/>
              </a:spcBef>
              <a:spcAft>
                <a:spcPct val="0"/>
              </a:spcAft>
            </a:pPr>
            <a:r>
              <a:rPr lang="en-GB" altLang="de-DE" sz="2000" b="1">
                <a:solidFill>
                  <a:srgbClr val="0F218B"/>
                </a:solidFill>
                <a:latin typeface="Calibri"/>
                <a:ea typeface="Calibri"/>
                <a:cs typeface="Calibri"/>
              </a:rPr>
              <a:t>Cross-Regulation Consistency</a:t>
            </a:r>
          </a:p>
          <a:p>
            <a:pPr marL="342900" lvl="1" indent="-342900" fontAlgn="base">
              <a:lnSpc>
                <a:spcPct val="110000"/>
              </a:lnSpc>
              <a:spcBef>
                <a:spcPts val="1000"/>
              </a:spcBef>
              <a:spcAft>
                <a:spcPct val="0"/>
              </a:spcAft>
              <a:buFont typeface="Arial" panose="020B0604020202020204" pitchFamily="34" charset="0"/>
              <a:buChar char="•"/>
            </a:pPr>
            <a:r>
              <a:rPr lang="en-GB" altLang="de-DE">
                <a:solidFill>
                  <a:srgbClr val="000000"/>
                </a:solidFill>
                <a:latin typeface="Calibri"/>
                <a:ea typeface="Calibri"/>
                <a:cs typeface="Calibri"/>
              </a:rPr>
              <a:t>Align with new codes, amendments of existing codes, Brexit, Baltic sync, among others. </a:t>
            </a:r>
          </a:p>
          <a:p>
            <a:pPr fontAlgn="base">
              <a:spcBef>
                <a:spcPts val="2500"/>
              </a:spcBef>
              <a:spcAft>
                <a:spcPct val="0"/>
              </a:spcAft>
            </a:pPr>
            <a:r>
              <a:rPr lang="en-GB" altLang="de-DE" sz="2100" b="1">
                <a:solidFill>
                  <a:srgbClr val="0F218B"/>
                </a:solidFill>
                <a:latin typeface="Calibri"/>
                <a:ea typeface="Calibri"/>
                <a:cs typeface="Calibri"/>
              </a:rPr>
              <a:t>Organization structure, accuracy and consistency</a:t>
            </a:r>
          </a:p>
          <a:p>
            <a:pPr marL="342900" lvl="1" indent="-342900" fontAlgn="base">
              <a:lnSpc>
                <a:spcPct val="110000"/>
              </a:lnSpc>
              <a:spcBef>
                <a:spcPts val="1000"/>
              </a:spcBef>
              <a:spcAft>
                <a:spcPct val="0"/>
              </a:spcAft>
              <a:buFont typeface="Arial" panose="020B0604020202020204" pitchFamily="34" charset="0"/>
              <a:buChar char="•"/>
            </a:pPr>
            <a:r>
              <a:rPr lang="en-GB" altLang="de-DE">
                <a:solidFill>
                  <a:srgbClr val="000000"/>
                </a:solidFill>
                <a:latin typeface="Calibri"/>
                <a:ea typeface="Calibri"/>
                <a:cs typeface="Calibri"/>
              </a:rPr>
              <a:t>Clearer, more coherent legal text. </a:t>
            </a:r>
          </a:p>
          <a:p>
            <a:endParaRPr lang="de-DE"/>
          </a:p>
        </p:txBody>
      </p:sp>
      <p:sp>
        <p:nvSpPr>
          <p:cNvPr id="5" name="Title 4">
            <a:extLst>
              <a:ext uri="{FF2B5EF4-FFF2-40B4-BE49-F238E27FC236}">
                <a16:creationId xmlns:a16="http://schemas.microsoft.com/office/drawing/2014/main" id="{9CF0CD5C-0E71-D798-5A99-B3BFDE8A3F1B}"/>
              </a:ext>
            </a:extLst>
          </p:cNvPr>
          <p:cNvSpPr>
            <a:spLocks noGrp="1"/>
          </p:cNvSpPr>
          <p:nvPr>
            <p:ph type="title"/>
          </p:nvPr>
        </p:nvSpPr>
        <p:spPr>
          <a:xfrm>
            <a:off x="382588" y="296863"/>
            <a:ext cx="11617788" cy="611857"/>
          </a:xfrm>
        </p:spPr>
        <p:txBody>
          <a:bodyPr lIns="91440" tIns="45720" rIns="91440" bIns="45720" anchor="ctr"/>
          <a:lstStyle/>
          <a:p>
            <a:r>
              <a:rPr lang="en-US">
                <a:latin typeface="Calibri"/>
                <a:ea typeface="Calibri"/>
                <a:cs typeface="Calibri"/>
              </a:rPr>
              <a:t>ENTSO-E Key Areas for SOGL revision</a:t>
            </a:r>
            <a:endParaRPr lang="de-DE">
              <a:latin typeface="Calibri"/>
              <a:ea typeface="Calibri"/>
              <a:cs typeface="Calibri"/>
            </a:endParaRPr>
          </a:p>
        </p:txBody>
      </p:sp>
    </p:spTree>
    <p:extLst>
      <p:ext uri="{BB962C8B-B14F-4D97-AF65-F5344CB8AC3E}">
        <p14:creationId xmlns:p14="http://schemas.microsoft.com/office/powerpoint/2010/main" val="41979617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91440" tIns="45720" rIns="91440" bIns="45720" anchor="ctr"/>
          <a:lstStyle/>
          <a:p>
            <a:r>
              <a:rPr lang="en-GB">
                <a:latin typeface="Calibri"/>
                <a:ea typeface="Calibri"/>
                <a:cs typeface="Calibri"/>
              </a:rPr>
              <a:t>ENTSO-E Preparatory work – Overarching timeline</a:t>
            </a:r>
            <a:endParaRPr lang="en-US"/>
          </a:p>
        </p:txBody>
      </p:sp>
      <p:cxnSp>
        <p:nvCxnSpPr>
          <p:cNvPr id="35" name="Straight Arrow Connector 34">
            <a:extLst>
              <a:ext uri="{FF2B5EF4-FFF2-40B4-BE49-F238E27FC236}">
                <a16:creationId xmlns:a16="http://schemas.microsoft.com/office/drawing/2014/main" id="{BBEF3800-7D1F-939B-5217-EB43DD27DA81}"/>
              </a:ext>
            </a:extLst>
          </p:cNvPr>
          <p:cNvCxnSpPr>
            <a:cxnSpLocks/>
          </p:cNvCxnSpPr>
          <p:nvPr/>
        </p:nvCxnSpPr>
        <p:spPr>
          <a:xfrm>
            <a:off x="912882" y="3955983"/>
            <a:ext cx="1980175" cy="0"/>
          </a:xfrm>
          <a:prstGeom prst="straightConnector1">
            <a:avLst/>
          </a:prstGeom>
          <a:ln w="136525" cap="flat">
            <a:solidFill>
              <a:schemeClr val="accent1"/>
            </a:solidFill>
            <a:miter lim="800000"/>
            <a:headEnd type="oval" w="med" len="med"/>
            <a:tailEnd type="oval" w="lg" len="lg"/>
          </a:ln>
          <a:effectLst/>
          <a:scene3d>
            <a:camera prst="orthographicFront"/>
            <a:lightRig rig="threePt" dir="t"/>
          </a:scene3d>
          <a:sp3d contourW="635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79F3C8B-9BC3-6868-0D30-0C7119F4905D}"/>
              </a:ext>
            </a:extLst>
          </p:cNvPr>
          <p:cNvCxnSpPr>
            <a:cxnSpLocks/>
          </p:cNvCxnSpPr>
          <p:nvPr/>
        </p:nvCxnSpPr>
        <p:spPr>
          <a:xfrm>
            <a:off x="2910628" y="3955983"/>
            <a:ext cx="1980175" cy="0"/>
          </a:xfrm>
          <a:prstGeom prst="straightConnector1">
            <a:avLst/>
          </a:prstGeom>
          <a:ln w="136525" cap="flat">
            <a:solidFill>
              <a:schemeClr val="accent1"/>
            </a:solidFill>
            <a:miter lim="800000"/>
            <a:headEnd type="oval" w="med" len="med"/>
            <a:tailEnd type="oval" w="lg" len="lg"/>
          </a:ln>
          <a:effectLst/>
          <a:scene3d>
            <a:camera prst="orthographicFront"/>
            <a:lightRig rig="threePt" dir="t"/>
          </a:scene3d>
          <a:sp3d contourW="635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C0C51FA-EB8B-9730-1DA9-9AB154FAB5F4}"/>
              </a:ext>
            </a:extLst>
          </p:cNvPr>
          <p:cNvCxnSpPr>
            <a:cxnSpLocks/>
          </p:cNvCxnSpPr>
          <p:nvPr/>
        </p:nvCxnSpPr>
        <p:spPr>
          <a:xfrm>
            <a:off x="4902107" y="3955983"/>
            <a:ext cx="1980175" cy="0"/>
          </a:xfrm>
          <a:prstGeom prst="straightConnector1">
            <a:avLst/>
          </a:prstGeom>
          <a:ln w="136525" cap="flat">
            <a:solidFill>
              <a:schemeClr val="accent1"/>
            </a:solidFill>
            <a:miter lim="800000"/>
            <a:headEnd type="oval" w="med" len="med"/>
            <a:tailEnd type="oval" w="lg" len="lg"/>
          </a:ln>
          <a:effectLst/>
          <a:scene3d>
            <a:camera prst="orthographicFront"/>
            <a:lightRig rig="threePt" dir="t"/>
          </a:scene3d>
          <a:sp3d contourW="635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1309A05F-9B35-C4EE-431D-D7C96C32452F}"/>
              </a:ext>
            </a:extLst>
          </p:cNvPr>
          <p:cNvCxnSpPr>
            <a:cxnSpLocks/>
          </p:cNvCxnSpPr>
          <p:nvPr/>
        </p:nvCxnSpPr>
        <p:spPr>
          <a:xfrm>
            <a:off x="6891910" y="3955983"/>
            <a:ext cx="1980175" cy="0"/>
          </a:xfrm>
          <a:prstGeom prst="straightConnector1">
            <a:avLst/>
          </a:prstGeom>
          <a:ln w="136525" cap="flat">
            <a:solidFill>
              <a:schemeClr val="accent1"/>
            </a:solidFill>
            <a:miter lim="800000"/>
            <a:headEnd type="oval" w="med" len="med"/>
            <a:tailEnd type="oval" w="lg" len="lg"/>
          </a:ln>
          <a:effectLst/>
          <a:scene3d>
            <a:camera prst="orthographicFront"/>
            <a:lightRig rig="threePt" dir="t"/>
          </a:scene3d>
          <a:sp3d contourW="635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AE57862-5C4B-B456-A0F0-F789211A95C0}"/>
              </a:ext>
            </a:extLst>
          </p:cNvPr>
          <p:cNvCxnSpPr>
            <a:cxnSpLocks/>
          </p:cNvCxnSpPr>
          <p:nvPr/>
        </p:nvCxnSpPr>
        <p:spPr>
          <a:xfrm>
            <a:off x="8890459" y="3962514"/>
            <a:ext cx="1980175" cy="0"/>
          </a:xfrm>
          <a:prstGeom prst="straightConnector1">
            <a:avLst/>
          </a:prstGeom>
          <a:ln w="136525" cap="flat">
            <a:solidFill>
              <a:schemeClr val="bg1"/>
            </a:solidFill>
            <a:miter lim="800000"/>
            <a:headEnd type="oval" w="med" len="med"/>
            <a:tailEnd type="oval" w="lg" len="lg"/>
          </a:ln>
          <a:effectLst/>
          <a:scene3d>
            <a:camera prst="orthographicFront"/>
            <a:lightRig rig="threePt" dir="t"/>
          </a:scene3d>
          <a:sp3d contourW="63500">
            <a:contourClr>
              <a:schemeClr val="bg1"/>
            </a:contourClr>
          </a:sp3d>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30A3522F-D0D5-6710-5838-9C398DD13F7A}"/>
              </a:ext>
            </a:extLst>
          </p:cNvPr>
          <p:cNvSpPr/>
          <p:nvPr/>
        </p:nvSpPr>
        <p:spPr>
          <a:xfrm>
            <a:off x="10417901" y="3498783"/>
            <a:ext cx="914400" cy="914400"/>
          </a:xfrm>
          <a:prstGeom prst="ellipse">
            <a:avLst/>
          </a:prstGeom>
          <a:solidFill>
            <a:schemeClr val="accent2">
              <a:alpha val="31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latin typeface="Calibri" panose="020F0502020204030204" pitchFamily="34" charset="0"/>
              <a:cs typeface="Calibri" panose="020F0502020204030204" pitchFamily="34" charset="0"/>
            </a:endParaRPr>
          </a:p>
        </p:txBody>
      </p:sp>
      <p:cxnSp>
        <p:nvCxnSpPr>
          <p:cNvPr id="45" name="Straight Arrow Connector 44">
            <a:extLst>
              <a:ext uri="{FF2B5EF4-FFF2-40B4-BE49-F238E27FC236}">
                <a16:creationId xmlns:a16="http://schemas.microsoft.com/office/drawing/2014/main" id="{3B11C668-B9B3-4757-E992-BA6945521814}"/>
              </a:ext>
            </a:extLst>
          </p:cNvPr>
          <p:cNvCxnSpPr>
            <a:cxnSpLocks/>
          </p:cNvCxnSpPr>
          <p:nvPr/>
        </p:nvCxnSpPr>
        <p:spPr>
          <a:xfrm>
            <a:off x="8890459" y="3962514"/>
            <a:ext cx="1980175" cy="0"/>
          </a:xfrm>
          <a:prstGeom prst="straightConnector1">
            <a:avLst/>
          </a:prstGeom>
          <a:ln w="120650" cap="flat">
            <a:solidFill>
              <a:schemeClr val="accent2"/>
            </a:solidFill>
            <a:miter lim="800000"/>
            <a:headEnd type="oval" w="med" len="med"/>
            <a:tailEnd type="oval" w="lg" len="lg"/>
          </a:ln>
          <a:effectLst/>
          <a:scene3d>
            <a:camera prst="orthographicFront"/>
            <a:lightRig rig="threePt" dir="t"/>
          </a:scene3d>
          <a:sp3d>
            <a:contourClr>
              <a:schemeClr val="bg1"/>
            </a:contourClr>
          </a:sp3d>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D99F7535-FA50-5533-025F-301AD5801B5C}"/>
              </a:ext>
            </a:extLst>
          </p:cNvPr>
          <p:cNvSpPr/>
          <p:nvPr/>
        </p:nvSpPr>
        <p:spPr>
          <a:xfrm>
            <a:off x="10749101" y="3829983"/>
            <a:ext cx="252000" cy="252000"/>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latin typeface="Calibri" panose="020F0502020204030204" pitchFamily="34" charset="0"/>
              <a:cs typeface="Calibri" panose="020F0502020204030204" pitchFamily="34" charset="0"/>
            </a:endParaRPr>
          </a:p>
        </p:txBody>
      </p:sp>
      <p:sp>
        <p:nvSpPr>
          <p:cNvPr id="50" name="Callout: Down Arrow 49">
            <a:extLst>
              <a:ext uri="{FF2B5EF4-FFF2-40B4-BE49-F238E27FC236}">
                <a16:creationId xmlns:a16="http://schemas.microsoft.com/office/drawing/2014/main" id="{7FCBE87E-FB15-49FF-2CA9-A5E90C9F75B5}"/>
              </a:ext>
            </a:extLst>
          </p:cNvPr>
          <p:cNvSpPr/>
          <p:nvPr/>
        </p:nvSpPr>
        <p:spPr>
          <a:xfrm>
            <a:off x="1902969" y="3061290"/>
            <a:ext cx="1980175" cy="367710"/>
          </a:xfrm>
          <a:prstGeom prst="downArrowCallout">
            <a:avLst>
              <a:gd name="adj1" fmla="val 7310"/>
              <a:gd name="adj2" fmla="val 59079"/>
              <a:gd name="adj3" fmla="val 53279"/>
              <a:gd name="adj4" fmla="val 9326"/>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latin typeface="Calibri" panose="020F0502020204030204" pitchFamily="34" charset="0"/>
              <a:cs typeface="Calibri" panose="020F0502020204030204" pitchFamily="34" charset="0"/>
            </a:endParaRPr>
          </a:p>
        </p:txBody>
      </p:sp>
      <p:sp>
        <p:nvSpPr>
          <p:cNvPr id="53" name="Callout: Down Arrow 52">
            <a:extLst>
              <a:ext uri="{FF2B5EF4-FFF2-40B4-BE49-F238E27FC236}">
                <a16:creationId xmlns:a16="http://schemas.microsoft.com/office/drawing/2014/main" id="{EA2EC560-7D42-E477-D74E-530DD15131DB}"/>
              </a:ext>
            </a:extLst>
          </p:cNvPr>
          <p:cNvSpPr/>
          <p:nvPr/>
        </p:nvSpPr>
        <p:spPr>
          <a:xfrm>
            <a:off x="5888759" y="3061290"/>
            <a:ext cx="1980175" cy="367710"/>
          </a:xfrm>
          <a:prstGeom prst="downArrowCallout">
            <a:avLst>
              <a:gd name="adj1" fmla="val 7310"/>
              <a:gd name="adj2" fmla="val 59079"/>
              <a:gd name="adj3" fmla="val 53279"/>
              <a:gd name="adj4" fmla="val 9326"/>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latin typeface="Calibri" panose="020F0502020204030204" pitchFamily="34" charset="0"/>
              <a:cs typeface="Calibri" panose="020F0502020204030204" pitchFamily="34" charset="0"/>
            </a:endParaRPr>
          </a:p>
        </p:txBody>
      </p:sp>
      <p:sp>
        <p:nvSpPr>
          <p:cNvPr id="54" name="Callout: Down Arrow 53">
            <a:extLst>
              <a:ext uri="{FF2B5EF4-FFF2-40B4-BE49-F238E27FC236}">
                <a16:creationId xmlns:a16="http://schemas.microsoft.com/office/drawing/2014/main" id="{C7407B77-5C3A-87E2-4984-1406F4CF09B0}"/>
              </a:ext>
            </a:extLst>
          </p:cNvPr>
          <p:cNvSpPr/>
          <p:nvPr/>
        </p:nvSpPr>
        <p:spPr>
          <a:xfrm rot="10800000">
            <a:off x="7868934" y="4570560"/>
            <a:ext cx="1980175" cy="367710"/>
          </a:xfrm>
          <a:prstGeom prst="downArrowCallout">
            <a:avLst>
              <a:gd name="adj1" fmla="val 7310"/>
              <a:gd name="adj2" fmla="val 59079"/>
              <a:gd name="adj3" fmla="val 53279"/>
              <a:gd name="adj4" fmla="val 9326"/>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latin typeface="Calibri" panose="020F0502020204030204" pitchFamily="34" charset="0"/>
              <a:cs typeface="Calibri" panose="020F0502020204030204" pitchFamily="34" charset="0"/>
            </a:endParaRPr>
          </a:p>
        </p:txBody>
      </p:sp>
      <p:sp>
        <p:nvSpPr>
          <p:cNvPr id="55" name="Callout: Down Arrow 54">
            <a:extLst>
              <a:ext uri="{FF2B5EF4-FFF2-40B4-BE49-F238E27FC236}">
                <a16:creationId xmlns:a16="http://schemas.microsoft.com/office/drawing/2014/main" id="{B237AB5E-2AA8-42FB-7061-121CEA198BE5}"/>
              </a:ext>
            </a:extLst>
          </p:cNvPr>
          <p:cNvSpPr/>
          <p:nvPr/>
        </p:nvSpPr>
        <p:spPr>
          <a:xfrm rot="10800000">
            <a:off x="3912019" y="4570560"/>
            <a:ext cx="1980175" cy="367710"/>
          </a:xfrm>
          <a:prstGeom prst="downArrowCallout">
            <a:avLst>
              <a:gd name="adj1" fmla="val 7310"/>
              <a:gd name="adj2" fmla="val 59079"/>
              <a:gd name="adj3" fmla="val 53279"/>
              <a:gd name="adj4" fmla="val 9326"/>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latin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3AAA9E2F-094A-A153-C21E-E5221200E755}"/>
              </a:ext>
            </a:extLst>
          </p:cNvPr>
          <p:cNvSpPr txBox="1"/>
          <p:nvPr/>
        </p:nvSpPr>
        <p:spPr>
          <a:xfrm>
            <a:off x="1727915" y="1438037"/>
            <a:ext cx="1980175" cy="707886"/>
          </a:xfrm>
          <a:prstGeom prst="rect">
            <a:avLst/>
          </a:prstGeom>
          <a:noFill/>
        </p:spPr>
        <p:txBody>
          <a:bodyPr wrap="square" lIns="91440" tIns="45720" rIns="91440" bIns="45720" rtlCol="0" anchor="t">
            <a:spAutoFit/>
          </a:bodyPr>
          <a:lstStyle/>
          <a:p>
            <a:pPr algn="ctr"/>
            <a:r>
              <a:rPr lang="en-GB" sz="4000" b="1">
                <a:solidFill>
                  <a:schemeClr val="accent1"/>
                </a:solidFill>
                <a:latin typeface="Calibri"/>
                <a:ea typeface="Calibri"/>
                <a:cs typeface="Calibri"/>
              </a:rPr>
              <a:t>Q4 2025</a:t>
            </a:r>
            <a:endParaRPr lang="en-GB" sz="4000" b="1">
              <a:solidFill>
                <a:schemeClr val="accent1"/>
              </a:solidFill>
              <a:latin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7CCEF247-F297-6B26-1E1A-7EA4A72A42C9}"/>
              </a:ext>
            </a:extLst>
          </p:cNvPr>
          <p:cNvSpPr txBox="1"/>
          <p:nvPr/>
        </p:nvSpPr>
        <p:spPr>
          <a:xfrm>
            <a:off x="5775488" y="1679681"/>
            <a:ext cx="1980175" cy="707886"/>
          </a:xfrm>
          <a:prstGeom prst="rect">
            <a:avLst/>
          </a:prstGeom>
          <a:noFill/>
        </p:spPr>
        <p:txBody>
          <a:bodyPr wrap="square" lIns="91440" tIns="45720" rIns="91440" bIns="45720" rtlCol="0" anchor="t">
            <a:spAutoFit/>
          </a:bodyPr>
          <a:lstStyle/>
          <a:p>
            <a:pPr algn="ctr"/>
            <a:r>
              <a:rPr lang="en-GB" sz="4000" b="1">
                <a:solidFill>
                  <a:schemeClr val="accent1"/>
                </a:solidFill>
                <a:latin typeface="Calibri"/>
                <a:ea typeface="Calibri"/>
                <a:cs typeface="Calibri"/>
              </a:rPr>
              <a:t>Q4 2026</a:t>
            </a:r>
            <a:endParaRPr lang="en-GB" sz="4000" b="1">
              <a:solidFill>
                <a:schemeClr val="accent1"/>
              </a:solidFill>
              <a:latin typeface="Calibri" panose="020F0502020204030204" pitchFamily="34" charset="0"/>
              <a:cs typeface="Calibri" panose="020F0502020204030204" pitchFamily="34" charset="0"/>
            </a:endParaRPr>
          </a:p>
        </p:txBody>
      </p:sp>
      <p:sp>
        <p:nvSpPr>
          <p:cNvPr id="58" name="TextBox 57">
            <a:extLst>
              <a:ext uri="{FF2B5EF4-FFF2-40B4-BE49-F238E27FC236}">
                <a16:creationId xmlns:a16="http://schemas.microsoft.com/office/drawing/2014/main" id="{0D0D9050-F599-5148-FBBE-8067226D3953}"/>
              </a:ext>
            </a:extLst>
          </p:cNvPr>
          <p:cNvSpPr txBox="1"/>
          <p:nvPr/>
        </p:nvSpPr>
        <p:spPr>
          <a:xfrm>
            <a:off x="3912018" y="4980205"/>
            <a:ext cx="1980175" cy="707886"/>
          </a:xfrm>
          <a:prstGeom prst="rect">
            <a:avLst/>
          </a:prstGeom>
          <a:noFill/>
        </p:spPr>
        <p:txBody>
          <a:bodyPr wrap="square" lIns="91440" tIns="45720" rIns="91440" bIns="45720" rtlCol="0" anchor="t">
            <a:spAutoFit/>
          </a:bodyPr>
          <a:lstStyle/>
          <a:p>
            <a:pPr algn="ctr"/>
            <a:r>
              <a:rPr lang="en-GB" sz="4000" b="1">
                <a:solidFill>
                  <a:schemeClr val="accent1"/>
                </a:solidFill>
                <a:latin typeface="Calibri"/>
                <a:ea typeface="Calibri"/>
                <a:cs typeface="Calibri"/>
              </a:rPr>
              <a:t>Q2 2026</a:t>
            </a:r>
            <a:endParaRPr lang="en-GB" sz="4000" b="1">
              <a:solidFill>
                <a:schemeClr val="accent1"/>
              </a:solidFill>
              <a:latin typeface="Calibri" panose="020F0502020204030204" pitchFamily="34" charset="0"/>
              <a:cs typeface="Calibri" panose="020F0502020204030204" pitchFamily="34" charset="0"/>
            </a:endParaRPr>
          </a:p>
        </p:txBody>
      </p:sp>
      <p:sp>
        <p:nvSpPr>
          <p:cNvPr id="59" name="TextBox 58">
            <a:extLst>
              <a:ext uri="{FF2B5EF4-FFF2-40B4-BE49-F238E27FC236}">
                <a16:creationId xmlns:a16="http://schemas.microsoft.com/office/drawing/2014/main" id="{B1C21C1D-F8C4-7593-2A2E-0DF1039C5B36}"/>
              </a:ext>
            </a:extLst>
          </p:cNvPr>
          <p:cNvSpPr txBox="1"/>
          <p:nvPr/>
        </p:nvSpPr>
        <p:spPr>
          <a:xfrm>
            <a:off x="7868934" y="4980205"/>
            <a:ext cx="1980175" cy="707886"/>
          </a:xfrm>
          <a:prstGeom prst="rect">
            <a:avLst/>
          </a:prstGeom>
          <a:noFill/>
        </p:spPr>
        <p:txBody>
          <a:bodyPr wrap="square" lIns="91440" tIns="45720" rIns="91440" bIns="45720" rtlCol="0" anchor="t">
            <a:spAutoFit/>
          </a:bodyPr>
          <a:lstStyle/>
          <a:p>
            <a:pPr algn="ctr"/>
            <a:r>
              <a:rPr lang="en-GB" sz="4000" b="1">
                <a:solidFill>
                  <a:schemeClr val="accent1"/>
                </a:solidFill>
                <a:latin typeface="Calibri"/>
                <a:ea typeface="Calibri"/>
                <a:cs typeface="Calibri"/>
              </a:rPr>
              <a:t>Q2 2027</a:t>
            </a:r>
            <a:endParaRPr lang="en-GB" sz="4000" b="1">
              <a:solidFill>
                <a:schemeClr val="accent1"/>
              </a:solidFill>
              <a:latin typeface="Calibri" panose="020F0502020204030204" pitchFamily="34" charset="0"/>
              <a:cs typeface="Calibri" panose="020F0502020204030204" pitchFamily="34" charset="0"/>
            </a:endParaRPr>
          </a:p>
        </p:txBody>
      </p:sp>
      <p:sp>
        <p:nvSpPr>
          <p:cNvPr id="60" name="TextBox 59">
            <a:extLst>
              <a:ext uri="{FF2B5EF4-FFF2-40B4-BE49-F238E27FC236}">
                <a16:creationId xmlns:a16="http://schemas.microsoft.com/office/drawing/2014/main" id="{FBA9F7EA-32B3-4C1A-12FD-9DCEB09BC796}"/>
              </a:ext>
            </a:extLst>
          </p:cNvPr>
          <p:cNvSpPr txBox="1"/>
          <p:nvPr/>
        </p:nvSpPr>
        <p:spPr>
          <a:xfrm>
            <a:off x="1411719" y="2037402"/>
            <a:ext cx="2852329" cy="923330"/>
          </a:xfrm>
          <a:prstGeom prst="rect">
            <a:avLst/>
          </a:prstGeom>
          <a:noFill/>
        </p:spPr>
        <p:txBody>
          <a:bodyPr wrap="square" lIns="91440" tIns="45720" rIns="91440" bIns="45720" rtlCol="0" anchor="t">
            <a:spAutoFit/>
          </a:bodyPr>
          <a:lstStyle/>
          <a:p>
            <a:r>
              <a:rPr lang="en-GB" i="1">
                <a:solidFill>
                  <a:schemeClr val="accent1"/>
                </a:solidFill>
                <a:latin typeface="Calibri"/>
                <a:ea typeface="Calibri"/>
                <a:cs typeface="Calibri"/>
              </a:rPr>
              <a:t>ENTSO-E paper "Key areas to be considered for the revision of SOGL"</a:t>
            </a:r>
            <a:endParaRPr lang="en-GB" i="1">
              <a:solidFill>
                <a:schemeClr val="accent1"/>
              </a:solidFill>
              <a:latin typeface="Calibri" panose="020F0502020204030204" pitchFamily="34" charset="0"/>
              <a:cs typeface="Calibri" panose="020F0502020204030204" pitchFamily="34" charset="0"/>
            </a:endParaRPr>
          </a:p>
        </p:txBody>
      </p:sp>
      <p:sp>
        <p:nvSpPr>
          <p:cNvPr id="62" name="TextBox 61">
            <a:extLst>
              <a:ext uri="{FF2B5EF4-FFF2-40B4-BE49-F238E27FC236}">
                <a16:creationId xmlns:a16="http://schemas.microsoft.com/office/drawing/2014/main" id="{3C3EB5CF-2874-0EAA-65D7-27D522ABC998}"/>
              </a:ext>
            </a:extLst>
          </p:cNvPr>
          <p:cNvSpPr txBox="1"/>
          <p:nvPr/>
        </p:nvSpPr>
        <p:spPr>
          <a:xfrm>
            <a:off x="5854000" y="2280144"/>
            <a:ext cx="2009049" cy="830997"/>
          </a:xfrm>
          <a:prstGeom prst="rect">
            <a:avLst/>
          </a:prstGeom>
          <a:noFill/>
        </p:spPr>
        <p:txBody>
          <a:bodyPr wrap="square" lIns="91440" tIns="45720" rIns="91440" bIns="45720" rtlCol="0" anchor="t">
            <a:spAutoFit/>
          </a:bodyPr>
          <a:lstStyle/>
          <a:p>
            <a:r>
              <a:rPr lang="en-GB" sz="1600" i="1">
                <a:solidFill>
                  <a:schemeClr val="accent1"/>
                </a:solidFill>
                <a:latin typeface="Calibri"/>
                <a:ea typeface="Calibri"/>
                <a:cs typeface="Calibri"/>
              </a:rPr>
              <a:t>ACER publishes policy paper on the revision of SOGL.</a:t>
            </a:r>
            <a:endParaRPr lang="en-GB" sz="1600" i="1">
              <a:solidFill>
                <a:schemeClr val="accent1"/>
              </a:solidFill>
              <a:latin typeface="Calibri" panose="020F0502020204030204" pitchFamily="34" charset="0"/>
              <a:cs typeface="Calibri" panose="020F0502020204030204" pitchFamily="34" charset="0"/>
            </a:endParaRPr>
          </a:p>
        </p:txBody>
      </p:sp>
      <p:sp>
        <p:nvSpPr>
          <p:cNvPr id="63" name="TextBox 62">
            <a:extLst>
              <a:ext uri="{FF2B5EF4-FFF2-40B4-BE49-F238E27FC236}">
                <a16:creationId xmlns:a16="http://schemas.microsoft.com/office/drawing/2014/main" id="{970FF3CC-4095-B0FD-67BD-0FCB4DD32261}"/>
              </a:ext>
            </a:extLst>
          </p:cNvPr>
          <p:cNvSpPr txBox="1"/>
          <p:nvPr/>
        </p:nvSpPr>
        <p:spPr>
          <a:xfrm>
            <a:off x="3436787" y="5581631"/>
            <a:ext cx="3752038" cy="1200329"/>
          </a:xfrm>
          <a:prstGeom prst="rect">
            <a:avLst/>
          </a:prstGeom>
          <a:noFill/>
        </p:spPr>
        <p:txBody>
          <a:bodyPr wrap="square" lIns="91440" tIns="45720" rIns="91440" bIns="45720" rtlCol="0" anchor="t">
            <a:spAutoFit/>
          </a:bodyPr>
          <a:lstStyle/>
          <a:p>
            <a:r>
              <a:rPr lang="en-GB" i="1">
                <a:solidFill>
                  <a:schemeClr val="accent1"/>
                </a:solidFill>
                <a:latin typeface="Calibri"/>
                <a:ea typeface="Calibri"/>
                <a:cs typeface="Calibri"/>
              </a:rPr>
              <a:t>ENTSO-E paper "Key areas to be considered for the revision of SOGL" updated following grid incident report publications. </a:t>
            </a:r>
            <a:endParaRPr lang="en-GB" i="1">
              <a:solidFill>
                <a:schemeClr val="accent1"/>
              </a:solidFill>
              <a:latin typeface="Calibri" panose="020F0502020204030204" pitchFamily="34" charset="0"/>
              <a:ea typeface="Calibri"/>
              <a:cs typeface="Calibri" panose="020F0502020204030204" pitchFamily="34" charset="0"/>
            </a:endParaRPr>
          </a:p>
        </p:txBody>
      </p:sp>
      <p:sp>
        <p:nvSpPr>
          <p:cNvPr id="64" name="TextBox 63">
            <a:extLst>
              <a:ext uri="{FF2B5EF4-FFF2-40B4-BE49-F238E27FC236}">
                <a16:creationId xmlns:a16="http://schemas.microsoft.com/office/drawing/2014/main" id="{19DA9A9B-1277-F23F-19FD-B72F282CC0C2}"/>
              </a:ext>
            </a:extLst>
          </p:cNvPr>
          <p:cNvSpPr txBox="1"/>
          <p:nvPr/>
        </p:nvSpPr>
        <p:spPr>
          <a:xfrm>
            <a:off x="7854496" y="5633117"/>
            <a:ext cx="2009049" cy="923330"/>
          </a:xfrm>
          <a:prstGeom prst="rect">
            <a:avLst/>
          </a:prstGeom>
          <a:noFill/>
        </p:spPr>
        <p:txBody>
          <a:bodyPr wrap="square" lIns="91440" tIns="45720" rIns="91440" bIns="45720" rtlCol="0" anchor="t">
            <a:spAutoFit/>
          </a:bodyPr>
          <a:lstStyle/>
          <a:p>
            <a:r>
              <a:rPr lang="en-GB" i="1">
                <a:solidFill>
                  <a:schemeClr val="accent1"/>
                </a:solidFill>
                <a:latin typeface="Calibri"/>
                <a:ea typeface="Calibri"/>
                <a:cs typeface="Calibri"/>
              </a:rPr>
              <a:t>Potential launch of the revision of SOGL (TBC)</a:t>
            </a:r>
            <a:endParaRPr lang="en-GB" i="1">
              <a:solidFill>
                <a:schemeClr val="accent1"/>
              </a:solidFill>
              <a:latin typeface="Calibri" panose="020F0502020204030204" pitchFamily="34" charset="0"/>
              <a:ea typeface="Calibri"/>
              <a:cs typeface="Calibri" panose="020F0502020204030204" pitchFamily="34" charset="0"/>
            </a:endParaRPr>
          </a:p>
        </p:txBody>
      </p:sp>
      <p:sp>
        <p:nvSpPr>
          <p:cNvPr id="4" name="Rectangle 3">
            <a:extLst>
              <a:ext uri="{FF2B5EF4-FFF2-40B4-BE49-F238E27FC236}">
                <a16:creationId xmlns:a16="http://schemas.microsoft.com/office/drawing/2014/main" id="{05334281-7FFF-E7B2-899A-8711DD1B9DA4}"/>
              </a:ext>
            </a:extLst>
          </p:cNvPr>
          <p:cNvSpPr/>
          <p:nvPr/>
        </p:nvSpPr>
        <p:spPr>
          <a:xfrm>
            <a:off x="227424" y="6188011"/>
            <a:ext cx="2817535"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91440" tIns="45720" rIns="91440" bIns="45720" anchor="t">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a:solidFill>
                  <a:srgbClr val="0F218B"/>
                </a:solidFill>
                <a:hlinkClick r:id="rId2"/>
              </a:rPr>
              <a:t>Ignacio Iriarte Ramirez</a:t>
            </a:r>
            <a:endParaRPr lang="en-150" b="1">
              <a:solidFill>
                <a:srgbClr val="0F218B"/>
              </a:solidFill>
            </a:endParaRPr>
          </a:p>
        </p:txBody>
      </p:sp>
    </p:spTree>
    <p:extLst>
      <p:ext uri="{BB962C8B-B14F-4D97-AF65-F5344CB8AC3E}">
        <p14:creationId xmlns:p14="http://schemas.microsoft.com/office/powerpoint/2010/main" val="34741647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CD7F2-9EE9-F7D8-038C-B0E7FA751D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1022F2-05CA-ACC1-51C6-2A2134D7D430}"/>
              </a:ext>
            </a:extLst>
          </p:cNvPr>
          <p:cNvSpPr>
            <a:spLocks noGrp="1"/>
          </p:cNvSpPr>
          <p:nvPr>
            <p:ph type="title"/>
          </p:nvPr>
        </p:nvSpPr>
        <p:spPr>
          <a:xfrm>
            <a:off x="287106" y="3197946"/>
            <a:ext cx="11617788" cy="356467"/>
          </a:xfrm>
        </p:spPr>
        <p:txBody>
          <a:bodyPr lIns="91440" tIns="45720" rIns="91440" bIns="45720" anchor="ctr"/>
          <a:lstStyle/>
          <a:p>
            <a:r>
              <a:rPr lang="en-GB" sz="3200">
                <a:latin typeface="Calibri"/>
                <a:ea typeface="Calibri"/>
                <a:cs typeface="Calibri"/>
              </a:rPr>
              <a:t>7. ICS Methodology</a:t>
            </a:r>
          </a:p>
        </p:txBody>
      </p:sp>
      <p:sp>
        <p:nvSpPr>
          <p:cNvPr id="3" name="Text Placeholder 2">
            <a:extLst>
              <a:ext uri="{FF2B5EF4-FFF2-40B4-BE49-F238E27FC236}">
                <a16:creationId xmlns:a16="http://schemas.microsoft.com/office/drawing/2014/main" id="{17FD00BA-7997-5CBD-4B2F-88D56738C67D}"/>
              </a:ext>
            </a:extLst>
          </p:cNvPr>
          <p:cNvSpPr>
            <a:spLocks noGrp="1"/>
          </p:cNvSpPr>
          <p:nvPr>
            <p:ph type="body" sz="quarter" idx="4294967295"/>
          </p:nvPr>
        </p:nvSpPr>
        <p:spPr>
          <a:xfrm>
            <a:off x="574675" y="3554413"/>
            <a:ext cx="11617325" cy="1017587"/>
          </a:xfrm>
        </p:spPr>
        <p:txBody>
          <a:bodyPr vert="horz" lIns="91440" tIns="45720" rIns="91440" bIns="45720" rtlCol="0" anchor="t">
            <a:normAutofit/>
          </a:bodyPr>
          <a:lstStyle/>
          <a:p>
            <a:endParaRPr lang="en-US" sz="2000">
              <a:solidFill>
                <a:schemeClr val="accent2"/>
              </a:solidFill>
            </a:endParaRPr>
          </a:p>
          <a:p>
            <a:r>
              <a:rPr lang="en-US" sz="2000">
                <a:solidFill>
                  <a:schemeClr val="accent2"/>
                </a:solidFill>
                <a:latin typeface="Calibri"/>
                <a:ea typeface="Calibri"/>
                <a:cs typeface="Calibri"/>
              </a:rPr>
              <a:t>Donna Kearney, ENTSOE </a:t>
            </a:r>
            <a:r>
              <a:rPr lang="en-GB" sz="2000">
                <a:solidFill>
                  <a:schemeClr val="accent2"/>
                </a:solidFill>
                <a:latin typeface="Calibri"/>
                <a:ea typeface="Calibri"/>
                <a:cs typeface="Calibri"/>
              </a:rPr>
              <a:t> </a:t>
            </a:r>
            <a:endParaRPr lang="en-US" sz="2000">
              <a:solidFill>
                <a:schemeClr val="accent2"/>
              </a:solidFill>
              <a:latin typeface="Calibri"/>
              <a:ea typeface="Calibri"/>
              <a:cs typeface="Calibri"/>
            </a:endParaRPr>
          </a:p>
          <a:p>
            <a:endParaRPr lang="en-GB" sz="2000">
              <a:solidFill>
                <a:schemeClr val="accent2"/>
              </a:solidFill>
            </a:endParaRPr>
          </a:p>
        </p:txBody>
      </p:sp>
    </p:spTree>
    <p:extLst>
      <p:ext uri="{BB962C8B-B14F-4D97-AF65-F5344CB8AC3E}">
        <p14:creationId xmlns:p14="http://schemas.microsoft.com/office/powerpoint/2010/main" val="38803965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A862F-E19C-9E17-880C-820DA2F086CE}"/>
              </a:ext>
            </a:extLst>
          </p:cNvPr>
          <p:cNvSpPr>
            <a:spLocks noGrp="1"/>
          </p:cNvSpPr>
          <p:nvPr>
            <p:ph type="title"/>
          </p:nvPr>
        </p:nvSpPr>
        <p:spPr>
          <a:xfrm>
            <a:off x="382588" y="397172"/>
            <a:ext cx="11617788" cy="356467"/>
          </a:xfrm>
        </p:spPr>
        <p:txBody>
          <a:bodyPr lIns="91440" tIns="45720" rIns="91440" bIns="45720" anchor="ctr"/>
          <a:lstStyle/>
          <a:p>
            <a:r>
              <a:rPr lang="en-GB">
                <a:latin typeface="Calibri"/>
                <a:ea typeface="Calibri"/>
                <a:cs typeface="Calibri"/>
              </a:rPr>
              <a:t>Incident Classification Scale</a:t>
            </a:r>
          </a:p>
        </p:txBody>
      </p:sp>
      <p:sp>
        <p:nvSpPr>
          <p:cNvPr id="7" name="Text Placeholder 6">
            <a:extLst>
              <a:ext uri="{FF2B5EF4-FFF2-40B4-BE49-F238E27FC236}">
                <a16:creationId xmlns:a16="http://schemas.microsoft.com/office/drawing/2014/main" id="{7424EF1A-2BBB-C26B-D2F4-822F55F2E053}"/>
              </a:ext>
            </a:extLst>
          </p:cNvPr>
          <p:cNvSpPr>
            <a:spLocks noGrp="1"/>
          </p:cNvSpPr>
          <p:nvPr>
            <p:ph type="body" sz="quarter" idx="12"/>
          </p:nvPr>
        </p:nvSpPr>
        <p:spPr>
          <a:xfrm>
            <a:off x="382588" y="675659"/>
            <a:ext cx="11617788" cy="442428"/>
          </a:xfrm>
        </p:spPr>
        <p:txBody>
          <a:bodyPr/>
          <a:lstStyle/>
          <a:p>
            <a:r>
              <a:rPr lang="en-GB">
                <a:latin typeface="Calibri"/>
                <a:ea typeface="Calibri"/>
                <a:cs typeface="Calibri"/>
              </a:rPr>
              <a:t>The work on the next revision of the Incident Classification Scale Methodology (ICSM) has started.</a:t>
            </a:r>
          </a:p>
        </p:txBody>
      </p:sp>
      <p:graphicFrame>
        <p:nvGraphicFramePr>
          <p:cNvPr id="9" name="Diagram 8">
            <a:extLst>
              <a:ext uri="{FF2B5EF4-FFF2-40B4-BE49-F238E27FC236}">
                <a16:creationId xmlns:a16="http://schemas.microsoft.com/office/drawing/2014/main" id="{6F497198-D234-955C-59FB-8BF0AAA5C43D}"/>
              </a:ext>
            </a:extLst>
          </p:cNvPr>
          <p:cNvGraphicFramePr/>
          <p:nvPr/>
        </p:nvGraphicFramePr>
        <p:xfrm>
          <a:off x="494631" y="1375100"/>
          <a:ext cx="10580008" cy="35399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4" name="Straight Connector 13">
            <a:extLst>
              <a:ext uri="{FF2B5EF4-FFF2-40B4-BE49-F238E27FC236}">
                <a16:creationId xmlns:a16="http://schemas.microsoft.com/office/drawing/2014/main" id="{63B947AF-9103-9598-1374-0913C34657F1}"/>
              </a:ext>
            </a:extLst>
          </p:cNvPr>
          <p:cNvCxnSpPr>
            <a:cxnSpLocks/>
          </p:cNvCxnSpPr>
          <p:nvPr/>
        </p:nvCxnSpPr>
        <p:spPr>
          <a:xfrm>
            <a:off x="786294" y="5598513"/>
            <a:ext cx="10384325" cy="0"/>
          </a:xfrm>
          <a:prstGeom prst="line">
            <a:avLst/>
          </a:prstGeom>
          <a:ln w="38100">
            <a:solidFill>
              <a:schemeClr val="tx1">
                <a:lumMod val="50000"/>
                <a:lumOff val="50000"/>
                <a:alpha val="7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DFE1C75E-05C9-1E16-B83B-BB96C7FB7BFD}"/>
              </a:ext>
            </a:extLst>
          </p:cNvPr>
          <p:cNvGrpSpPr/>
          <p:nvPr/>
        </p:nvGrpSpPr>
        <p:grpSpPr>
          <a:xfrm>
            <a:off x="1407512" y="5344317"/>
            <a:ext cx="504056" cy="504056"/>
            <a:chOff x="4319972" y="3176972"/>
            <a:chExt cx="504056" cy="504056"/>
          </a:xfrm>
        </p:grpSpPr>
        <p:sp>
          <p:nvSpPr>
            <p:cNvPr id="16" name="Oval 15">
              <a:extLst>
                <a:ext uri="{FF2B5EF4-FFF2-40B4-BE49-F238E27FC236}">
                  <a16:creationId xmlns:a16="http://schemas.microsoft.com/office/drawing/2014/main" id="{3BB571E9-ABCD-BE7B-E31B-EC58F4914998}"/>
                </a:ext>
              </a:extLst>
            </p:cNvPr>
            <p:cNvSpPr/>
            <p:nvPr/>
          </p:nvSpPr>
          <p:spPr>
            <a:xfrm>
              <a:off x="4319972" y="3176972"/>
              <a:ext cx="504056" cy="504056"/>
            </a:xfrm>
            <a:prstGeom prst="ellipse">
              <a:avLst/>
            </a:prstGeom>
            <a:solidFill>
              <a:schemeClr val="accent6">
                <a:alpha val="50000"/>
              </a:schemeClr>
            </a:solid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Calibri"/>
                <a:ea typeface="Calibri"/>
                <a:cs typeface="Calibri"/>
              </a:endParaRPr>
            </a:p>
          </p:txBody>
        </p:sp>
        <p:sp>
          <p:nvSpPr>
            <p:cNvPr id="17" name="Oval 16">
              <a:extLst>
                <a:ext uri="{FF2B5EF4-FFF2-40B4-BE49-F238E27FC236}">
                  <a16:creationId xmlns:a16="http://schemas.microsoft.com/office/drawing/2014/main" id="{0AFC91E7-8130-E4EB-3535-6C0A3BEC3633}"/>
                </a:ext>
              </a:extLst>
            </p:cNvPr>
            <p:cNvSpPr/>
            <p:nvPr/>
          </p:nvSpPr>
          <p:spPr>
            <a:xfrm>
              <a:off x="4410000" y="3267000"/>
              <a:ext cx="324000" cy="324000"/>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Calibri"/>
                <a:ea typeface="Calibri"/>
                <a:cs typeface="Calibri"/>
              </a:endParaRPr>
            </a:p>
          </p:txBody>
        </p:sp>
      </p:grpSp>
      <p:grpSp>
        <p:nvGrpSpPr>
          <p:cNvPr id="18" name="Group 17">
            <a:extLst>
              <a:ext uri="{FF2B5EF4-FFF2-40B4-BE49-F238E27FC236}">
                <a16:creationId xmlns:a16="http://schemas.microsoft.com/office/drawing/2014/main" id="{F41569BA-514C-79A6-682D-F7FD99B6AE83}"/>
              </a:ext>
            </a:extLst>
          </p:cNvPr>
          <p:cNvGrpSpPr/>
          <p:nvPr/>
        </p:nvGrpSpPr>
        <p:grpSpPr>
          <a:xfrm>
            <a:off x="3940620" y="5344317"/>
            <a:ext cx="504056" cy="504056"/>
            <a:chOff x="4319972" y="3176972"/>
            <a:chExt cx="504056" cy="504056"/>
          </a:xfrm>
        </p:grpSpPr>
        <p:sp>
          <p:nvSpPr>
            <p:cNvPr id="19" name="Oval 18">
              <a:extLst>
                <a:ext uri="{FF2B5EF4-FFF2-40B4-BE49-F238E27FC236}">
                  <a16:creationId xmlns:a16="http://schemas.microsoft.com/office/drawing/2014/main" id="{F9DE1FBF-E1DD-85EF-AB60-C27DBF9ADB50}"/>
                </a:ext>
              </a:extLst>
            </p:cNvPr>
            <p:cNvSpPr/>
            <p:nvPr/>
          </p:nvSpPr>
          <p:spPr>
            <a:xfrm>
              <a:off x="4319972" y="3176972"/>
              <a:ext cx="504056" cy="504056"/>
            </a:xfrm>
            <a:prstGeom prst="ellipse">
              <a:avLst/>
            </a:prstGeom>
            <a:solidFill>
              <a:schemeClr val="accent1">
                <a:lumMod val="90000"/>
                <a:alpha val="50000"/>
              </a:schemeClr>
            </a:solid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Calibri"/>
                <a:ea typeface="Calibri"/>
                <a:cs typeface="Calibri"/>
              </a:endParaRPr>
            </a:p>
          </p:txBody>
        </p:sp>
        <p:sp>
          <p:nvSpPr>
            <p:cNvPr id="20" name="Oval 19">
              <a:extLst>
                <a:ext uri="{FF2B5EF4-FFF2-40B4-BE49-F238E27FC236}">
                  <a16:creationId xmlns:a16="http://schemas.microsoft.com/office/drawing/2014/main" id="{7FD2DE3C-F0F2-9E31-CC77-2D2799A9BE21}"/>
                </a:ext>
              </a:extLst>
            </p:cNvPr>
            <p:cNvSpPr/>
            <p:nvPr/>
          </p:nvSpPr>
          <p:spPr>
            <a:xfrm>
              <a:off x="4410000" y="3267000"/>
              <a:ext cx="324000" cy="324000"/>
            </a:xfrm>
            <a:prstGeom prst="ellipse">
              <a:avLst/>
            </a:prstGeom>
            <a:solidFill>
              <a:schemeClr val="accent1">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Calibri"/>
                <a:ea typeface="Calibri"/>
                <a:cs typeface="Calibri"/>
              </a:endParaRPr>
            </a:p>
          </p:txBody>
        </p:sp>
      </p:grpSp>
      <p:grpSp>
        <p:nvGrpSpPr>
          <p:cNvPr id="21" name="Group 20">
            <a:extLst>
              <a:ext uri="{FF2B5EF4-FFF2-40B4-BE49-F238E27FC236}">
                <a16:creationId xmlns:a16="http://schemas.microsoft.com/office/drawing/2014/main" id="{4AE8E010-2E81-2E2A-D3EC-B7D3228AAE5D}"/>
              </a:ext>
            </a:extLst>
          </p:cNvPr>
          <p:cNvGrpSpPr/>
          <p:nvPr/>
        </p:nvGrpSpPr>
        <p:grpSpPr>
          <a:xfrm>
            <a:off x="6560559" y="5344317"/>
            <a:ext cx="504056" cy="504056"/>
            <a:chOff x="4319972" y="3176972"/>
            <a:chExt cx="504056" cy="504056"/>
          </a:xfrm>
        </p:grpSpPr>
        <p:sp>
          <p:nvSpPr>
            <p:cNvPr id="22" name="Oval 21">
              <a:extLst>
                <a:ext uri="{FF2B5EF4-FFF2-40B4-BE49-F238E27FC236}">
                  <a16:creationId xmlns:a16="http://schemas.microsoft.com/office/drawing/2014/main" id="{C1333573-ECBF-8932-CDD7-1F0A64FE07A7}"/>
                </a:ext>
              </a:extLst>
            </p:cNvPr>
            <p:cNvSpPr/>
            <p:nvPr/>
          </p:nvSpPr>
          <p:spPr>
            <a:xfrm>
              <a:off x="4319972" y="3176972"/>
              <a:ext cx="504056" cy="504056"/>
            </a:xfrm>
            <a:prstGeom prst="ellipse">
              <a:avLst/>
            </a:prstGeom>
            <a:solidFill>
              <a:schemeClr val="accent2">
                <a:alpha val="50000"/>
              </a:schemeClr>
            </a:solid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Calibri"/>
                <a:ea typeface="Calibri"/>
                <a:cs typeface="Calibri"/>
              </a:endParaRPr>
            </a:p>
          </p:txBody>
        </p:sp>
        <p:sp>
          <p:nvSpPr>
            <p:cNvPr id="23" name="Oval 22">
              <a:extLst>
                <a:ext uri="{FF2B5EF4-FFF2-40B4-BE49-F238E27FC236}">
                  <a16:creationId xmlns:a16="http://schemas.microsoft.com/office/drawing/2014/main" id="{99AF39CA-A653-8625-ACD3-086D655CA3B8}"/>
                </a:ext>
              </a:extLst>
            </p:cNvPr>
            <p:cNvSpPr/>
            <p:nvPr/>
          </p:nvSpPr>
          <p:spPr>
            <a:xfrm>
              <a:off x="4410000" y="3267000"/>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Calibri"/>
                <a:ea typeface="Calibri"/>
                <a:cs typeface="Calibri"/>
              </a:endParaRPr>
            </a:p>
          </p:txBody>
        </p:sp>
      </p:grpSp>
      <p:grpSp>
        <p:nvGrpSpPr>
          <p:cNvPr id="24" name="Group 23">
            <a:extLst>
              <a:ext uri="{FF2B5EF4-FFF2-40B4-BE49-F238E27FC236}">
                <a16:creationId xmlns:a16="http://schemas.microsoft.com/office/drawing/2014/main" id="{7BBE689D-4872-CCE5-A092-51278853F092}"/>
              </a:ext>
            </a:extLst>
          </p:cNvPr>
          <p:cNvGrpSpPr/>
          <p:nvPr/>
        </p:nvGrpSpPr>
        <p:grpSpPr>
          <a:xfrm>
            <a:off x="9223631" y="5344317"/>
            <a:ext cx="504056" cy="504056"/>
            <a:chOff x="4319972" y="3176972"/>
            <a:chExt cx="504056" cy="504056"/>
          </a:xfrm>
        </p:grpSpPr>
        <p:sp>
          <p:nvSpPr>
            <p:cNvPr id="25" name="Oval 24">
              <a:extLst>
                <a:ext uri="{FF2B5EF4-FFF2-40B4-BE49-F238E27FC236}">
                  <a16:creationId xmlns:a16="http://schemas.microsoft.com/office/drawing/2014/main" id="{DF4E80F7-13DB-F90C-F4A8-CA896C7CDE83}"/>
                </a:ext>
              </a:extLst>
            </p:cNvPr>
            <p:cNvSpPr/>
            <p:nvPr/>
          </p:nvSpPr>
          <p:spPr>
            <a:xfrm>
              <a:off x="4319972" y="3176972"/>
              <a:ext cx="504056" cy="504056"/>
            </a:xfrm>
            <a:prstGeom prst="ellipse">
              <a:avLst/>
            </a:prstGeom>
            <a:solidFill>
              <a:schemeClr val="accent3">
                <a:lumMod val="90000"/>
                <a:alpha val="50000"/>
              </a:schemeClr>
            </a:solid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Calibri"/>
                <a:ea typeface="Calibri"/>
                <a:cs typeface="Calibri"/>
              </a:endParaRPr>
            </a:p>
          </p:txBody>
        </p:sp>
        <p:sp>
          <p:nvSpPr>
            <p:cNvPr id="26" name="Oval 25">
              <a:extLst>
                <a:ext uri="{FF2B5EF4-FFF2-40B4-BE49-F238E27FC236}">
                  <a16:creationId xmlns:a16="http://schemas.microsoft.com/office/drawing/2014/main" id="{9A25083E-CAD1-A8A7-4B14-287C48161F3E}"/>
                </a:ext>
              </a:extLst>
            </p:cNvPr>
            <p:cNvSpPr/>
            <p:nvPr/>
          </p:nvSpPr>
          <p:spPr>
            <a:xfrm>
              <a:off x="4410000" y="3267000"/>
              <a:ext cx="324000" cy="324000"/>
            </a:xfrm>
            <a:prstGeom prst="ellipse">
              <a:avLst/>
            </a:prstGeom>
            <a:solidFill>
              <a:schemeClr val="accent3">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Calibri"/>
                <a:ea typeface="Calibri"/>
                <a:cs typeface="Calibri"/>
              </a:endParaRPr>
            </a:p>
          </p:txBody>
        </p:sp>
      </p:grpSp>
      <p:sp>
        <p:nvSpPr>
          <p:cNvPr id="31" name="TextBox 30">
            <a:extLst>
              <a:ext uri="{FF2B5EF4-FFF2-40B4-BE49-F238E27FC236}">
                <a16:creationId xmlns:a16="http://schemas.microsoft.com/office/drawing/2014/main" id="{871CAF74-AF99-28B5-1B7C-D1C5717A25B4}"/>
              </a:ext>
            </a:extLst>
          </p:cNvPr>
          <p:cNvSpPr txBox="1"/>
          <p:nvPr/>
        </p:nvSpPr>
        <p:spPr>
          <a:xfrm>
            <a:off x="858086" y="5011973"/>
            <a:ext cx="1630532" cy="307777"/>
          </a:xfrm>
          <a:prstGeom prst="rect">
            <a:avLst/>
          </a:prstGeom>
          <a:noFill/>
        </p:spPr>
        <p:txBody>
          <a:bodyPr wrap="square" rtlCol="0">
            <a:spAutoFit/>
          </a:bodyPr>
          <a:lstStyle/>
          <a:p>
            <a:pPr algn="ctr"/>
            <a:r>
              <a:rPr lang="en-US" altLang="ko-KR" sz="1400" b="1">
                <a:solidFill>
                  <a:schemeClr val="tx1">
                    <a:lumMod val="75000"/>
                    <a:lumOff val="25000"/>
                  </a:schemeClr>
                </a:solidFill>
                <a:latin typeface="Calibri"/>
                <a:ea typeface="Calibri"/>
                <a:cs typeface="Calibri"/>
              </a:rPr>
              <a:t>2026</a:t>
            </a:r>
            <a:endParaRPr lang="ko-KR" altLang="en-US" sz="1400" b="1">
              <a:solidFill>
                <a:schemeClr val="tx1">
                  <a:lumMod val="75000"/>
                  <a:lumOff val="25000"/>
                </a:schemeClr>
              </a:solidFill>
              <a:latin typeface="Calibri"/>
              <a:cs typeface="Calibri"/>
            </a:endParaRPr>
          </a:p>
        </p:txBody>
      </p:sp>
      <p:sp>
        <p:nvSpPr>
          <p:cNvPr id="32" name="TextBox 31">
            <a:extLst>
              <a:ext uri="{FF2B5EF4-FFF2-40B4-BE49-F238E27FC236}">
                <a16:creationId xmlns:a16="http://schemas.microsoft.com/office/drawing/2014/main" id="{19240AE7-32C6-BB0D-DB0D-D8CFA3ECACCE}"/>
              </a:ext>
            </a:extLst>
          </p:cNvPr>
          <p:cNvSpPr txBox="1"/>
          <p:nvPr/>
        </p:nvSpPr>
        <p:spPr>
          <a:xfrm>
            <a:off x="858085" y="5933728"/>
            <a:ext cx="1630533" cy="523220"/>
          </a:xfrm>
          <a:prstGeom prst="rect">
            <a:avLst/>
          </a:prstGeom>
          <a:noFill/>
        </p:spPr>
        <p:txBody>
          <a:bodyPr wrap="square" rtlCol="0">
            <a:spAutoFit/>
          </a:bodyPr>
          <a:lstStyle>
            <a:defPPr>
              <a:defRPr lang="en-US"/>
            </a:defPPr>
            <a:lvl1pPr algn="ctr">
              <a:defRPr sz="1400">
                <a:solidFill>
                  <a:schemeClr val="tx1">
                    <a:lumMod val="75000"/>
                    <a:lumOff val="25000"/>
                  </a:schemeClr>
                </a:solidFill>
              </a:defRPr>
            </a:lvl1pPr>
          </a:lstStyle>
          <a:p>
            <a:r>
              <a:rPr lang="en-US" altLang="ko-KR">
                <a:latin typeface="Calibri"/>
                <a:ea typeface="Calibri"/>
                <a:cs typeface="Calibri"/>
              </a:rPr>
              <a:t>Commence ICSM revision</a:t>
            </a:r>
            <a:endParaRPr lang="ko-KR" altLang="en-US">
              <a:latin typeface="Calibri"/>
              <a:cs typeface="Calibri"/>
            </a:endParaRPr>
          </a:p>
        </p:txBody>
      </p:sp>
      <p:sp>
        <p:nvSpPr>
          <p:cNvPr id="35" name="TextBox 34">
            <a:extLst>
              <a:ext uri="{FF2B5EF4-FFF2-40B4-BE49-F238E27FC236}">
                <a16:creationId xmlns:a16="http://schemas.microsoft.com/office/drawing/2014/main" id="{3504416B-AE65-6548-3E3E-B2575F723F2F}"/>
              </a:ext>
            </a:extLst>
          </p:cNvPr>
          <p:cNvSpPr txBox="1"/>
          <p:nvPr/>
        </p:nvSpPr>
        <p:spPr>
          <a:xfrm>
            <a:off x="5997323" y="5011973"/>
            <a:ext cx="1630532" cy="307777"/>
          </a:xfrm>
          <a:prstGeom prst="rect">
            <a:avLst/>
          </a:prstGeom>
          <a:noFill/>
        </p:spPr>
        <p:txBody>
          <a:bodyPr wrap="square" rtlCol="0">
            <a:spAutoFit/>
          </a:bodyPr>
          <a:lstStyle/>
          <a:p>
            <a:pPr algn="ctr"/>
            <a:r>
              <a:rPr lang="en-US" altLang="ko-KR" sz="1400" b="1">
                <a:solidFill>
                  <a:schemeClr val="tx1">
                    <a:lumMod val="75000"/>
                    <a:lumOff val="25000"/>
                  </a:schemeClr>
                </a:solidFill>
                <a:latin typeface="Calibri"/>
                <a:ea typeface="Calibri"/>
                <a:cs typeface="Calibri"/>
              </a:rPr>
              <a:t>Autumn</a:t>
            </a:r>
            <a:endParaRPr lang="ko-KR" altLang="en-US" sz="1400" b="1">
              <a:solidFill>
                <a:schemeClr val="tx1">
                  <a:lumMod val="75000"/>
                  <a:lumOff val="25000"/>
                </a:schemeClr>
              </a:solidFill>
              <a:latin typeface="Calibri"/>
              <a:cs typeface="Calibri"/>
            </a:endParaRPr>
          </a:p>
        </p:txBody>
      </p:sp>
      <p:sp>
        <p:nvSpPr>
          <p:cNvPr id="36" name="TextBox 35">
            <a:extLst>
              <a:ext uri="{FF2B5EF4-FFF2-40B4-BE49-F238E27FC236}">
                <a16:creationId xmlns:a16="http://schemas.microsoft.com/office/drawing/2014/main" id="{7648D1B7-045C-B9DD-9CB1-623E1814A91B}"/>
              </a:ext>
            </a:extLst>
          </p:cNvPr>
          <p:cNvSpPr txBox="1"/>
          <p:nvPr/>
        </p:nvSpPr>
        <p:spPr>
          <a:xfrm>
            <a:off x="5648864" y="5933728"/>
            <a:ext cx="2327450" cy="738664"/>
          </a:xfrm>
          <a:prstGeom prst="rect">
            <a:avLst/>
          </a:prstGeom>
          <a:noFill/>
        </p:spPr>
        <p:txBody>
          <a:bodyPr wrap="square" rtlCol="0">
            <a:spAutoFit/>
          </a:bodyPr>
          <a:lstStyle>
            <a:defPPr>
              <a:defRPr lang="en-US"/>
            </a:defPPr>
            <a:lvl1pPr algn="ctr">
              <a:defRPr sz="1400">
                <a:solidFill>
                  <a:schemeClr val="tx1">
                    <a:lumMod val="75000"/>
                    <a:lumOff val="25000"/>
                  </a:schemeClr>
                </a:solidFill>
              </a:defRPr>
            </a:lvl1pPr>
          </a:lstStyle>
          <a:p>
            <a:r>
              <a:rPr lang="en-US" altLang="ko-KR">
                <a:latin typeface="Calibri"/>
                <a:ea typeface="Calibri"/>
                <a:cs typeface="Calibri"/>
              </a:rPr>
              <a:t>Experimental data collection on oscillations to provide data-based guidance</a:t>
            </a:r>
            <a:endParaRPr lang="ko-KR" altLang="en-US">
              <a:latin typeface="Calibri"/>
              <a:cs typeface="Calibri"/>
            </a:endParaRPr>
          </a:p>
        </p:txBody>
      </p:sp>
      <p:cxnSp>
        <p:nvCxnSpPr>
          <p:cNvPr id="40" name="Straight Connector 39">
            <a:extLst>
              <a:ext uri="{FF2B5EF4-FFF2-40B4-BE49-F238E27FC236}">
                <a16:creationId xmlns:a16="http://schemas.microsoft.com/office/drawing/2014/main" id="{FEB1876E-7E05-26DE-013A-5CFF9BA627D1}"/>
              </a:ext>
            </a:extLst>
          </p:cNvPr>
          <p:cNvCxnSpPr>
            <a:cxnSpLocks/>
          </p:cNvCxnSpPr>
          <p:nvPr/>
        </p:nvCxnSpPr>
        <p:spPr>
          <a:xfrm>
            <a:off x="6323651" y="4723376"/>
            <a:ext cx="488936" cy="615424"/>
          </a:xfrm>
          <a:prstGeom prst="line">
            <a:avLst/>
          </a:prstGeom>
          <a:ln>
            <a:solidFill>
              <a:schemeClr val="bg1">
                <a:alpha val="7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B5F3B2-593E-87E6-6C1E-4BBCF8C33F66}"/>
              </a:ext>
            </a:extLst>
          </p:cNvPr>
          <p:cNvCxnSpPr>
            <a:cxnSpLocks/>
          </p:cNvCxnSpPr>
          <p:nvPr/>
        </p:nvCxnSpPr>
        <p:spPr>
          <a:xfrm>
            <a:off x="10228663" y="4747943"/>
            <a:ext cx="0" cy="615424"/>
          </a:xfrm>
          <a:prstGeom prst="line">
            <a:avLst/>
          </a:prstGeom>
          <a:ln>
            <a:solidFill>
              <a:schemeClr val="bg1">
                <a:alpha val="70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4988995-D6AC-A453-296D-0C5CE9808901}"/>
              </a:ext>
            </a:extLst>
          </p:cNvPr>
          <p:cNvSpPr txBox="1"/>
          <p:nvPr/>
        </p:nvSpPr>
        <p:spPr>
          <a:xfrm>
            <a:off x="8646016" y="5011973"/>
            <a:ext cx="1630532" cy="307777"/>
          </a:xfrm>
          <a:prstGeom prst="rect">
            <a:avLst/>
          </a:prstGeom>
          <a:noFill/>
        </p:spPr>
        <p:txBody>
          <a:bodyPr wrap="square" rtlCol="0">
            <a:spAutoFit/>
          </a:bodyPr>
          <a:lstStyle/>
          <a:p>
            <a:pPr algn="ctr"/>
            <a:r>
              <a:rPr lang="en-US" altLang="ko-KR" sz="1400" b="1">
                <a:solidFill>
                  <a:schemeClr val="tx1">
                    <a:lumMod val="75000"/>
                    <a:lumOff val="25000"/>
                  </a:schemeClr>
                </a:solidFill>
                <a:latin typeface="Calibri"/>
                <a:ea typeface="Calibri"/>
                <a:cs typeface="Calibri"/>
              </a:rPr>
              <a:t>2027</a:t>
            </a:r>
            <a:endParaRPr lang="ko-KR" altLang="en-US" sz="1400" b="1">
              <a:solidFill>
                <a:schemeClr val="tx1">
                  <a:lumMod val="75000"/>
                  <a:lumOff val="25000"/>
                </a:schemeClr>
              </a:solidFill>
              <a:latin typeface="Calibri"/>
              <a:cs typeface="Calibri"/>
            </a:endParaRPr>
          </a:p>
        </p:txBody>
      </p:sp>
      <p:sp>
        <p:nvSpPr>
          <p:cNvPr id="44" name="TextBox 43">
            <a:extLst>
              <a:ext uri="{FF2B5EF4-FFF2-40B4-BE49-F238E27FC236}">
                <a16:creationId xmlns:a16="http://schemas.microsoft.com/office/drawing/2014/main" id="{E4936380-114A-075C-40DC-5611D23CC5F0}"/>
              </a:ext>
            </a:extLst>
          </p:cNvPr>
          <p:cNvSpPr txBox="1"/>
          <p:nvPr/>
        </p:nvSpPr>
        <p:spPr>
          <a:xfrm>
            <a:off x="3196508" y="5933728"/>
            <a:ext cx="1963526" cy="738664"/>
          </a:xfrm>
          <a:prstGeom prst="rect">
            <a:avLst/>
          </a:prstGeom>
          <a:noFill/>
        </p:spPr>
        <p:txBody>
          <a:bodyPr wrap="square" lIns="91440" tIns="45720" rIns="91440" bIns="45720" rtlCol="0" anchor="t">
            <a:spAutoFit/>
          </a:bodyPr>
          <a:lstStyle/>
          <a:p>
            <a:pPr algn="ctr"/>
            <a:r>
              <a:rPr lang="en-US" altLang="ko-KR" sz="1400">
                <a:solidFill>
                  <a:schemeClr val="tx1">
                    <a:lumMod val="75000"/>
                    <a:lumOff val="25000"/>
                  </a:schemeClr>
                </a:solidFill>
                <a:latin typeface="Calibri"/>
                <a:ea typeface="Calibri"/>
                <a:cs typeface="Calibri"/>
              </a:rPr>
              <a:t>Examine oscillation system impact in sample TSOs</a:t>
            </a:r>
          </a:p>
        </p:txBody>
      </p:sp>
      <p:sp>
        <p:nvSpPr>
          <p:cNvPr id="45" name="TextBox 44">
            <a:extLst>
              <a:ext uri="{FF2B5EF4-FFF2-40B4-BE49-F238E27FC236}">
                <a16:creationId xmlns:a16="http://schemas.microsoft.com/office/drawing/2014/main" id="{5F8CDC5F-6C93-E447-122F-F98C1B5F17D7}"/>
              </a:ext>
            </a:extLst>
          </p:cNvPr>
          <p:cNvSpPr txBox="1"/>
          <p:nvPr/>
        </p:nvSpPr>
        <p:spPr>
          <a:xfrm>
            <a:off x="8559351" y="5890596"/>
            <a:ext cx="1990766" cy="523220"/>
          </a:xfrm>
          <a:prstGeom prst="rect">
            <a:avLst/>
          </a:prstGeom>
          <a:noFill/>
        </p:spPr>
        <p:txBody>
          <a:bodyPr wrap="square" lIns="91440" tIns="45720" rIns="91440" bIns="45720" rtlCol="0" anchor="t">
            <a:spAutoFit/>
          </a:bodyPr>
          <a:lstStyle>
            <a:defPPr>
              <a:defRPr lang="en-US"/>
            </a:defPPr>
            <a:lvl1pPr algn="ctr">
              <a:defRPr sz="1400">
                <a:solidFill>
                  <a:schemeClr val="tx1">
                    <a:lumMod val="75000"/>
                    <a:lumOff val="25000"/>
                  </a:schemeClr>
                </a:solidFill>
              </a:defRPr>
            </a:lvl1pPr>
          </a:lstStyle>
          <a:p>
            <a:r>
              <a:rPr lang="en-US" altLang="ko-KR">
                <a:latin typeface="Calibri"/>
                <a:ea typeface="Calibri"/>
                <a:cs typeface="Calibri"/>
              </a:rPr>
              <a:t>Stakeholder engagement and revision of timelines</a:t>
            </a:r>
          </a:p>
        </p:txBody>
      </p:sp>
      <p:sp>
        <p:nvSpPr>
          <p:cNvPr id="46" name="TextBox 45">
            <a:extLst>
              <a:ext uri="{FF2B5EF4-FFF2-40B4-BE49-F238E27FC236}">
                <a16:creationId xmlns:a16="http://schemas.microsoft.com/office/drawing/2014/main" id="{39A6A92F-FB50-5A28-51F1-6FFC72921327}"/>
              </a:ext>
            </a:extLst>
          </p:cNvPr>
          <p:cNvSpPr txBox="1"/>
          <p:nvPr/>
        </p:nvSpPr>
        <p:spPr>
          <a:xfrm>
            <a:off x="3363005" y="5011973"/>
            <a:ext cx="1630532" cy="307777"/>
          </a:xfrm>
          <a:prstGeom prst="rect">
            <a:avLst/>
          </a:prstGeom>
          <a:noFill/>
        </p:spPr>
        <p:txBody>
          <a:bodyPr wrap="square" rtlCol="0">
            <a:spAutoFit/>
          </a:bodyPr>
          <a:lstStyle/>
          <a:p>
            <a:pPr algn="ctr"/>
            <a:r>
              <a:rPr lang="en-US" altLang="ko-KR" sz="1400" b="1">
                <a:solidFill>
                  <a:schemeClr val="tx1">
                    <a:lumMod val="75000"/>
                    <a:lumOff val="25000"/>
                  </a:schemeClr>
                </a:solidFill>
                <a:latin typeface="Calibri"/>
                <a:ea typeface="Calibri"/>
                <a:cs typeface="Calibri"/>
              </a:rPr>
              <a:t>Summer</a:t>
            </a:r>
            <a:endParaRPr lang="ko-KR" altLang="en-US" sz="1400" b="1">
              <a:solidFill>
                <a:schemeClr val="tx1">
                  <a:lumMod val="75000"/>
                  <a:lumOff val="25000"/>
                </a:schemeClr>
              </a:solidFill>
              <a:latin typeface="Calibri"/>
              <a:cs typeface="Calibri"/>
            </a:endParaRPr>
          </a:p>
        </p:txBody>
      </p:sp>
      <p:sp>
        <p:nvSpPr>
          <p:cNvPr id="48" name="TextBox 47">
            <a:extLst>
              <a:ext uri="{FF2B5EF4-FFF2-40B4-BE49-F238E27FC236}">
                <a16:creationId xmlns:a16="http://schemas.microsoft.com/office/drawing/2014/main" id="{2B00E5A8-903D-0222-6B2B-4FDF4B6BDAAE}"/>
              </a:ext>
            </a:extLst>
          </p:cNvPr>
          <p:cNvSpPr txBox="1"/>
          <p:nvPr/>
        </p:nvSpPr>
        <p:spPr>
          <a:xfrm>
            <a:off x="5341931" y="1176970"/>
            <a:ext cx="4571848" cy="369332"/>
          </a:xfrm>
          <a:prstGeom prst="rect">
            <a:avLst/>
          </a:prstGeom>
          <a:solidFill>
            <a:schemeClr val="accent1">
              <a:lumMod val="20000"/>
              <a:lumOff val="80000"/>
            </a:schemeClr>
          </a:solidFill>
        </p:spPr>
        <p:txBody>
          <a:bodyPr wrap="square" lIns="91440" tIns="45720" rIns="91440" bIns="45720" anchor="t">
            <a:spAutoFit/>
          </a:bodyPr>
          <a:lstStyle/>
          <a:p>
            <a:pPr lvl="0" algn="ctr"/>
            <a:r>
              <a:rPr lang="en-US">
                <a:solidFill>
                  <a:srgbClr val="002060"/>
                </a:solidFill>
                <a:latin typeface="Calibri"/>
                <a:ea typeface="Calibri"/>
                <a:cs typeface="Calibri"/>
              </a:rPr>
              <a:t>In parallel </a:t>
            </a:r>
          </a:p>
        </p:txBody>
      </p:sp>
      <p:sp>
        <p:nvSpPr>
          <p:cNvPr id="56" name="TextBox 55">
            <a:extLst>
              <a:ext uri="{FF2B5EF4-FFF2-40B4-BE49-F238E27FC236}">
                <a16:creationId xmlns:a16="http://schemas.microsoft.com/office/drawing/2014/main" id="{23C99669-1937-BA81-A1F9-0C22E283D8E1}"/>
              </a:ext>
            </a:extLst>
          </p:cNvPr>
          <p:cNvSpPr txBox="1"/>
          <p:nvPr/>
        </p:nvSpPr>
        <p:spPr>
          <a:xfrm>
            <a:off x="6069" y="4949415"/>
            <a:ext cx="1405527" cy="584775"/>
          </a:xfrm>
          <a:prstGeom prst="rect">
            <a:avLst/>
          </a:prstGeom>
          <a:noFill/>
        </p:spPr>
        <p:txBody>
          <a:bodyPr wrap="square" lIns="91440" tIns="45720" rIns="91440" bIns="45720" anchor="t">
            <a:spAutoFit/>
          </a:bodyPr>
          <a:lstStyle/>
          <a:p>
            <a:r>
              <a:rPr lang="en-GB" sz="1600" i="1">
                <a:latin typeface="Calibri"/>
                <a:ea typeface="Calibri"/>
                <a:cs typeface="Calibri"/>
              </a:rPr>
              <a:t>Preliminary</a:t>
            </a:r>
          </a:p>
          <a:p>
            <a:r>
              <a:rPr lang="en-GB" sz="1600" i="1">
                <a:latin typeface="Calibri"/>
                <a:ea typeface="Calibri"/>
                <a:cs typeface="Calibri"/>
              </a:rPr>
              <a:t>Timeline</a:t>
            </a:r>
            <a:endParaRPr lang="en-US" sz="1600" i="1">
              <a:ea typeface="Calibri"/>
              <a:cs typeface="Calibri"/>
            </a:endParaRPr>
          </a:p>
        </p:txBody>
      </p:sp>
    </p:spTree>
    <p:extLst>
      <p:ext uri="{BB962C8B-B14F-4D97-AF65-F5344CB8AC3E}">
        <p14:creationId xmlns:p14="http://schemas.microsoft.com/office/powerpoint/2010/main" val="24307596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a:lstStyle/>
          <a:p>
            <a:r>
              <a:rPr lang="en-GB" sz="3200"/>
              <a:t>1. Review of actions</a:t>
            </a:r>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554413"/>
            <a:ext cx="11617325" cy="1017587"/>
          </a:xfrm>
        </p:spPr>
        <p:txBody>
          <a:bodyPr>
            <a:normAutofit/>
          </a:bodyPr>
          <a:lstStyle/>
          <a:p>
            <a:endParaRPr lang="en-US" sz="2000">
              <a:solidFill>
                <a:schemeClr val="accent2"/>
              </a:solidFill>
            </a:endParaRPr>
          </a:p>
          <a:p>
            <a:r>
              <a:rPr lang="en-US" sz="2000">
                <a:solidFill>
                  <a:schemeClr val="accent2"/>
                </a:solidFill>
              </a:rPr>
              <a:t>ENTSO-E, Cherry Yuen</a:t>
            </a:r>
          </a:p>
          <a:p>
            <a:endParaRPr lang="en-GB" sz="2000">
              <a:solidFill>
                <a:schemeClr val="accent2"/>
              </a:solidFill>
            </a:endParaRPr>
          </a:p>
        </p:txBody>
      </p:sp>
    </p:spTree>
    <p:extLst>
      <p:ext uri="{BB962C8B-B14F-4D97-AF65-F5344CB8AC3E}">
        <p14:creationId xmlns:p14="http://schemas.microsoft.com/office/powerpoint/2010/main" val="40329150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999E3-3C52-586C-7E79-D9EFEC67E7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35E647-9C00-D14D-90FE-3DBD5606BCC4}"/>
              </a:ext>
            </a:extLst>
          </p:cNvPr>
          <p:cNvSpPr>
            <a:spLocks noGrp="1"/>
          </p:cNvSpPr>
          <p:nvPr>
            <p:ph type="title"/>
          </p:nvPr>
        </p:nvSpPr>
        <p:spPr>
          <a:xfrm>
            <a:off x="287106" y="3197946"/>
            <a:ext cx="11617788" cy="356467"/>
          </a:xfrm>
        </p:spPr>
        <p:txBody>
          <a:bodyPr lIns="91440" tIns="45720" rIns="91440" bIns="45720" anchor="ctr"/>
          <a:lstStyle/>
          <a:p>
            <a:r>
              <a:rPr lang="en-GB" sz="3200">
                <a:latin typeface="Calibri"/>
                <a:ea typeface="Calibri"/>
                <a:cs typeface="Calibri"/>
              </a:rPr>
              <a:t>8. Update on </a:t>
            </a:r>
            <a:r>
              <a:rPr lang="en-GB" sz="3200" err="1">
                <a:latin typeface="Calibri"/>
                <a:ea typeface="Calibri"/>
                <a:cs typeface="Calibri"/>
              </a:rPr>
              <a:t>DfDs</a:t>
            </a:r>
            <a:r>
              <a:rPr lang="en-GB" sz="3200">
                <a:latin typeface="Calibri"/>
                <a:ea typeface="Calibri"/>
                <a:cs typeface="Calibri"/>
              </a:rPr>
              <a:t> </a:t>
            </a:r>
          </a:p>
        </p:txBody>
      </p:sp>
      <p:sp>
        <p:nvSpPr>
          <p:cNvPr id="3" name="Text Placeholder 2">
            <a:extLst>
              <a:ext uri="{FF2B5EF4-FFF2-40B4-BE49-F238E27FC236}">
                <a16:creationId xmlns:a16="http://schemas.microsoft.com/office/drawing/2014/main" id="{8C9DBC2F-92AB-8693-D76C-07DE61478817}"/>
              </a:ext>
            </a:extLst>
          </p:cNvPr>
          <p:cNvSpPr>
            <a:spLocks noGrp="1"/>
          </p:cNvSpPr>
          <p:nvPr>
            <p:ph type="body" sz="quarter" idx="4294967295"/>
          </p:nvPr>
        </p:nvSpPr>
        <p:spPr>
          <a:xfrm>
            <a:off x="574675" y="3554413"/>
            <a:ext cx="11617325" cy="1017587"/>
          </a:xfrm>
        </p:spPr>
        <p:txBody>
          <a:bodyPr vert="horz" lIns="91440" tIns="45720" rIns="91440" bIns="45720" rtlCol="0" anchor="t">
            <a:normAutofit/>
          </a:bodyPr>
          <a:lstStyle/>
          <a:p>
            <a:endParaRPr lang="en-US" sz="2000">
              <a:solidFill>
                <a:schemeClr val="accent2"/>
              </a:solidFill>
            </a:endParaRPr>
          </a:p>
          <a:p>
            <a:r>
              <a:rPr lang="en-GB" sz="2000">
                <a:solidFill>
                  <a:schemeClr val="accent2"/>
                </a:solidFill>
                <a:latin typeface="Calibri"/>
                <a:ea typeface="Calibri"/>
                <a:cs typeface="Calibri"/>
              </a:rPr>
              <a:t>Jens Albrecht, ENTSO-E </a:t>
            </a:r>
            <a:endParaRPr lang="en-US" sz="2000">
              <a:solidFill>
                <a:schemeClr val="accent2"/>
              </a:solidFill>
              <a:latin typeface="Calibri"/>
              <a:ea typeface="Calibri"/>
              <a:cs typeface="Calibri"/>
            </a:endParaRPr>
          </a:p>
          <a:p>
            <a:endParaRPr lang="en-GB" sz="2000">
              <a:solidFill>
                <a:schemeClr val="accent2"/>
              </a:solidFill>
            </a:endParaRPr>
          </a:p>
        </p:txBody>
      </p:sp>
    </p:spTree>
    <p:extLst>
      <p:ext uri="{BB962C8B-B14F-4D97-AF65-F5344CB8AC3E}">
        <p14:creationId xmlns:p14="http://schemas.microsoft.com/office/powerpoint/2010/main" val="33399167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509D2-27E2-ED6E-895C-93F96E99F5DB}"/>
            </a:ext>
          </a:extLst>
        </p:cNvPr>
        <p:cNvGrpSpPr/>
        <p:nvPr/>
      </p:nvGrpSpPr>
      <p:grpSpPr>
        <a:xfrm>
          <a:off x="0" y="0"/>
          <a:ext cx="0" cy="0"/>
          <a:chOff x="0" y="0"/>
          <a:chExt cx="0" cy="0"/>
        </a:xfrm>
      </p:grpSpPr>
      <p:grpSp>
        <p:nvGrpSpPr>
          <p:cNvPr id="20" name="Gruppieren 19">
            <a:extLst>
              <a:ext uri="{FF2B5EF4-FFF2-40B4-BE49-F238E27FC236}">
                <a16:creationId xmlns:a16="http://schemas.microsoft.com/office/drawing/2014/main" id="{751FB951-13E5-76AA-B8FC-65B4610010FE}"/>
              </a:ext>
            </a:extLst>
          </p:cNvPr>
          <p:cNvGrpSpPr/>
          <p:nvPr/>
        </p:nvGrpSpPr>
        <p:grpSpPr>
          <a:xfrm>
            <a:off x="-315686" y="2153973"/>
            <a:ext cx="9144000" cy="4536413"/>
            <a:chOff x="1480458" y="2098426"/>
            <a:chExt cx="9144000" cy="4536413"/>
          </a:xfrm>
        </p:grpSpPr>
        <p:pic>
          <p:nvPicPr>
            <p:cNvPr id="16" name="Grafik 15" descr="Ein Bild, das Text, Diagramm, Screenshot, Reihe enthält.&#10;&#10;KI-generierte Inhalte können fehlerhaft sein.">
              <a:extLst>
                <a:ext uri="{FF2B5EF4-FFF2-40B4-BE49-F238E27FC236}">
                  <a16:creationId xmlns:a16="http://schemas.microsoft.com/office/drawing/2014/main" id="{09555A15-DD89-E45B-114C-B92AFA1306BB}"/>
                </a:ext>
              </a:extLst>
            </p:cNvPr>
            <p:cNvPicPr>
              <a:picLocks noChangeAspect="1"/>
            </p:cNvPicPr>
            <p:nvPr/>
          </p:nvPicPr>
          <p:blipFill>
            <a:blip r:embed="rId4"/>
            <a:srcRect t="88968" b="5159"/>
            <a:stretch>
              <a:fillRect/>
            </a:stretch>
          </p:blipFill>
          <p:spPr>
            <a:xfrm>
              <a:off x="1480458" y="6232069"/>
              <a:ext cx="9144000" cy="402770"/>
            </a:xfrm>
            <a:prstGeom prst="rect">
              <a:avLst/>
            </a:prstGeom>
          </p:spPr>
        </p:pic>
        <p:pic>
          <p:nvPicPr>
            <p:cNvPr id="18" name="Grafik 17" descr="Ein Bild, das Text, Diagramm, Screenshot, Reihe enthält.&#10;&#10;KI-generierte Inhalte können fehlerhaft sein.">
              <a:extLst>
                <a:ext uri="{FF2B5EF4-FFF2-40B4-BE49-F238E27FC236}">
                  <a16:creationId xmlns:a16="http://schemas.microsoft.com/office/drawing/2014/main" id="{8674FD40-35EA-1914-B3FD-0F214DFA675E}"/>
                </a:ext>
              </a:extLst>
            </p:cNvPr>
            <p:cNvPicPr>
              <a:picLocks noChangeAspect="1"/>
            </p:cNvPicPr>
            <p:nvPr/>
          </p:nvPicPr>
          <p:blipFill>
            <a:blip r:embed="rId4"/>
            <a:srcRect t="21881" b="23334"/>
            <a:stretch>
              <a:fillRect/>
            </a:stretch>
          </p:blipFill>
          <p:spPr>
            <a:xfrm>
              <a:off x="1480458" y="2572875"/>
              <a:ext cx="9144000" cy="3757168"/>
            </a:xfrm>
            <a:prstGeom prst="rect">
              <a:avLst/>
            </a:prstGeom>
          </p:spPr>
        </p:pic>
        <p:pic>
          <p:nvPicPr>
            <p:cNvPr id="19" name="Grafik 18" descr="Ein Bild, das Text, Diagramm, Screenshot, Reihe enthält.&#10;&#10;KI-generierte Inhalte können fehlerhaft sein.">
              <a:extLst>
                <a:ext uri="{FF2B5EF4-FFF2-40B4-BE49-F238E27FC236}">
                  <a16:creationId xmlns:a16="http://schemas.microsoft.com/office/drawing/2014/main" id="{F9F9587C-B9A3-A8B1-8A73-EA5DD5E10D66}"/>
                </a:ext>
              </a:extLst>
            </p:cNvPr>
            <p:cNvPicPr>
              <a:picLocks noChangeAspect="1"/>
            </p:cNvPicPr>
            <p:nvPr/>
          </p:nvPicPr>
          <p:blipFill>
            <a:blip r:embed="rId4"/>
            <a:srcRect b="92050"/>
            <a:stretch>
              <a:fillRect/>
            </a:stretch>
          </p:blipFill>
          <p:spPr>
            <a:xfrm>
              <a:off x="1480458" y="2098426"/>
              <a:ext cx="9144000" cy="545206"/>
            </a:xfrm>
            <a:prstGeom prst="rect">
              <a:avLst/>
            </a:prstGeom>
          </p:spPr>
        </p:pic>
      </p:grpSp>
      <p:graphicFrame>
        <p:nvGraphicFramePr>
          <p:cNvPr id="8" name="Objekt 7" hidden="1">
            <a:extLst>
              <a:ext uri="{FF2B5EF4-FFF2-40B4-BE49-F238E27FC236}">
                <a16:creationId xmlns:a16="http://schemas.microsoft.com/office/drawing/2014/main" id="{9D92D071-C095-2316-FCD7-0087233457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7" imgH="327" progId="TCLayout.ActiveDocument.1">
                  <p:embed/>
                </p:oleObj>
              </mc:Choice>
              <mc:Fallback>
                <p:oleObj name="think-cell Folie" r:id="rId5" imgW="327" imgH="327" progId="TCLayout.ActiveDocument.1">
                  <p:embed/>
                  <p:pic>
                    <p:nvPicPr>
                      <p:cNvPr id="8" name="Objekt 7" hidden="1">
                        <a:extLst>
                          <a:ext uri="{FF2B5EF4-FFF2-40B4-BE49-F238E27FC236}">
                            <a16:creationId xmlns:a16="http://schemas.microsoft.com/office/drawing/2014/main" id="{9D92D071-C095-2316-FCD7-0087233457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E547D36D-4A75-E3EF-CA48-C8FF5E0FFF6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0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58A67980-2E08-4523-A9B9-2356D3F0BFE8}"/>
              </a:ext>
            </a:extLst>
          </p:cNvPr>
          <p:cNvSpPr>
            <a:spLocks noGrp="1"/>
          </p:cNvSpPr>
          <p:nvPr>
            <p:ph type="title"/>
          </p:nvPr>
        </p:nvSpPr>
        <p:spPr/>
        <p:txBody>
          <a:bodyPr/>
          <a:lstStyle/>
          <a:p>
            <a:r>
              <a:rPr lang="en-GB" sz="2800" noProof="0"/>
              <a:t>ESC: </a:t>
            </a:r>
            <a:r>
              <a:rPr lang="en-US" sz="2800"/>
              <a:t>Deterministic Frequency Deviations (DFDs) in CE</a:t>
            </a:r>
            <a:endParaRPr lang="en-GB" sz="2800" noProof="0"/>
          </a:p>
        </p:txBody>
      </p:sp>
      <p:sp>
        <p:nvSpPr>
          <p:cNvPr id="14" name="Textplatzhalter 13">
            <a:extLst>
              <a:ext uri="{FF2B5EF4-FFF2-40B4-BE49-F238E27FC236}">
                <a16:creationId xmlns:a16="http://schemas.microsoft.com/office/drawing/2014/main" id="{102A772E-86C0-BDEB-A5D2-05442CA2BB25}"/>
              </a:ext>
            </a:extLst>
          </p:cNvPr>
          <p:cNvSpPr>
            <a:spLocks noGrp="1"/>
          </p:cNvSpPr>
          <p:nvPr>
            <p:ph type="body" sz="quarter" idx="12"/>
          </p:nvPr>
        </p:nvSpPr>
        <p:spPr/>
        <p:txBody>
          <a:bodyPr>
            <a:normAutofit/>
          </a:bodyPr>
          <a:lstStyle/>
          <a:p>
            <a:r>
              <a:rPr lang="en-GB" sz="1800" noProof="0"/>
              <a:t>“Safety margin eating effect” in CE, update from 2025</a:t>
            </a:r>
          </a:p>
        </p:txBody>
      </p:sp>
      <p:sp>
        <p:nvSpPr>
          <p:cNvPr id="4" name="Segnaposto contenuto 2">
            <a:extLst>
              <a:ext uri="{FF2B5EF4-FFF2-40B4-BE49-F238E27FC236}">
                <a16:creationId xmlns:a16="http://schemas.microsoft.com/office/drawing/2014/main" id="{663821FB-51D9-31F7-5DCE-EDA60F1BE83C}"/>
              </a:ext>
            </a:extLst>
          </p:cNvPr>
          <p:cNvSpPr txBox="1">
            <a:spLocks/>
          </p:cNvSpPr>
          <p:nvPr/>
        </p:nvSpPr>
        <p:spPr>
          <a:xfrm>
            <a:off x="287104" y="1774094"/>
            <a:ext cx="10544181" cy="495871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Repetitive frequency patterns </a:t>
            </a:r>
            <a:r>
              <a:rPr lang="en-US"/>
              <a:t>(dependent on season of the year and time of the day), existing </a:t>
            </a:r>
            <a:r>
              <a:rPr lang="en-US" b="1"/>
              <a:t>since many years </a:t>
            </a:r>
            <a:r>
              <a:rPr lang="en-US"/>
              <a:t>usually during the change of the hour and sometimes even driving the frequency out-of-normal range</a:t>
            </a:r>
          </a:p>
        </p:txBody>
      </p:sp>
      <p:sp>
        <p:nvSpPr>
          <p:cNvPr id="21" name="Textfeld 20">
            <a:extLst>
              <a:ext uri="{FF2B5EF4-FFF2-40B4-BE49-F238E27FC236}">
                <a16:creationId xmlns:a16="http://schemas.microsoft.com/office/drawing/2014/main" id="{64C54C6B-1CFF-CD15-B51D-EC60AD3CB6CD}"/>
              </a:ext>
            </a:extLst>
          </p:cNvPr>
          <p:cNvSpPr txBox="1"/>
          <p:nvPr/>
        </p:nvSpPr>
        <p:spPr>
          <a:xfrm>
            <a:off x="8294914" y="2608164"/>
            <a:ext cx="3472544" cy="3785652"/>
          </a:xfrm>
          <a:prstGeom prst="rect">
            <a:avLst/>
          </a:prstGeom>
          <a:noFill/>
        </p:spPr>
        <p:txBody>
          <a:bodyPr wrap="square" rtlCol="0">
            <a:spAutoFit/>
          </a:bodyPr>
          <a:lstStyle/>
          <a:p>
            <a:pPr marL="285750" indent="-285750">
              <a:buFont typeface="Arial" panose="020B0604020202020204" pitchFamily="34" charset="0"/>
              <a:buChar char="•"/>
            </a:pPr>
            <a:r>
              <a:rPr lang="en-US" sz="1600"/>
              <a:t>are </a:t>
            </a:r>
            <a:r>
              <a:rPr lang="en-US" sz="1600" b="1"/>
              <a:t>closely monitored </a:t>
            </a:r>
            <a:r>
              <a:rPr lang="en-US" sz="1600"/>
              <a:t>for their occurrences, long-term trend and operational impact</a:t>
            </a:r>
          </a:p>
          <a:p>
            <a:pPr marL="285750" indent="-285750">
              <a:buFont typeface="Arial" panose="020B0604020202020204" pitchFamily="34" charset="0"/>
              <a:buChar char="•"/>
            </a:pPr>
            <a:r>
              <a:rPr lang="en-US" sz="1600"/>
              <a:t>are visible in 24-hour </a:t>
            </a:r>
            <a:r>
              <a:rPr lang="en-US" sz="1600" b="1"/>
              <a:t>frequency-average curves </a:t>
            </a:r>
            <a:r>
              <a:rPr lang="en-US" sz="1600"/>
              <a:t>of complete months and in the </a:t>
            </a:r>
            <a:r>
              <a:rPr lang="en-US" sz="1600" b="1"/>
              <a:t>number of DFD events</a:t>
            </a:r>
          </a:p>
          <a:p>
            <a:pPr marL="285750" indent="-285750">
              <a:buFont typeface="Arial" panose="020B0604020202020204" pitchFamily="34" charset="0"/>
              <a:buChar char="•"/>
            </a:pPr>
            <a:r>
              <a:rPr lang="en-US" sz="1600" b="1"/>
              <a:t>cannot be mitigated </a:t>
            </a:r>
            <a:r>
              <a:rPr lang="en-US" sz="1600"/>
              <a:t>by means of load-frequency-control in operation</a:t>
            </a:r>
          </a:p>
          <a:p>
            <a:pPr marL="285750" indent="-285750">
              <a:buFont typeface="Arial" panose="020B0604020202020204" pitchFamily="34" charset="0"/>
              <a:buChar char="•"/>
            </a:pPr>
            <a:r>
              <a:rPr lang="en-US" sz="1600"/>
              <a:t>year-by-year </a:t>
            </a:r>
            <a:r>
              <a:rPr lang="en-US" sz="1600" b="1"/>
              <a:t>slowly increasing the volatility</a:t>
            </a:r>
            <a:r>
              <a:rPr lang="en-US" sz="1600"/>
              <a:t> of the frequency</a:t>
            </a:r>
          </a:p>
          <a:p>
            <a:pPr marL="285750" indent="-285750">
              <a:buFont typeface="Arial" panose="020B0604020202020204" pitchFamily="34" charset="0"/>
              <a:buChar char="•"/>
            </a:pPr>
            <a:r>
              <a:rPr lang="en-US" sz="1600"/>
              <a:t>in 2025 changed from hourly to</a:t>
            </a:r>
            <a:r>
              <a:rPr lang="en-US" sz="1600" b="1"/>
              <a:t> </a:t>
            </a:r>
            <a:r>
              <a:rPr lang="en-US" sz="1600"/>
              <a:t>dominant</a:t>
            </a:r>
            <a:r>
              <a:rPr lang="en-US" sz="1600" b="1"/>
              <a:t> 15-minute</a:t>
            </a:r>
            <a:r>
              <a:rPr lang="en-US" sz="1600"/>
              <a:t> </a:t>
            </a:r>
            <a:r>
              <a:rPr lang="en-US" sz="1600" b="1"/>
              <a:t>patterns</a:t>
            </a:r>
          </a:p>
          <a:p>
            <a:endParaRPr lang="de-DE" sz="1600"/>
          </a:p>
        </p:txBody>
      </p:sp>
      <p:grpSp>
        <p:nvGrpSpPr>
          <p:cNvPr id="24" name="Gruppieren 23">
            <a:extLst>
              <a:ext uri="{FF2B5EF4-FFF2-40B4-BE49-F238E27FC236}">
                <a16:creationId xmlns:a16="http://schemas.microsoft.com/office/drawing/2014/main" id="{1BC0CA91-B6E4-9408-028B-253AC73D0513}"/>
              </a:ext>
            </a:extLst>
          </p:cNvPr>
          <p:cNvGrpSpPr/>
          <p:nvPr/>
        </p:nvGrpSpPr>
        <p:grpSpPr>
          <a:xfrm>
            <a:off x="239486" y="2454729"/>
            <a:ext cx="8098971" cy="3875314"/>
            <a:chOff x="239486" y="2454729"/>
            <a:chExt cx="8098971" cy="3875314"/>
          </a:xfrm>
          <a:solidFill>
            <a:schemeClr val="bg1"/>
          </a:solidFill>
        </p:grpSpPr>
        <p:sp>
          <p:nvSpPr>
            <p:cNvPr id="22" name="Rechteck 21">
              <a:extLst>
                <a:ext uri="{FF2B5EF4-FFF2-40B4-BE49-F238E27FC236}">
                  <a16:creationId xmlns:a16="http://schemas.microsoft.com/office/drawing/2014/main" id="{5D6E0A82-8A5B-6D26-DCA9-506B4F921AC7}"/>
                </a:ext>
              </a:extLst>
            </p:cNvPr>
            <p:cNvSpPr/>
            <p:nvPr/>
          </p:nvSpPr>
          <p:spPr>
            <a:xfrm>
              <a:off x="239486" y="2541814"/>
              <a:ext cx="571500" cy="22315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E4B4D89C-54D7-A8C8-6796-B43CB9E8838B}"/>
                </a:ext>
              </a:extLst>
            </p:cNvPr>
            <p:cNvSpPr/>
            <p:nvPr/>
          </p:nvSpPr>
          <p:spPr>
            <a:xfrm>
              <a:off x="8039100" y="2454729"/>
              <a:ext cx="299357" cy="3875314"/>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5617030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a:xfrm>
            <a:off x="287106" y="2883482"/>
            <a:ext cx="11617788" cy="1132688"/>
          </a:xfrm>
        </p:spPr>
        <p:txBody>
          <a:bodyPr lIns="91440" tIns="45720" rIns="91440" bIns="45720" anchor="ctr"/>
          <a:lstStyle/>
          <a:p>
            <a:r>
              <a:rPr lang="en-GB" sz="3200">
                <a:latin typeface="Calibri"/>
                <a:ea typeface="Calibri"/>
                <a:cs typeface="Calibri"/>
              </a:rPr>
              <a:t>9. AOB</a:t>
            </a:r>
            <a:br>
              <a:rPr lang="en-GB" sz="3200">
                <a:latin typeface="Calibri"/>
                <a:ea typeface="Calibri"/>
                <a:cs typeface="Calibri"/>
              </a:rPr>
            </a:br>
            <a:endParaRPr lang="en-GB" sz="2400">
              <a:ea typeface="Calibri"/>
            </a:endParaRPr>
          </a:p>
        </p:txBody>
      </p:sp>
    </p:spTree>
    <p:extLst>
      <p:ext uri="{BB962C8B-B14F-4D97-AF65-F5344CB8AC3E}">
        <p14:creationId xmlns:p14="http://schemas.microsoft.com/office/powerpoint/2010/main" val="29675974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67AB7-C374-CDA3-055C-72A7FA0DA1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EC5C37-AEE0-72D4-173D-100D25F35614}"/>
              </a:ext>
            </a:extLst>
          </p:cNvPr>
          <p:cNvSpPr>
            <a:spLocks noGrp="1"/>
          </p:cNvSpPr>
          <p:nvPr>
            <p:ph type="title"/>
          </p:nvPr>
        </p:nvSpPr>
        <p:spPr>
          <a:xfrm>
            <a:off x="287106" y="3197946"/>
            <a:ext cx="11617788" cy="356467"/>
          </a:xfrm>
        </p:spPr>
        <p:txBody>
          <a:bodyPr lIns="91440" tIns="45720" rIns="91440" bIns="45720" anchor="ctr"/>
          <a:lstStyle/>
          <a:p>
            <a:r>
              <a:rPr lang="en-GB" sz="3200">
                <a:latin typeface="Calibri"/>
                <a:ea typeface="Calibri"/>
                <a:cs typeface="Calibri"/>
              </a:rPr>
              <a:t>10. Czech Republic Incident Investigation </a:t>
            </a:r>
          </a:p>
        </p:txBody>
      </p:sp>
      <p:sp>
        <p:nvSpPr>
          <p:cNvPr id="3" name="Text Placeholder 2">
            <a:extLst>
              <a:ext uri="{FF2B5EF4-FFF2-40B4-BE49-F238E27FC236}">
                <a16:creationId xmlns:a16="http://schemas.microsoft.com/office/drawing/2014/main" id="{E23CEF15-E550-6E5D-95E3-ABA0CFF566CB}"/>
              </a:ext>
            </a:extLst>
          </p:cNvPr>
          <p:cNvSpPr>
            <a:spLocks noGrp="1"/>
          </p:cNvSpPr>
          <p:nvPr>
            <p:ph type="body" sz="quarter" idx="4294967295"/>
          </p:nvPr>
        </p:nvSpPr>
        <p:spPr>
          <a:xfrm>
            <a:off x="574675" y="3554413"/>
            <a:ext cx="11617325" cy="1017587"/>
          </a:xfrm>
        </p:spPr>
        <p:txBody>
          <a:bodyPr vert="horz" lIns="91440" tIns="45720" rIns="91440" bIns="45720" rtlCol="0" anchor="t">
            <a:normAutofit/>
          </a:bodyPr>
          <a:lstStyle/>
          <a:p>
            <a:endParaRPr lang="en-US" sz="2000">
              <a:solidFill>
                <a:schemeClr val="accent2"/>
              </a:solidFill>
            </a:endParaRPr>
          </a:p>
          <a:p>
            <a:r>
              <a:rPr lang="en-GB" sz="2000">
                <a:solidFill>
                  <a:schemeClr val="accent2"/>
                </a:solidFill>
                <a:latin typeface="Calibri"/>
                <a:ea typeface="Calibri"/>
                <a:cs typeface="Calibri"/>
              </a:rPr>
              <a:t>Donatas </a:t>
            </a:r>
            <a:r>
              <a:rPr lang="en-GB" sz="2000" err="1">
                <a:solidFill>
                  <a:schemeClr val="accent2"/>
                </a:solidFill>
                <a:latin typeface="Calibri"/>
                <a:ea typeface="Calibri"/>
                <a:cs typeface="Calibri"/>
              </a:rPr>
              <a:t>Matelionis</a:t>
            </a:r>
            <a:r>
              <a:rPr lang="en-GB" sz="2000">
                <a:solidFill>
                  <a:schemeClr val="accent2"/>
                </a:solidFill>
                <a:latin typeface="Calibri"/>
                <a:ea typeface="Calibri"/>
                <a:cs typeface="Calibri"/>
              </a:rPr>
              <a:t>,  ENTSO-E </a:t>
            </a:r>
            <a:endParaRPr lang="en-US" sz="2000">
              <a:solidFill>
                <a:schemeClr val="accent2"/>
              </a:solidFill>
              <a:latin typeface="Calibri"/>
              <a:ea typeface="Calibri"/>
              <a:cs typeface="Calibri"/>
            </a:endParaRPr>
          </a:p>
          <a:p>
            <a:endParaRPr lang="en-GB" sz="2000">
              <a:solidFill>
                <a:schemeClr val="accent2"/>
              </a:solidFill>
            </a:endParaRPr>
          </a:p>
        </p:txBody>
      </p:sp>
    </p:spTree>
    <p:extLst>
      <p:ext uri="{BB962C8B-B14F-4D97-AF65-F5344CB8AC3E}">
        <p14:creationId xmlns:p14="http://schemas.microsoft.com/office/powerpoint/2010/main" val="41481424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48273-FA1A-DE62-11EF-3D4867CBC68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6BEA59F-3069-B22B-E397-1C87256D7F24}"/>
              </a:ext>
            </a:extLst>
          </p:cNvPr>
          <p:cNvSpPr>
            <a:spLocks noGrp="1"/>
          </p:cNvSpPr>
          <p:nvPr>
            <p:ph type="title"/>
          </p:nvPr>
        </p:nvSpPr>
        <p:spPr/>
        <p:txBody>
          <a:bodyPr>
            <a:normAutofit fontScale="90000"/>
          </a:bodyPr>
          <a:lstStyle/>
          <a:p>
            <a:r>
              <a:rPr lang="en-US" noProof="0">
                <a:ea typeface="Calibri" panose="020F0502020204030204" pitchFamily="34" charset="0"/>
              </a:rPr>
              <a:t>4 July 2025 </a:t>
            </a:r>
            <a:r>
              <a:rPr lang="en-US">
                <a:ea typeface="Calibri" panose="020F0502020204030204" pitchFamily="34" charset="0"/>
              </a:rPr>
              <a:t>i</a:t>
            </a:r>
            <a:r>
              <a:rPr lang="en-US" noProof="0" err="1">
                <a:ea typeface="Calibri" panose="020F0502020204030204" pitchFamily="34" charset="0"/>
              </a:rPr>
              <a:t>ncident</a:t>
            </a:r>
            <a:r>
              <a:rPr lang="en-US" noProof="0">
                <a:ea typeface="Calibri" panose="020F0502020204030204" pitchFamily="34" charset="0"/>
              </a:rPr>
              <a:t> in Czech Republic</a:t>
            </a:r>
          </a:p>
        </p:txBody>
      </p:sp>
      <p:sp>
        <p:nvSpPr>
          <p:cNvPr id="13" name="TextBox 12">
            <a:extLst>
              <a:ext uri="{FF2B5EF4-FFF2-40B4-BE49-F238E27FC236}">
                <a16:creationId xmlns:a16="http://schemas.microsoft.com/office/drawing/2014/main" id="{FC41623E-DA16-D75B-6DF9-F4F660B1E903}"/>
              </a:ext>
            </a:extLst>
          </p:cNvPr>
          <p:cNvSpPr txBox="1"/>
          <p:nvPr/>
        </p:nvSpPr>
        <p:spPr>
          <a:xfrm>
            <a:off x="377131" y="985421"/>
            <a:ext cx="5718869" cy="1292662"/>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F218B"/>
                </a:solidFill>
                <a:effectLst/>
                <a:uLnTx/>
                <a:uFillTx/>
                <a:latin typeface="Calibri"/>
                <a:ea typeface="Calibri"/>
                <a:cs typeface="Calibri"/>
              </a:rPr>
              <a:t>Status:</a:t>
            </a:r>
            <a:endParaRPr kumimoji="0" lang="en-US" sz="2400" b="0" i="0" u="none" strike="noStrike" kern="1200" cap="none" spc="0" normalizeH="0" baseline="0" noProof="0">
              <a:ln>
                <a:noFill/>
              </a:ln>
              <a:solidFill>
                <a:srgbClr val="3A3A3F"/>
              </a:solidFill>
              <a:effectLst/>
              <a:uLnTx/>
              <a:uFillTx/>
              <a:latin typeface="Calibri"/>
              <a:ea typeface="Calibri"/>
              <a:cs typeface="Calibri"/>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F218B"/>
                </a:solidFill>
                <a:effectLst/>
                <a:uLnTx/>
                <a:uFillTx/>
                <a:latin typeface="Calibri"/>
                <a:ea typeface="Calibri"/>
                <a:cs typeface="Calibri"/>
              </a:rPr>
              <a:t>Factual report was published on 19 December 2025</a:t>
            </a:r>
            <a:endParaRPr kumimoji="0" lang="en-US" sz="2400" b="1" i="0" u="none" strike="noStrike" kern="1200" cap="none" spc="0" normalizeH="0" baseline="0" noProof="0">
              <a:ln>
                <a:noFill/>
              </a:ln>
              <a:solidFill>
                <a:srgbClr val="0F218B"/>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indent="-285750" defTabSz="457200">
              <a:buFont typeface="Arial" panose="020B0604020202020204" pitchFamily="34" charset="0"/>
              <a:buChar char="•"/>
              <a:defRPr/>
            </a:pPr>
            <a:r>
              <a:rPr lang="en-US">
                <a:solidFill>
                  <a:srgbClr val="0F218B"/>
                </a:solidFill>
                <a:latin typeface="Calibri"/>
                <a:ea typeface="Calibri"/>
                <a:cs typeface="Calibri"/>
              </a:rPr>
              <a:t>Expert panel continuous work on Final report to be published by June 2026</a:t>
            </a:r>
          </a:p>
        </p:txBody>
      </p:sp>
      <p:pic>
        <p:nvPicPr>
          <p:cNvPr id="3" name="Picture 2">
            <a:extLst>
              <a:ext uri="{FF2B5EF4-FFF2-40B4-BE49-F238E27FC236}">
                <a16:creationId xmlns:a16="http://schemas.microsoft.com/office/drawing/2014/main" id="{E8701684-FA41-8EA2-3DC2-74A1E6709EB6}"/>
              </a:ext>
            </a:extLst>
          </p:cNvPr>
          <p:cNvPicPr>
            <a:picLocks noChangeAspect="1"/>
          </p:cNvPicPr>
          <p:nvPr/>
        </p:nvPicPr>
        <p:blipFill>
          <a:blip r:embed="rId2"/>
          <a:stretch>
            <a:fillRect/>
          </a:stretch>
        </p:blipFill>
        <p:spPr>
          <a:xfrm>
            <a:off x="7529940" y="1029425"/>
            <a:ext cx="3196282" cy="4505701"/>
          </a:xfrm>
          <a:prstGeom prst="rect">
            <a:avLst/>
          </a:prstGeom>
        </p:spPr>
      </p:pic>
      <p:sp>
        <p:nvSpPr>
          <p:cNvPr id="5" name="TextBox 4">
            <a:extLst>
              <a:ext uri="{FF2B5EF4-FFF2-40B4-BE49-F238E27FC236}">
                <a16:creationId xmlns:a16="http://schemas.microsoft.com/office/drawing/2014/main" id="{58E92FCB-EA36-956B-E6ED-8C2FFD455E2E}"/>
              </a:ext>
            </a:extLst>
          </p:cNvPr>
          <p:cNvSpPr txBox="1"/>
          <p:nvPr/>
        </p:nvSpPr>
        <p:spPr>
          <a:xfrm>
            <a:off x="7176978" y="5549412"/>
            <a:ext cx="4307441" cy="646331"/>
          </a:xfrm>
          <a:prstGeom prst="rect">
            <a:avLst/>
          </a:prstGeom>
          <a:noFill/>
        </p:spPr>
        <p:txBody>
          <a:bodyPr wrap="square">
            <a:spAutoFit/>
          </a:bodyPr>
          <a:lstStyle/>
          <a:p>
            <a:pPr lvl="0" defTabSz="457200">
              <a:defRPr/>
            </a:pPr>
            <a:r>
              <a:rPr lang="en-US" u="sng">
                <a:hlinkClick r:id="rId3" tooltip="https://www.entsoe.eu/news/2025/12/19/4-july-grid-incident-in-the-czech-republic-expert-panel-releases-factual-report/"/>
              </a:rPr>
              <a:t>4 July grid incident in the Czech Republic: Expert Panel releases factual report</a:t>
            </a:r>
            <a:endParaRPr lang="en-US" noProof="0">
              <a:solidFill>
                <a:srgbClr val="0F218B"/>
              </a:solidFill>
              <a:latin typeface="Calibri"/>
              <a:ea typeface="Calibri"/>
              <a:cs typeface="Calibri"/>
            </a:endParaRPr>
          </a:p>
        </p:txBody>
      </p:sp>
    </p:spTree>
    <p:extLst>
      <p:ext uri="{BB962C8B-B14F-4D97-AF65-F5344CB8AC3E}">
        <p14:creationId xmlns:p14="http://schemas.microsoft.com/office/powerpoint/2010/main" val="2691132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9D858E-EDCE-080B-9117-3F8C20EED3E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8A61E45-5F10-AE56-5609-03791109BB4B}"/>
              </a:ext>
            </a:extLst>
          </p:cNvPr>
          <p:cNvSpPr>
            <a:spLocks noGrp="1"/>
          </p:cNvSpPr>
          <p:nvPr>
            <p:ph type="title"/>
          </p:nvPr>
        </p:nvSpPr>
        <p:spPr/>
        <p:txBody>
          <a:bodyPr>
            <a:normAutofit fontScale="90000"/>
          </a:bodyPr>
          <a:lstStyle/>
          <a:p>
            <a:r>
              <a:rPr lang="lt-LT" noProof="0" err="1">
                <a:ea typeface="Calibri" panose="020F0502020204030204" pitchFamily="34" charset="0"/>
              </a:rPr>
              <a:t>Evolution</a:t>
            </a:r>
            <a:r>
              <a:rPr lang="lt-LT" noProof="0">
                <a:ea typeface="Calibri" panose="020F0502020204030204" pitchFamily="34" charset="0"/>
              </a:rPr>
              <a:t> </a:t>
            </a:r>
            <a:r>
              <a:rPr lang="lt-LT" noProof="0" err="1">
                <a:ea typeface="Calibri" panose="020F0502020204030204" pitchFamily="34" charset="0"/>
              </a:rPr>
              <a:t>of</a:t>
            </a:r>
            <a:r>
              <a:rPr lang="lt-LT" noProof="0">
                <a:ea typeface="Calibri" panose="020F0502020204030204" pitchFamily="34" charset="0"/>
              </a:rPr>
              <a:t> </a:t>
            </a:r>
            <a:r>
              <a:rPr lang="lt-LT" noProof="0" err="1">
                <a:ea typeface="Calibri" panose="020F0502020204030204" pitchFamily="34" charset="0"/>
              </a:rPr>
              <a:t>system</a:t>
            </a:r>
            <a:r>
              <a:rPr lang="lt-LT" noProof="0">
                <a:ea typeface="Calibri" panose="020F0502020204030204" pitchFamily="34" charset="0"/>
              </a:rPr>
              <a:t> </a:t>
            </a:r>
            <a:r>
              <a:rPr lang="lt-LT" noProof="0" err="1">
                <a:ea typeface="Calibri" panose="020F0502020204030204" pitchFamily="34" charset="0"/>
              </a:rPr>
              <a:t>conditions</a:t>
            </a:r>
            <a:r>
              <a:rPr lang="lt-LT" noProof="0">
                <a:ea typeface="Calibri" panose="020F0502020204030204" pitchFamily="34" charset="0"/>
              </a:rPr>
              <a:t> </a:t>
            </a:r>
            <a:r>
              <a:rPr lang="lt-LT" noProof="0" err="1">
                <a:ea typeface="Calibri" panose="020F0502020204030204" pitchFamily="34" charset="0"/>
              </a:rPr>
              <a:t>durin</a:t>
            </a:r>
            <a:r>
              <a:rPr lang="lt-LT">
                <a:ea typeface="Calibri" panose="020F0502020204030204" pitchFamily="34" charset="0"/>
              </a:rPr>
              <a:t>g </a:t>
            </a:r>
            <a:r>
              <a:rPr lang="lt-LT" err="1">
                <a:ea typeface="Calibri" panose="020F0502020204030204" pitchFamily="34" charset="0"/>
              </a:rPr>
              <a:t>the</a:t>
            </a:r>
            <a:r>
              <a:rPr lang="lt-LT">
                <a:ea typeface="Calibri" panose="020F0502020204030204" pitchFamily="34" charset="0"/>
              </a:rPr>
              <a:t> </a:t>
            </a:r>
            <a:r>
              <a:rPr lang="lt-LT" err="1">
                <a:ea typeface="Calibri" panose="020F0502020204030204" pitchFamily="34" charset="0"/>
              </a:rPr>
              <a:t>event</a:t>
            </a:r>
            <a:endParaRPr lang="en-US" noProof="0">
              <a:ea typeface="Calibri" panose="020F0502020204030204" pitchFamily="34" charset="0"/>
            </a:endParaRPr>
          </a:p>
        </p:txBody>
      </p:sp>
      <p:sp>
        <p:nvSpPr>
          <p:cNvPr id="7" name="TextBox 6">
            <a:extLst>
              <a:ext uri="{FF2B5EF4-FFF2-40B4-BE49-F238E27FC236}">
                <a16:creationId xmlns:a16="http://schemas.microsoft.com/office/drawing/2014/main" id="{8788E714-8AEB-FE48-4E22-31B2D23941AD}"/>
              </a:ext>
            </a:extLst>
          </p:cNvPr>
          <p:cNvSpPr txBox="1"/>
          <p:nvPr/>
        </p:nvSpPr>
        <p:spPr>
          <a:xfrm>
            <a:off x="592478" y="870954"/>
            <a:ext cx="5428178" cy="5909310"/>
          </a:xfrm>
          <a:prstGeom prst="rect">
            <a:avLst/>
          </a:prstGeom>
          <a:noFill/>
        </p:spPr>
        <p:txBody>
          <a:bodyPr wrap="square">
            <a:spAutoFit/>
          </a:bodyPr>
          <a:lstStyle/>
          <a:p>
            <a:pPr defTabSz="457200">
              <a:defRPr/>
            </a:pPr>
            <a:r>
              <a:rPr lang="en-US" sz="1400" b="1">
                <a:solidFill>
                  <a:srgbClr val="0F218B"/>
                </a:solidFill>
                <a:latin typeface="Calibri"/>
                <a:ea typeface="Calibri"/>
                <a:cs typeface="Calibri"/>
              </a:rPr>
              <a:t>Pre‑incident system state (before 11:51)</a:t>
            </a:r>
            <a:endParaRPr lang="lt-LT" sz="1400" b="1">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Czech transmission system operated N‑1 secure despite extensive planned outages.</a:t>
            </a:r>
            <a:endParaRPr lang="lt-LT" sz="1400">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High north–south power flows</a:t>
            </a:r>
            <a:r>
              <a:rPr lang="lt-LT" sz="1400">
                <a:solidFill>
                  <a:srgbClr val="0F218B"/>
                </a:solidFill>
                <a:latin typeface="Calibri"/>
                <a:ea typeface="Calibri"/>
                <a:cs typeface="Calibri"/>
              </a:rPr>
              <a:t>. </a:t>
            </a:r>
            <a:r>
              <a:rPr lang="en-US" sz="1400">
                <a:solidFill>
                  <a:srgbClr val="0F218B"/>
                </a:solidFill>
                <a:latin typeface="Calibri"/>
                <a:ea typeface="Calibri"/>
                <a:cs typeface="Calibri"/>
              </a:rPr>
              <a:t>V411 </a:t>
            </a:r>
            <a:r>
              <a:rPr lang="lt-LT" sz="1400">
                <a:solidFill>
                  <a:srgbClr val="0F218B"/>
                </a:solidFill>
                <a:latin typeface="Calibri"/>
                <a:ea typeface="Calibri"/>
                <a:cs typeface="Calibri"/>
              </a:rPr>
              <a:t>line </a:t>
            </a:r>
            <a:r>
              <a:rPr lang="lt-LT" sz="1400" err="1">
                <a:solidFill>
                  <a:srgbClr val="0F218B"/>
                </a:solidFill>
                <a:latin typeface="Calibri"/>
                <a:ea typeface="Calibri"/>
                <a:cs typeface="Calibri"/>
              </a:rPr>
              <a:t>was</a:t>
            </a:r>
            <a:r>
              <a:rPr lang="lt-LT" sz="1400">
                <a:solidFill>
                  <a:srgbClr val="0F218B"/>
                </a:solidFill>
                <a:latin typeface="Calibri"/>
                <a:ea typeface="Calibri"/>
                <a:cs typeface="Calibri"/>
              </a:rPr>
              <a:t> </a:t>
            </a:r>
            <a:r>
              <a:rPr lang="lt-LT" sz="1400" err="1">
                <a:solidFill>
                  <a:srgbClr val="0F218B"/>
                </a:solidFill>
                <a:latin typeface="Calibri"/>
                <a:ea typeface="Calibri"/>
                <a:cs typeface="Calibri"/>
              </a:rPr>
              <a:t>loaded</a:t>
            </a:r>
            <a:r>
              <a:rPr lang="lt-LT" sz="1400">
                <a:solidFill>
                  <a:srgbClr val="0F218B"/>
                </a:solidFill>
                <a:latin typeface="Calibri"/>
                <a:ea typeface="Calibri"/>
                <a:cs typeface="Calibri"/>
              </a:rPr>
              <a:t> </a:t>
            </a:r>
            <a:r>
              <a:rPr lang="en-US" sz="1400">
                <a:solidFill>
                  <a:srgbClr val="0F218B"/>
                </a:solidFill>
                <a:latin typeface="Calibri"/>
                <a:ea typeface="Calibri"/>
                <a:cs typeface="Calibri"/>
              </a:rPr>
              <a:t> ~1,200 MW.</a:t>
            </a:r>
            <a:endParaRPr lang="lt-LT" sz="1400">
              <a:solidFill>
                <a:srgbClr val="0F218B"/>
              </a:solidFill>
              <a:latin typeface="Calibri"/>
              <a:ea typeface="Calibri"/>
              <a:cs typeface="Calibri"/>
            </a:endParaRPr>
          </a:p>
          <a:p>
            <a:pPr defTabSz="457200">
              <a:defRPr/>
            </a:pPr>
            <a:endParaRPr lang="lt-LT" sz="1400" b="1">
              <a:solidFill>
                <a:srgbClr val="0F218B"/>
              </a:solidFill>
              <a:latin typeface="Calibri"/>
              <a:ea typeface="Calibri"/>
              <a:cs typeface="Calibri"/>
            </a:endParaRPr>
          </a:p>
          <a:p>
            <a:pPr defTabSz="457200">
              <a:defRPr/>
            </a:pPr>
            <a:r>
              <a:rPr lang="en-US" sz="1400" b="1">
                <a:solidFill>
                  <a:srgbClr val="0F218B"/>
                </a:solidFill>
                <a:latin typeface="Calibri"/>
                <a:ea typeface="Calibri"/>
                <a:cs typeface="Calibri"/>
              </a:rPr>
              <a:t>Initiating event (11:51:08)</a:t>
            </a:r>
            <a:endParaRPr lang="lt-LT" sz="1400" b="1">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V411 400 kV line tripped after unsuccessful </a:t>
            </a:r>
            <a:r>
              <a:rPr lang="en-US" sz="1400" err="1">
                <a:solidFill>
                  <a:srgbClr val="0F218B"/>
                </a:solidFill>
                <a:latin typeface="Calibri"/>
                <a:ea typeface="Calibri"/>
                <a:cs typeface="Calibri"/>
              </a:rPr>
              <a:t>autoreclosure</a:t>
            </a:r>
            <a:r>
              <a:rPr lang="en-US" sz="1400">
                <a:solidFill>
                  <a:srgbClr val="0F218B"/>
                </a:solidFill>
                <a:latin typeface="Calibri"/>
                <a:ea typeface="Calibri"/>
                <a:cs typeface="Calibri"/>
              </a:rPr>
              <a:t> due to phase conductor failure.</a:t>
            </a:r>
            <a:endParaRPr lang="lt-LT" sz="1400">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Power flow redistributed to remaining connections (V208, </a:t>
            </a:r>
            <a:r>
              <a:rPr lang="en-US" sz="1400" err="1">
                <a:solidFill>
                  <a:srgbClr val="0F218B"/>
                </a:solidFill>
                <a:latin typeface="Calibri"/>
                <a:ea typeface="Calibri"/>
                <a:cs typeface="Calibri"/>
              </a:rPr>
              <a:t>Krasíkov</a:t>
            </a:r>
            <a:r>
              <a:rPr lang="en-US" sz="1400">
                <a:solidFill>
                  <a:srgbClr val="0F218B"/>
                </a:solidFill>
                <a:latin typeface="Calibri"/>
                <a:ea typeface="Calibri"/>
                <a:cs typeface="Calibri"/>
              </a:rPr>
              <a:t> busbar coupler, 400/110 kV transformer).</a:t>
            </a:r>
            <a:endParaRPr lang="lt-LT" sz="1400">
              <a:solidFill>
                <a:srgbClr val="0F218B"/>
              </a:solidFill>
              <a:latin typeface="Calibri"/>
              <a:ea typeface="Calibri"/>
              <a:cs typeface="Calibri"/>
            </a:endParaRPr>
          </a:p>
          <a:p>
            <a:pPr defTabSz="457200">
              <a:defRPr/>
            </a:pPr>
            <a:endParaRPr lang="lt-LT" sz="1400" b="1">
              <a:solidFill>
                <a:srgbClr val="0F218B"/>
              </a:solidFill>
              <a:latin typeface="Calibri"/>
              <a:ea typeface="Calibri"/>
              <a:cs typeface="Calibri"/>
            </a:endParaRPr>
          </a:p>
          <a:p>
            <a:pPr defTabSz="457200">
              <a:defRPr/>
            </a:pPr>
            <a:r>
              <a:rPr lang="en-US" sz="1400" b="1">
                <a:solidFill>
                  <a:srgbClr val="0F218B"/>
                </a:solidFill>
                <a:latin typeface="Calibri"/>
                <a:ea typeface="Calibri"/>
                <a:cs typeface="Calibri"/>
              </a:rPr>
              <a:t>System deterioration (11:51–11:59)</a:t>
            </a:r>
            <a:endParaRPr lang="lt-LT" sz="1400" b="1">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By 11:52, the ČEPS estimated system lost between</a:t>
            </a:r>
            <a:r>
              <a:rPr lang="lt-LT" sz="1400">
                <a:solidFill>
                  <a:srgbClr val="0F218B"/>
                </a:solidFill>
                <a:latin typeface="Calibri"/>
                <a:ea typeface="Calibri"/>
                <a:cs typeface="Calibri"/>
              </a:rPr>
              <a:t> </a:t>
            </a:r>
            <a:r>
              <a:rPr lang="en-US" sz="1400">
                <a:solidFill>
                  <a:srgbClr val="0F218B"/>
                </a:solidFill>
                <a:latin typeface="Calibri"/>
                <a:ea typeface="Calibri"/>
                <a:cs typeface="Calibri"/>
              </a:rPr>
              <a:t>340 and 440 MW of active power</a:t>
            </a:r>
            <a:r>
              <a:rPr lang="lt-LT" sz="1400">
                <a:solidFill>
                  <a:srgbClr val="0F218B"/>
                </a:solidFill>
                <a:latin typeface="Calibri"/>
                <a:ea typeface="Calibri"/>
                <a:cs typeface="Calibri"/>
              </a:rPr>
              <a:t>.</a:t>
            </a: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At 11:52:45, the </a:t>
            </a:r>
            <a:r>
              <a:rPr lang="en-US" sz="1400" err="1">
                <a:solidFill>
                  <a:srgbClr val="0F218B"/>
                </a:solidFill>
                <a:latin typeface="Calibri"/>
                <a:ea typeface="Calibri"/>
                <a:cs typeface="Calibri"/>
              </a:rPr>
              <a:t>Ledvice</a:t>
            </a:r>
            <a:r>
              <a:rPr lang="en-US" sz="1400">
                <a:solidFill>
                  <a:srgbClr val="0F218B"/>
                </a:solidFill>
                <a:latin typeface="Calibri"/>
                <a:ea typeface="Calibri"/>
                <a:cs typeface="Calibri"/>
              </a:rPr>
              <a:t> unit 6 lost all remaining active</a:t>
            </a:r>
            <a:r>
              <a:rPr lang="lt-LT" sz="1400">
                <a:solidFill>
                  <a:srgbClr val="0F218B"/>
                </a:solidFill>
                <a:latin typeface="Calibri"/>
                <a:ea typeface="Calibri"/>
                <a:cs typeface="Calibri"/>
              </a:rPr>
              <a:t> </a:t>
            </a:r>
            <a:r>
              <a:rPr lang="en-US" sz="1400">
                <a:solidFill>
                  <a:srgbClr val="0F218B"/>
                </a:solidFill>
                <a:latin typeface="Calibri"/>
                <a:ea typeface="Calibri"/>
                <a:cs typeface="Calibri"/>
              </a:rPr>
              <a:t>power output. </a:t>
            </a:r>
            <a:endParaRPr lang="lt-LT" sz="1400">
              <a:solidFill>
                <a:srgbClr val="0F218B"/>
              </a:solidFill>
              <a:latin typeface="Calibri"/>
              <a:ea typeface="Calibri"/>
              <a:cs typeface="Calibri"/>
            </a:endParaRPr>
          </a:p>
          <a:p>
            <a:pPr marL="285750" indent="-285750" defTabSz="457200">
              <a:buFont typeface="Arial" panose="020B0604020202020204" pitchFamily="34" charset="0"/>
              <a:buChar char="•"/>
              <a:defRPr/>
            </a:pPr>
            <a:r>
              <a:rPr lang="lt-LT" sz="1400" err="1">
                <a:solidFill>
                  <a:srgbClr val="0F218B"/>
                </a:solidFill>
                <a:latin typeface="Calibri"/>
                <a:ea typeface="Calibri"/>
                <a:cs typeface="Calibri"/>
              </a:rPr>
              <a:t>Observed</a:t>
            </a:r>
            <a:r>
              <a:rPr lang="lt-LT" sz="1400">
                <a:solidFill>
                  <a:srgbClr val="0F218B"/>
                </a:solidFill>
                <a:latin typeface="Calibri"/>
                <a:ea typeface="Calibri"/>
                <a:cs typeface="Calibri"/>
              </a:rPr>
              <a:t> </a:t>
            </a:r>
            <a:r>
              <a:rPr lang="lt-LT" sz="1400" err="1">
                <a:solidFill>
                  <a:srgbClr val="0F218B"/>
                </a:solidFill>
                <a:latin typeface="Calibri"/>
                <a:ea typeface="Calibri"/>
                <a:cs typeface="Calibri"/>
              </a:rPr>
              <a:t>overloads</a:t>
            </a:r>
            <a:r>
              <a:rPr lang="lt-LT" sz="1400">
                <a:solidFill>
                  <a:srgbClr val="0F218B"/>
                </a:solidFill>
                <a:latin typeface="Calibri"/>
                <a:ea typeface="Calibri"/>
                <a:cs typeface="Calibri"/>
              </a:rPr>
              <a:t> </a:t>
            </a:r>
            <a:r>
              <a:rPr lang="lt-LT" sz="1400" err="1">
                <a:solidFill>
                  <a:srgbClr val="0F218B"/>
                </a:solidFill>
                <a:latin typeface="Calibri"/>
                <a:ea typeface="Calibri"/>
                <a:cs typeface="Calibri"/>
              </a:rPr>
              <a:t>of</a:t>
            </a:r>
            <a:r>
              <a:rPr lang="lt-LT" sz="1400">
                <a:solidFill>
                  <a:srgbClr val="0F218B"/>
                </a:solidFill>
                <a:latin typeface="Calibri"/>
                <a:ea typeface="Calibri"/>
                <a:cs typeface="Calibri"/>
              </a:rPr>
              <a:t> </a:t>
            </a:r>
            <a:r>
              <a:rPr lang="en-US" sz="1400">
                <a:solidFill>
                  <a:srgbClr val="0F218B"/>
                </a:solidFill>
                <a:latin typeface="Calibri"/>
                <a:ea typeface="Calibri"/>
                <a:cs typeface="Calibri"/>
              </a:rPr>
              <a:t>220 kV line V208 at 142.9 %;</a:t>
            </a:r>
          </a:p>
          <a:p>
            <a:pPr marL="742950" lvl="1" indent="-285750" defTabSz="457200">
              <a:buFont typeface="Arial" panose="020B0604020202020204" pitchFamily="34" charset="0"/>
              <a:buChar char="•"/>
              <a:defRPr/>
            </a:pPr>
            <a:endParaRPr lang="lt-LT" sz="1400" b="1">
              <a:solidFill>
                <a:srgbClr val="0F218B"/>
              </a:solidFill>
              <a:latin typeface="Calibri"/>
              <a:ea typeface="Calibri"/>
              <a:cs typeface="Calibri"/>
            </a:endParaRPr>
          </a:p>
          <a:p>
            <a:pPr defTabSz="457200">
              <a:defRPr/>
            </a:pPr>
            <a:r>
              <a:rPr lang="en-US" sz="1400" b="1">
                <a:solidFill>
                  <a:srgbClr val="0F218B"/>
                </a:solidFill>
                <a:latin typeface="Calibri"/>
                <a:ea typeface="Calibri"/>
                <a:cs typeface="Calibri"/>
              </a:rPr>
              <a:t>Separation and collapse (11:59:44–11:59:48)</a:t>
            </a:r>
            <a:endParaRPr lang="lt-LT" sz="1400" b="1">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Manual disconnection of overloaded V208.</a:t>
            </a:r>
            <a:endParaRPr lang="lt-LT" sz="1400">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Protection tripping of </a:t>
            </a:r>
            <a:r>
              <a:rPr lang="en-US" sz="1400" err="1">
                <a:solidFill>
                  <a:srgbClr val="0F218B"/>
                </a:solidFill>
                <a:latin typeface="Calibri"/>
                <a:ea typeface="Calibri"/>
                <a:cs typeface="Calibri"/>
              </a:rPr>
              <a:t>Krasíkov</a:t>
            </a:r>
            <a:r>
              <a:rPr lang="en-US" sz="1400">
                <a:solidFill>
                  <a:srgbClr val="0F218B"/>
                </a:solidFill>
                <a:latin typeface="Calibri"/>
                <a:ea typeface="Calibri"/>
                <a:cs typeface="Calibri"/>
              </a:rPr>
              <a:t> busbar coupler and 400/110 kV transformer, creating a ~1,800 MW deficit island.</a:t>
            </a:r>
            <a:endParaRPr lang="lt-LT" sz="1400">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Rapid frequency collapse (</a:t>
            </a:r>
            <a:r>
              <a:rPr lang="en-US" sz="1400" err="1">
                <a:solidFill>
                  <a:srgbClr val="0F218B"/>
                </a:solidFill>
                <a:latin typeface="Calibri"/>
                <a:ea typeface="Calibri"/>
                <a:cs typeface="Calibri"/>
              </a:rPr>
              <a:t>RoCoF</a:t>
            </a:r>
            <a:r>
              <a:rPr lang="en-US" sz="1400">
                <a:solidFill>
                  <a:srgbClr val="0F218B"/>
                </a:solidFill>
                <a:latin typeface="Calibri"/>
                <a:ea typeface="Calibri"/>
                <a:cs typeface="Calibri"/>
              </a:rPr>
              <a:t> up to ~3.5 Hz/s); LFDD insufficient → island collapse</a:t>
            </a:r>
            <a:endParaRPr lang="lt-LT" sz="1400">
              <a:solidFill>
                <a:srgbClr val="0F218B"/>
              </a:solidFill>
              <a:latin typeface="Calibri"/>
              <a:ea typeface="Calibri"/>
              <a:cs typeface="Calibri"/>
            </a:endParaRPr>
          </a:p>
          <a:p>
            <a:pPr marL="285750" indent="-285750" defTabSz="457200">
              <a:buFont typeface="Arial" panose="020B0604020202020204" pitchFamily="34" charset="0"/>
              <a:buChar char="•"/>
              <a:defRPr/>
            </a:pPr>
            <a:r>
              <a:rPr lang="en-US" sz="1400">
                <a:solidFill>
                  <a:srgbClr val="0F218B"/>
                </a:solidFill>
                <a:latin typeface="Calibri"/>
                <a:ea typeface="Calibri"/>
                <a:cs typeface="Calibri"/>
              </a:rPr>
              <a:t>The total production loss in the</a:t>
            </a:r>
            <a:r>
              <a:rPr lang="lt-LT" sz="1400">
                <a:solidFill>
                  <a:srgbClr val="0F218B"/>
                </a:solidFill>
                <a:latin typeface="Calibri"/>
                <a:ea typeface="Calibri"/>
                <a:cs typeface="Calibri"/>
              </a:rPr>
              <a:t> </a:t>
            </a:r>
            <a:r>
              <a:rPr lang="en-US" sz="1400">
                <a:solidFill>
                  <a:srgbClr val="0F218B"/>
                </a:solidFill>
                <a:latin typeface="Calibri"/>
                <a:ea typeface="Calibri"/>
                <a:cs typeface="Calibri"/>
              </a:rPr>
              <a:t>affected area 1,200</a:t>
            </a:r>
            <a:r>
              <a:rPr lang="lt-LT" sz="1400">
                <a:solidFill>
                  <a:srgbClr val="0F218B"/>
                </a:solidFill>
                <a:latin typeface="Calibri"/>
                <a:ea typeface="Calibri"/>
                <a:cs typeface="Calibri"/>
              </a:rPr>
              <a:t> - </a:t>
            </a:r>
            <a:r>
              <a:rPr lang="en-US" sz="1400">
                <a:solidFill>
                  <a:srgbClr val="0F218B"/>
                </a:solidFill>
                <a:latin typeface="Calibri"/>
                <a:ea typeface="Calibri"/>
                <a:cs typeface="Calibri"/>
              </a:rPr>
              <a:t>1,400 MW. The</a:t>
            </a:r>
            <a:r>
              <a:rPr lang="lt-LT" sz="1400">
                <a:solidFill>
                  <a:srgbClr val="0F218B"/>
                </a:solidFill>
                <a:latin typeface="Calibri"/>
                <a:ea typeface="Calibri"/>
                <a:cs typeface="Calibri"/>
              </a:rPr>
              <a:t> </a:t>
            </a:r>
            <a:r>
              <a:rPr lang="en-US" sz="1400">
                <a:solidFill>
                  <a:srgbClr val="0F218B"/>
                </a:solidFill>
                <a:latin typeface="Calibri"/>
                <a:ea typeface="Calibri"/>
                <a:cs typeface="Calibri"/>
              </a:rPr>
              <a:t>total loss of load was about 2,300 MW, or 28 % of the ČEPS</a:t>
            </a:r>
            <a:r>
              <a:rPr lang="lt-LT" sz="1400">
                <a:solidFill>
                  <a:srgbClr val="0F218B"/>
                </a:solidFill>
                <a:latin typeface="Calibri"/>
                <a:ea typeface="Calibri"/>
                <a:cs typeface="Calibri"/>
              </a:rPr>
              <a:t> </a:t>
            </a:r>
            <a:r>
              <a:rPr lang="en-US" sz="1400">
                <a:solidFill>
                  <a:srgbClr val="0F218B"/>
                </a:solidFill>
                <a:latin typeface="Calibri"/>
                <a:ea typeface="Calibri"/>
                <a:cs typeface="Calibri"/>
              </a:rPr>
              <a:t>control area’s consumption.</a:t>
            </a:r>
          </a:p>
        </p:txBody>
      </p:sp>
      <p:pic>
        <p:nvPicPr>
          <p:cNvPr id="10" name="Picture 9">
            <a:extLst>
              <a:ext uri="{FF2B5EF4-FFF2-40B4-BE49-F238E27FC236}">
                <a16:creationId xmlns:a16="http://schemas.microsoft.com/office/drawing/2014/main" id="{C71D7E34-1A61-C798-72CA-AF39C2580228}"/>
              </a:ext>
            </a:extLst>
          </p:cNvPr>
          <p:cNvPicPr>
            <a:picLocks noChangeAspect="1"/>
          </p:cNvPicPr>
          <p:nvPr/>
        </p:nvPicPr>
        <p:blipFill>
          <a:blip r:embed="rId2"/>
          <a:stretch>
            <a:fillRect/>
          </a:stretch>
        </p:blipFill>
        <p:spPr>
          <a:xfrm>
            <a:off x="6171346" y="1565898"/>
            <a:ext cx="5826781" cy="4228764"/>
          </a:xfrm>
          <a:prstGeom prst="rect">
            <a:avLst/>
          </a:prstGeom>
        </p:spPr>
      </p:pic>
    </p:spTree>
    <p:extLst>
      <p:ext uri="{BB962C8B-B14F-4D97-AF65-F5344CB8AC3E}">
        <p14:creationId xmlns:p14="http://schemas.microsoft.com/office/powerpoint/2010/main" val="24017265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C6FA2-FD27-9CB8-5A24-4D0E4EB4334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08EBE44-601B-181D-99AB-B804F48F466E}"/>
              </a:ext>
            </a:extLst>
          </p:cNvPr>
          <p:cNvSpPr>
            <a:spLocks noGrp="1"/>
          </p:cNvSpPr>
          <p:nvPr>
            <p:ph type="title"/>
          </p:nvPr>
        </p:nvSpPr>
        <p:spPr/>
        <p:txBody>
          <a:bodyPr>
            <a:normAutofit fontScale="90000"/>
          </a:bodyPr>
          <a:lstStyle/>
          <a:p>
            <a:r>
              <a:rPr lang="en-US" noProof="0">
                <a:ea typeface="Calibri" panose="020F0502020204030204" pitchFamily="34" charset="0"/>
              </a:rPr>
              <a:t>Restoration process</a:t>
            </a:r>
          </a:p>
        </p:txBody>
      </p:sp>
      <p:sp>
        <p:nvSpPr>
          <p:cNvPr id="11" name="TextBox 10">
            <a:extLst>
              <a:ext uri="{FF2B5EF4-FFF2-40B4-BE49-F238E27FC236}">
                <a16:creationId xmlns:a16="http://schemas.microsoft.com/office/drawing/2014/main" id="{630E40AC-9850-C04B-4DEA-357ADEBC4380}"/>
              </a:ext>
            </a:extLst>
          </p:cNvPr>
          <p:cNvSpPr txBox="1"/>
          <p:nvPr/>
        </p:nvSpPr>
        <p:spPr>
          <a:xfrm>
            <a:off x="482886" y="956826"/>
            <a:ext cx="5613114" cy="5663089"/>
          </a:xfrm>
          <a:prstGeom prst="rect">
            <a:avLst/>
          </a:prstGeom>
          <a:noFill/>
        </p:spPr>
        <p:txBody>
          <a:bodyPr wrap="square">
            <a:spAutoFit/>
          </a:bodyPr>
          <a:lstStyle/>
          <a:p>
            <a:pPr defTabSz="457200">
              <a:defRPr/>
            </a:pPr>
            <a:r>
              <a:rPr lang="en-US" sz="1600" b="1" noProof="0">
                <a:solidFill>
                  <a:srgbClr val="0F218B"/>
                </a:solidFill>
                <a:latin typeface="Calibri"/>
                <a:ea typeface="Calibri"/>
                <a:cs typeface="Calibri"/>
              </a:rPr>
              <a:t>Immediate response: </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After island collapse (11:59) system state set to Emergency; </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dispatchers initiated a top‑down restoration strategy from unaffected parts of the grid.</a:t>
            </a:r>
          </a:p>
          <a:p>
            <a:pPr marL="285750" indent="-285750" defTabSz="457200">
              <a:buFont typeface="Arial" panose="020B0604020202020204" pitchFamily="34" charset="0"/>
              <a:buChar char="•"/>
              <a:defRPr/>
            </a:pPr>
            <a:endParaRPr lang="en-US" sz="1600" noProof="0">
              <a:solidFill>
                <a:srgbClr val="0F218B"/>
              </a:solidFill>
              <a:latin typeface="Calibri"/>
              <a:ea typeface="Calibri"/>
              <a:cs typeface="Calibri"/>
            </a:endParaRPr>
          </a:p>
          <a:p>
            <a:pPr defTabSz="457200">
              <a:defRPr/>
            </a:pPr>
            <a:r>
              <a:rPr lang="en-US" sz="1600" b="1" noProof="0">
                <a:solidFill>
                  <a:srgbClr val="0F218B"/>
                </a:solidFill>
                <a:latin typeface="Calibri"/>
                <a:ea typeface="Calibri"/>
                <a:cs typeface="Calibri"/>
              </a:rPr>
              <a:t>Grid re‑</a:t>
            </a:r>
            <a:r>
              <a:rPr lang="en-US" sz="1600" b="1" noProof="0" err="1">
                <a:solidFill>
                  <a:srgbClr val="0F218B"/>
                </a:solidFill>
                <a:latin typeface="Calibri"/>
                <a:ea typeface="Calibri"/>
                <a:cs typeface="Calibri"/>
              </a:rPr>
              <a:t>energisation</a:t>
            </a:r>
            <a:r>
              <a:rPr lang="en-US" sz="1600" b="1" noProof="0">
                <a:solidFill>
                  <a:srgbClr val="0F218B"/>
                </a:solidFill>
                <a:latin typeface="Calibri"/>
                <a:ea typeface="Calibri"/>
                <a:cs typeface="Calibri"/>
              </a:rPr>
              <a:t>: </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Progressive </a:t>
            </a:r>
            <a:r>
              <a:rPr lang="en-US" sz="1600" noProof="0" err="1">
                <a:solidFill>
                  <a:srgbClr val="0F218B"/>
                </a:solidFill>
                <a:latin typeface="Calibri"/>
                <a:ea typeface="Calibri"/>
                <a:cs typeface="Calibri"/>
              </a:rPr>
              <a:t>energisation</a:t>
            </a:r>
            <a:r>
              <a:rPr lang="en-US" sz="1600" noProof="0">
                <a:solidFill>
                  <a:srgbClr val="0F218B"/>
                </a:solidFill>
                <a:latin typeface="Calibri"/>
                <a:ea typeface="Calibri"/>
                <a:cs typeface="Calibri"/>
              </a:rPr>
              <a:t> of 400 kV and 220 kV substations from </a:t>
            </a:r>
            <a:r>
              <a:rPr lang="en-US" sz="1600" noProof="0" err="1">
                <a:solidFill>
                  <a:srgbClr val="0F218B"/>
                </a:solidFill>
                <a:latin typeface="Calibri"/>
                <a:ea typeface="Calibri"/>
                <a:cs typeface="Calibri"/>
              </a:rPr>
              <a:t>Krasíkov</a:t>
            </a:r>
            <a:r>
              <a:rPr lang="en-US" sz="1600" noProof="0">
                <a:solidFill>
                  <a:srgbClr val="0F218B"/>
                </a:solidFill>
                <a:latin typeface="Calibri"/>
                <a:ea typeface="Calibri"/>
                <a:cs typeface="Calibri"/>
              </a:rPr>
              <a:t> (400 kV) and </a:t>
            </a:r>
            <a:r>
              <a:rPr lang="en-US" sz="1600" noProof="0" err="1">
                <a:solidFill>
                  <a:srgbClr val="0F218B"/>
                </a:solidFill>
                <a:latin typeface="Calibri"/>
                <a:ea typeface="Calibri"/>
                <a:cs typeface="Calibri"/>
              </a:rPr>
              <a:t>Čechy</a:t>
            </a:r>
            <a:r>
              <a:rPr lang="en-US" sz="1600" noProof="0">
                <a:solidFill>
                  <a:srgbClr val="0F218B"/>
                </a:solidFill>
                <a:latin typeface="Calibri"/>
                <a:ea typeface="Calibri"/>
                <a:cs typeface="Calibri"/>
              </a:rPr>
              <a:t> </a:t>
            </a:r>
            <a:r>
              <a:rPr lang="en-US" sz="1600" noProof="0" err="1">
                <a:solidFill>
                  <a:srgbClr val="0F218B"/>
                </a:solidFill>
                <a:latin typeface="Calibri"/>
                <a:ea typeface="Calibri"/>
                <a:cs typeface="Calibri"/>
              </a:rPr>
              <a:t>Střed</a:t>
            </a:r>
            <a:r>
              <a:rPr lang="en-US" sz="1600" noProof="0">
                <a:solidFill>
                  <a:srgbClr val="0F218B"/>
                </a:solidFill>
                <a:latin typeface="Calibri"/>
                <a:ea typeface="Calibri"/>
                <a:cs typeface="Calibri"/>
              </a:rPr>
              <a:t> (220 kV), with strict sequencing to avoid </a:t>
            </a:r>
            <a:r>
              <a:rPr lang="en-US" sz="1600" noProof="0" err="1">
                <a:solidFill>
                  <a:srgbClr val="0F218B"/>
                </a:solidFill>
                <a:latin typeface="Calibri"/>
                <a:ea typeface="Calibri"/>
                <a:cs typeface="Calibri"/>
              </a:rPr>
              <a:t>ferroresonance</a:t>
            </a:r>
            <a:r>
              <a:rPr lang="en-US" sz="1600" noProof="0">
                <a:solidFill>
                  <a:srgbClr val="0F218B"/>
                </a:solidFill>
                <a:latin typeface="Calibri"/>
                <a:ea typeface="Calibri"/>
                <a:cs typeface="Calibri"/>
              </a:rPr>
              <a:t>.</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Priority loads: Early focus on Prague supply (</a:t>
            </a:r>
            <a:r>
              <a:rPr lang="en-US" sz="1600" noProof="0" err="1">
                <a:solidFill>
                  <a:srgbClr val="0F218B"/>
                </a:solidFill>
                <a:latin typeface="Calibri"/>
                <a:ea typeface="Calibri"/>
                <a:cs typeface="Calibri"/>
              </a:rPr>
              <a:t>Malešice</a:t>
            </a:r>
            <a:r>
              <a:rPr lang="en-US" sz="1600" noProof="0">
                <a:solidFill>
                  <a:srgbClr val="0F218B"/>
                </a:solidFill>
                <a:latin typeface="Calibri"/>
                <a:ea typeface="Calibri"/>
                <a:cs typeface="Calibri"/>
              </a:rPr>
              <a:t>, </a:t>
            </a:r>
            <a:r>
              <a:rPr lang="en-US" sz="1600" noProof="0" err="1">
                <a:solidFill>
                  <a:srgbClr val="0F218B"/>
                </a:solidFill>
                <a:latin typeface="Calibri"/>
                <a:ea typeface="Calibri"/>
                <a:cs typeface="Calibri"/>
              </a:rPr>
              <a:t>Chodov</a:t>
            </a:r>
            <a:r>
              <a:rPr lang="en-US" sz="1600" noProof="0">
                <a:solidFill>
                  <a:srgbClr val="0F218B"/>
                </a:solidFill>
                <a:latin typeface="Calibri"/>
                <a:ea typeface="Calibri"/>
                <a:cs typeface="Calibri"/>
              </a:rPr>
              <a:t> substations) and </a:t>
            </a:r>
            <a:r>
              <a:rPr lang="en-US" sz="1600" noProof="0" err="1">
                <a:solidFill>
                  <a:srgbClr val="0F218B"/>
                </a:solidFill>
                <a:latin typeface="Calibri"/>
                <a:ea typeface="Calibri"/>
                <a:cs typeface="Calibri"/>
              </a:rPr>
              <a:t>stabilisation</a:t>
            </a:r>
            <a:r>
              <a:rPr lang="en-US" sz="1600" noProof="0">
                <a:solidFill>
                  <a:srgbClr val="0F218B"/>
                </a:solidFill>
                <a:latin typeface="Calibri"/>
                <a:ea typeface="Calibri"/>
                <a:cs typeface="Calibri"/>
              </a:rPr>
              <a:t> of voltage levels.</a:t>
            </a:r>
          </a:p>
          <a:p>
            <a:pPr marL="285750" indent="-285750" defTabSz="457200">
              <a:buFont typeface="Arial" panose="020B0604020202020204" pitchFamily="34" charset="0"/>
              <a:buChar char="•"/>
              <a:defRPr/>
            </a:pPr>
            <a:endParaRPr lang="en-US" sz="1600" noProof="0">
              <a:solidFill>
                <a:srgbClr val="0F218B"/>
              </a:solidFill>
              <a:latin typeface="Calibri"/>
              <a:ea typeface="Calibri"/>
              <a:cs typeface="Calibri"/>
            </a:endParaRPr>
          </a:p>
          <a:p>
            <a:pPr defTabSz="457200">
              <a:defRPr/>
            </a:pPr>
            <a:r>
              <a:rPr lang="en-US" sz="1600" b="1" noProof="0">
                <a:solidFill>
                  <a:srgbClr val="0F218B"/>
                </a:solidFill>
                <a:latin typeface="Calibri"/>
                <a:ea typeface="Calibri"/>
                <a:cs typeface="Calibri"/>
              </a:rPr>
              <a:t>Generation recovery: </a:t>
            </a:r>
          </a:p>
          <a:p>
            <a:pPr marL="285750" indent="-285750" defTabSz="457200">
              <a:buFont typeface="Arial" panose="020B0604020202020204" pitchFamily="34" charset="0"/>
              <a:buChar char="•"/>
              <a:defRPr/>
            </a:pPr>
            <a:r>
              <a:rPr lang="en-US" sz="1600" noProof="0" err="1">
                <a:solidFill>
                  <a:srgbClr val="0F218B"/>
                </a:solidFill>
                <a:latin typeface="Calibri"/>
                <a:ea typeface="Calibri"/>
                <a:cs typeface="Calibri"/>
              </a:rPr>
              <a:t>Synchronisation</a:t>
            </a:r>
            <a:r>
              <a:rPr lang="en-US" sz="1600" noProof="0">
                <a:solidFill>
                  <a:srgbClr val="0F218B"/>
                </a:solidFill>
                <a:latin typeface="Calibri"/>
                <a:ea typeface="Calibri"/>
                <a:cs typeface="Calibri"/>
              </a:rPr>
              <a:t> of units operating in house‑load mode (</a:t>
            </a:r>
            <a:r>
              <a:rPr lang="en-US" sz="1600" noProof="0" err="1">
                <a:solidFill>
                  <a:srgbClr val="0F218B"/>
                </a:solidFill>
                <a:latin typeface="Calibri"/>
                <a:ea typeface="Calibri"/>
                <a:cs typeface="Calibri"/>
              </a:rPr>
              <a:t>Chvaletice</a:t>
            </a:r>
            <a:r>
              <a:rPr lang="en-US" sz="1600" noProof="0">
                <a:solidFill>
                  <a:srgbClr val="0F218B"/>
                </a:solidFill>
                <a:latin typeface="Calibri"/>
                <a:ea typeface="Calibri"/>
                <a:cs typeface="Calibri"/>
              </a:rPr>
              <a:t>, </a:t>
            </a:r>
            <a:r>
              <a:rPr lang="en-US" sz="1600" noProof="0" err="1">
                <a:solidFill>
                  <a:srgbClr val="0F218B"/>
                </a:solidFill>
                <a:latin typeface="Calibri"/>
                <a:ea typeface="Calibri"/>
                <a:cs typeface="Calibri"/>
              </a:rPr>
              <a:t>Počerady</a:t>
            </a:r>
            <a:r>
              <a:rPr lang="en-US" sz="1600" noProof="0">
                <a:solidFill>
                  <a:srgbClr val="0F218B"/>
                </a:solidFill>
                <a:latin typeface="Calibri"/>
                <a:ea typeface="Calibri"/>
                <a:cs typeface="Calibri"/>
              </a:rPr>
              <a:t>), followed by start‑up of CCGT </a:t>
            </a:r>
            <a:r>
              <a:rPr lang="en-US" sz="1600" noProof="0" err="1">
                <a:solidFill>
                  <a:srgbClr val="0F218B"/>
                </a:solidFill>
                <a:latin typeface="Calibri"/>
                <a:ea typeface="Calibri"/>
                <a:cs typeface="Calibri"/>
              </a:rPr>
              <a:t>Počerady</a:t>
            </a:r>
            <a:r>
              <a:rPr lang="en-US" sz="1600" noProof="0">
                <a:solidFill>
                  <a:srgbClr val="0F218B"/>
                </a:solidFill>
                <a:latin typeface="Calibri"/>
                <a:ea typeface="Calibri"/>
                <a:cs typeface="Calibri"/>
              </a:rPr>
              <a:t> 2, enabling further load pickup.</a:t>
            </a:r>
          </a:p>
          <a:p>
            <a:pPr defTabSz="457200">
              <a:defRPr/>
            </a:pPr>
            <a:endParaRPr lang="en-US" sz="1600" b="1" noProof="0">
              <a:solidFill>
                <a:srgbClr val="0F218B"/>
              </a:solidFill>
              <a:latin typeface="Calibri"/>
              <a:ea typeface="Calibri"/>
              <a:cs typeface="Calibri"/>
            </a:endParaRPr>
          </a:p>
          <a:p>
            <a:pPr defTabSz="457200">
              <a:defRPr/>
            </a:pPr>
            <a:r>
              <a:rPr lang="en-US" sz="1600" b="1" noProof="0">
                <a:solidFill>
                  <a:srgbClr val="0F218B"/>
                </a:solidFill>
                <a:latin typeface="Calibri"/>
                <a:ea typeface="Calibri"/>
                <a:cs typeface="Calibri"/>
              </a:rPr>
              <a:t>Completion of restoration:</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All transmission substations </a:t>
            </a:r>
            <a:r>
              <a:rPr lang="en-US" sz="1600" noProof="0" err="1">
                <a:solidFill>
                  <a:srgbClr val="0F218B"/>
                </a:solidFill>
                <a:latin typeface="Calibri"/>
                <a:ea typeface="Calibri"/>
                <a:cs typeface="Calibri"/>
              </a:rPr>
              <a:t>energised</a:t>
            </a:r>
            <a:r>
              <a:rPr lang="en-US" sz="1600" noProof="0">
                <a:solidFill>
                  <a:srgbClr val="0F218B"/>
                </a:solidFill>
                <a:latin typeface="Calibri"/>
                <a:ea typeface="Calibri"/>
                <a:cs typeface="Calibri"/>
              </a:rPr>
              <a:t> by 14:09; </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DSOs confirmed re-</a:t>
            </a:r>
            <a:r>
              <a:rPr lang="en-US" sz="1600" noProof="0" err="1">
                <a:solidFill>
                  <a:srgbClr val="0F218B"/>
                </a:solidFill>
                <a:latin typeface="Calibri"/>
                <a:ea typeface="Calibri"/>
                <a:cs typeface="Calibri"/>
              </a:rPr>
              <a:t>ener</a:t>
            </a:r>
            <a:r>
              <a:rPr lang="lt-LT" sz="1600" noProof="0">
                <a:solidFill>
                  <a:srgbClr val="0F218B"/>
                </a:solidFill>
                <a:latin typeface="Calibri"/>
                <a:ea typeface="Calibri"/>
                <a:cs typeface="Calibri"/>
              </a:rPr>
              <a:t>g</a:t>
            </a:r>
            <a:r>
              <a:rPr lang="en-US" sz="1600" noProof="0" err="1">
                <a:solidFill>
                  <a:srgbClr val="0F218B"/>
                </a:solidFill>
                <a:latin typeface="Calibri"/>
                <a:ea typeface="Calibri"/>
                <a:cs typeface="Calibri"/>
              </a:rPr>
              <a:t>isation</a:t>
            </a:r>
            <a:r>
              <a:rPr lang="en-US" sz="1600" noProof="0">
                <a:solidFill>
                  <a:srgbClr val="0F218B"/>
                </a:solidFill>
                <a:latin typeface="Calibri"/>
                <a:ea typeface="Calibri"/>
                <a:cs typeface="Calibri"/>
              </a:rPr>
              <a:t> of lost load at 17:35;</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Repair works of V411 line finished and line returned to service at 23:13. </a:t>
            </a:r>
          </a:p>
        </p:txBody>
      </p:sp>
      <p:pic>
        <p:nvPicPr>
          <p:cNvPr id="13" name="Picture 12">
            <a:extLst>
              <a:ext uri="{FF2B5EF4-FFF2-40B4-BE49-F238E27FC236}">
                <a16:creationId xmlns:a16="http://schemas.microsoft.com/office/drawing/2014/main" id="{F230C390-ACEF-A0B4-78F6-1ACDD28B600D}"/>
              </a:ext>
            </a:extLst>
          </p:cNvPr>
          <p:cNvPicPr>
            <a:picLocks noChangeAspect="1"/>
          </p:cNvPicPr>
          <p:nvPr/>
        </p:nvPicPr>
        <p:blipFill>
          <a:blip r:embed="rId2"/>
          <a:stretch>
            <a:fillRect/>
          </a:stretch>
        </p:blipFill>
        <p:spPr>
          <a:xfrm>
            <a:off x="6240949" y="1840104"/>
            <a:ext cx="5757178" cy="2805048"/>
          </a:xfrm>
          <a:prstGeom prst="rect">
            <a:avLst/>
          </a:prstGeom>
        </p:spPr>
      </p:pic>
    </p:spTree>
    <p:extLst>
      <p:ext uri="{BB962C8B-B14F-4D97-AF65-F5344CB8AC3E}">
        <p14:creationId xmlns:p14="http://schemas.microsoft.com/office/powerpoint/2010/main" val="9221149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980861-2274-0E46-E22F-BB2E2C312C5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F6092AF-0830-83AC-86DB-9FC2BCE0F5DD}"/>
              </a:ext>
            </a:extLst>
          </p:cNvPr>
          <p:cNvSpPr>
            <a:spLocks noGrp="1"/>
          </p:cNvSpPr>
          <p:nvPr>
            <p:ph type="title"/>
          </p:nvPr>
        </p:nvSpPr>
        <p:spPr/>
        <p:txBody>
          <a:bodyPr>
            <a:normAutofit fontScale="90000"/>
          </a:bodyPr>
          <a:lstStyle/>
          <a:p>
            <a:r>
              <a:rPr lang="en-US" noProof="0">
                <a:ea typeface="Calibri" panose="020F0502020204030204" pitchFamily="34" charset="0"/>
              </a:rPr>
              <a:t>Next steps of the Expert panel</a:t>
            </a:r>
          </a:p>
        </p:txBody>
      </p:sp>
      <p:sp>
        <p:nvSpPr>
          <p:cNvPr id="3" name="TextBox 2">
            <a:extLst>
              <a:ext uri="{FF2B5EF4-FFF2-40B4-BE49-F238E27FC236}">
                <a16:creationId xmlns:a16="http://schemas.microsoft.com/office/drawing/2014/main" id="{A1D04333-A2BC-F1AB-4D29-AB4A058DDD20}"/>
              </a:ext>
            </a:extLst>
          </p:cNvPr>
          <p:cNvSpPr txBox="1"/>
          <p:nvPr/>
        </p:nvSpPr>
        <p:spPr>
          <a:xfrm>
            <a:off x="403265" y="1079021"/>
            <a:ext cx="5075433" cy="1754326"/>
          </a:xfrm>
          <a:prstGeom prst="rect">
            <a:avLst/>
          </a:prstGeom>
          <a:noFill/>
        </p:spPr>
        <p:txBody>
          <a:bodyPr wrap="square">
            <a:spAutoFit/>
          </a:bodyPr>
          <a:lstStyle/>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Further analysis of relevant factors</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Development of fault tree analysis and root causes</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Development of recommendations</a:t>
            </a:r>
          </a:p>
          <a:p>
            <a:pPr marL="285750" indent="-285750" defTabSz="457200">
              <a:buFont typeface="Arial" panose="020B0604020202020204" pitchFamily="34" charset="0"/>
              <a:buChar char="•"/>
              <a:defRPr/>
            </a:pPr>
            <a:r>
              <a:rPr lang="en-US" sz="1600" noProof="0">
                <a:solidFill>
                  <a:srgbClr val="0F218B"/>
                </a:solidFill>
                <a:latin typeface="Calibri"/>
                <a:ea typeface="Calibri"/>
                <a:cs typeface="Calibri"/>
              </a:rPr>
              <a:t>Final report publication by June 2026</a:t>
            </a:r>
          </a:p>
          <a:p>
            <a:endParaRPr lang="en-US" sz="1400" b="1" noProof="0"/>
          </a:p>
          <a:p>
            <a:pPr marL="285750" indent="-285750">
              <a:buFont typeface="Arial" panose="020B0604020202020204" pitchFamily="34" charset="0"/>
              <a:buChar char="•"/>
            </a:pPr>
            <a:endParaRPr lang="en-US" sz="1400" b="1" noProof="0"/>
          </a:p>
          <a:p>
            <a:pPr marL="285750" indent="-285750">
              <a:buFont typeface="Arial" panose="020B0604020202020204" pitchFamily="34" charset="0"/>
              <a:buChar char="•"/>
            </a:pPr>
            <a:endParaRPr lang="en-US" sz="1400" noProof="0"/>
          </a:p>
        </p:txBody>
      </p:sp>
      <p:pic>
        <p:nvPicPr>
          <p:cNvPr id="16" name="Picture 15">
            <a:extLst>
              <a:ext uri="{FF2B5EF4-FFF2-40B4-BE49-F238E27FC236}">
                <a16:creationId xmlns:a16="http://schemas.microsoft.com/office/drawing/2014/main" id="{503BB2DE-AD31-3365-8C7A-ABF74593B034}"/>
              </a:ext>
            </a:extLst>
          </p:cNvPr>
          <p:cNvPicPr>
            <a:picLocks noChangeAspect="1"/>
          </p:cNvPicPr>
          <p:nvPr/>
        </p:nvPicPr>
        <p:blipFill>
          <a:blip r:embed="rId2"/>
          <a:stretch>
            <a:fillRect/>
          </a:stretch>
        </p:blipFill>
        <p:spPr>
          <a:xfrm>
            <a:off x="6189233" y="1079021"/>
            <a:ext cx="5496692" cy="3038899"/>
          </a:xfrm>
          <a:prstGeom prst="rect">
            <a:avLst/>
          </a:prstGeom>
        </p:spPr>
      </p:pic>
    </p:spTree>
    <p:extLst>
      <p:ext uri="{BB962C8B-B14F-4D97-AF65-F5344CB8AC3E}">
        <p14:creationId xmlns:p14="http://schemas.microsoft.com/office/powerpoint/2010/main" val="1437338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1041-2B5B-4299-A56D-E0504990B8AE}"/>
              </a:ext>
            </a:extLst>
          </p:cNvPr>
          <p:cNvSpPr>
            <a:spLocks noGrp="1"/>
          </p:cNvSpPr>
          <p:nvPr>
            <p:ph type="title"/>
          </p:nvPr>
        </p:nvSpPr>
        <p:spPr/>
        <p:txBody>
          <a:bodyPr/>
          <a:lstStyle/>
          <a:p>
            <a:r>
              <a:rPr lang="en-US"/>
              <a:t>TOP. 1 - Review of actions SO ESC</a:t>
            </a:r>
          </a:p>
        </p:txBody>
      </p:sp>
      <p:graphicFrame>
        <p:nvGraphicFramePr>
          <p:cNvPr id="4" name="Table 3">
            <a:extLst>
              <a:ext uri="{FF2B5EF4-FFF2-40B4-BE49-F238E27FC236}">
                <a16:creationId xmlns:a16="http://schemas.microsoft.com/office/drawing/2014/main" id="{38D5D198-733A-44F1-913C-4958DC06FD51}"/>
              </a:ext>
            </a:extLst>
          </p:cNvPr>
          <p:cNvGraphicFramePr>
            <a:graphicFrameLocks noGrp="1"/>
          </p:cNvGraphicFramePr>
          <p:nvPr>
            <p:extLst>
              <p:ext uri="{D42A27DB-BD31-4B8C-83A1-F6EECF244321}">
                <p14:modId xmlns:p14="http://schemas.microsoft.com/office/powerpoint/2010/main" val="822391532"/>
              </p:ext>
            </p:extLst>
          </p:nvPr>
        </p:nvGraphicFramePr>
        <p:xfrm>
          <a:off x="382588" y="977774"/>
          <a:ext cx="11538650" cy="3536928"/>
        </p:xfrm>
        <a:graphic>
          <a:graphicData uri="http://schemas.openxmlformats.org/drawingml/2006/table">
            <a:tbl>
              <a:tblPr firstRow="1" bandRow="1">
                <a:tableStyleId>{93296810-A885-4BE3-A3E7-6D5BEEA58F35}</a:tableStyleId>
              </a:tblPr>
              <a:tblGrid>
                <a:gridCol w="6384836">
                  <a:extLst>
                    <a:ext uri="{9D8B030D-6E8A-4147-A177-3AD203B41FA5}">
                      <a16:colId xmlns:a16="http://schemas.microsoft.com/office/drawing/2014/main" val="4049329716"/>
                    </a:ext>
                  </a:extLst>
                </a:gridCol>
                <a:gridCol w="4251956">
                  <a:extLst>
                    <a:ext uri="{9D8B030D-6E8A-4147-A177-3AD203B41FA5}">
                      <a16:colId xmlns:a16="http://schemas.microsoft.com/office/drawing/2014/main" val="4174203447"/>
                    </a:ext>
                  </a:extLst>
                </a:gridCol>
                <a:gridCol w="901858">
                  <a:extLst>
                    <a:ext uri="{9D8B030D-6E8A-4147-A177-3AD203B41FA5}">
                      <a16:colId xmlns:a16="http://schemas.microsoft.com/office/drawing/2014/main" val="4249550725"/>
                    </a:ext>
                  </a:extLst>
                </a:gridCol>
              </a:tblGrid>
              <a:tr h="490622">
                <a:tc>
                  <a:txBody>
                    <a:bodyPr/>
                    <a:lstStyle/>
                    <a:p>
                      <a:pPr>
                        <a:buNone/>
                      </a:pPr>
                      <a:r>
                        <a:rPr lang="en-US" sz="1600">
                          <a:latin typeface="Calibri"/>
                          <a:cs typeface="Calibri"/>
                        </a:rPr>
                        <a:t>ACTION</a:t>
                      </a:r>
                    </a:p>
                  </a:txBody>
                  <a:tcPr/>
                </a:tc>
                <a:tc>
                  <a:txBody>
                    <a:bodyPr/>
                    <a:lstStyle/>
                    <a:p>
                      <a:r>
                        <a:rPr lang="en-US" sz="1600">
                          <a:latin typeface="Calibri"/>
                          <a:cs typeface="Calibri"/>
                        </a:rPr>
                        <a:t>Comments</a:t>
                      </a:r>
                    </a:p>
                  </a:txBody>
                  <a:tcPr/>
                </a:tc>
                <a:tc>
                  <a:txBody>
                    <a:bodyPr/>
                    <a:lstStyle/>
                    <a:p>
                      <a:r>
                        <a:rPr lang="en-US" sz="1600">
                          <a:latin typeface="Calibri"/>
                          <a:cs typeface="Calibri"/>
                        </a:rPr>
                        <a:t>STATUS</a:t>
                      </a:r>
                    </a:p>
                  </a:txBody>
                  <a:tcPr/>
                </a:tc>
                <a:extLst>
                  <a:ext uri="{0D108BD9-81ED-4DB2-BD59-A6C34878D82A}">
                    <a16:rowId xmlns:a16="http://schemas.microsoft.com/office/drawing/2014/main" val="4130891582"/>
                  </a:ext>
                </a:extLst>
              </a:tr>
              <a:tr h="912706">
                <a:tc>
                  <a:txBody>
                    <a:bodyPr/>
                    <a:lstStyle/>
                    <a:p>
                      <a:pPr marL="0" marR="0" lvl="0" indent="0" algn="l">
                        <a:lnSpc>
                          <a:spcPct val="100000"/>
                        </a:lnSpc>
                        <a:spcBef>
                          <a:spcPts val="0"/>
                        </a:spcBef>
                        <a:spcAft>
                          <a:spcPts val="0"/>
                        </a:spcAft>
                        <a:buNone/>
                      </a:pPr>
                      <a:r>
                        <a:rPr lang="en-US" sz="1600" b="0" i="0" u="none" strike="noStrike" noProof="0">
                          <a:solidFill>
                            <a:srgbClr val="000000"/>
                          </a:solidFill>
                          <a:effectLst/>
                          <a:latin typeface="Calibri"/>
                        </a:rPr>
                        <a:t>ENTSO-E will present the next update on DFD at the meeting of September.</a:t>
                      </a:r>
                      <a:endParaRPr lang="en-US"/>
                    </a:p>
                    <a:p>
                      <a:pPr marL="0" marR="0" lvl="0" indent="0" algn="l" defTabSz="914400" rtl="0" eaLnBrk="1" fontAlgn="ctr" latinLnBrk="0" hangingPunct="1">
                        <a:lnSpc>
                          <a:spcPct val="100000"/>
                        </a:lnSpc>
                        <a:spcBef>
                          <a:spcPts val="0"/>
                        </a:spcBef>
                        <a:spcAft>
                          <a:spcPts val="0"/>
                        </a:spcAft>
                        <a:buClrTx/>
                        <a:buSzTx/>
                        <a:buFontTx/>
                        <a:buNone/>
                        <a:tabLst/>
                        <a:defRPr/>
                      </a:pPr>
                      <a:endParaRPr lang="en-GB" sz="1600" b="0" i="0" u="none" strike="noStrike" kern="1200">
                        <a:solidFill>
                          <a:srgbClr val="000000"/>
                        </a:solidFill>
                        <a:effectLst/>
                        <a:highlight>
                          <a:srgbClr val="FFFF00"/>
                        </a:highlight>
                        <a:latin typeface="Calibri"/>
                        <a:ea typeface="+mn-ea"/>
                        <a:cs typeface="Calibri"/>
                      </a:endParaRPr>
                    </a:p>
                  </a:txBody>
                  <a:tcPr/>
                </a:tc>
                <a:tc>
                  <a:txBody>
                    <a:bodyPr/>
                    <a:lstStyle/>
                    <a:p>
                      <a:pPr marL="0" marR="0" lvl="0" indent="0" algn="l" rtl="0" eaLnBrk="1" fontAlgn="ctr" latinLnBrk="0" hangingPunct="1">
                        <a:lnSpc>
                          <a:spcPct val="100000"/>
                        </a:lnSpc>
                        <a:spcBef>
                          <a:spcPts val="0"/>
                        </a:spcBef>
                        <a:spcAft>
                          <a:spcPts val="0"/>
                        </a:spcAft>
                        <a:buClrTx/>
                        <a:buSzTx/>
                        <a:buFontTx/>
                        <a:buNone/>
                      </a:pPr>
                      <a:r>
                        <a:rPr lang="en-GB" sz="1600" b="0" i="0" u="none" strike="noStrike" kern="1200" dirty="0">
                          <a:solidFill>
                            <a:srgbClr val="000000"/>
                          </a:solidFill>
                          <a:effectLst/>
                          <a:latin typeface="Calibri"/>
                          <a:ea typeface="+mn-ea"/>
                          <a:cs typeface="Calibri"/>
                        </a:rPr>
                        <a:t>Materials to be provided separately after RGCE approval. This should be ready for March 2026</a:t>
                      </a:r>
                      <a:endParaRPr lang="en-US" sz="1600" b="0" i="0" u="none" strike="noStrike" kern="1200" dirty="0">
                        <a:solidFill>
                          <a:srgbClr val="000000"/>
                        </a:solidFill>
                        <a:effectLst/>
                        <a:latin typeface="Calibri"/>
                        <a:ea typeface="+mn-ea"/>
                        <a:cs typeface="Calibri"/>
                      </a:endParaRPr>
                    </a:p>
                    <a:p>
                      <a:pPr marL="0" algn="l" defTabSz="914400" rtl="0" eaLnBrk="1" fontAlgn="ctr" latinLnBrk="0" hangingPunct="1">
                        <a:buNone/>
                      </a:pPr>
                      <a:r>
                        <a:rPr lang="en-US" sz="1600" b="0" i="0" u="none" strike="noStrike" kern="1200" dirty="0">
                          <a:solidFill>
                            <a:srgbClr val="000000"/>
                          </a:solidFill>
                          <a:effectLst/>
                          <a:latin typeface="Calibri" panose="020F0502020204030204" pitchFamily="34" charset="0"/>
                          <a:ea typeface="+mn-ea"/>
                          <a:cs typeface="Calibri" panose="020F0502020204030204" pitchFamily="34" charset="0"/>
                        </a:rPr>
                        <a:t>See topic #8</a:t>
                      </a:r>
                    </a:p>
                  </a:txBody>
                  <a:tcPr/>
                </a:tc>
                <a:tc>
                  <a:txBody>
                    <a:bodyPr/>
                    <a:lstStyle/>
                    <a:p>
                      <a:pPr marL="0" algn="l" defTabSz="914400" rtl="0" eaLnBrk="1" fontAlgn="ctr" latinLnBrk="0" hangingPunct="1">
                        <a:buNone/>
                      </a:pPr>
                      <a:r>
                        <a:rPr lang="en-US" sz="1600" b="0" i="0" u="none" strike="noStrike" kern="1200">
                          <a:solidFill>
                            <a:srgbClr val="000000"/>
                          </a:solidFill>
                          <a:effectLst/>
                          <a:latin typeface="Calibri"/>
                          <a:ea typeface="+mn-ea"/>
                          <a:cs typeface="Calibri"/>
                        </a:rPr>
                        <a:t>Ongoing</a:t>
                      </a:r>
                    </a:p>
                  </a:txBody>
                  <a:tcPr/>
                </a:tc>
                <a:extLst>
                  <a:ext uri="{0D108BD9-81ED-4DB2-BD59-A6C34878D82A}">
                    <a16:rowId xmlns:a16="http://schemas.microsoft.com/office/drawing/2014/main" val="783686194"/>
                  </a:ext>
                </a:extLst>
              </a:tr>
              <a:tr h="105119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600" b="0" i="0" u="none" strike="noStrike" kern="1200">
                          <a:solidFill>
                            <a:srgbClr val="000000"/>
                          </a:solidFill>
                          <a:effectLst/>
                          <a:latin typeface="Calibri"/>
                          <a:ea typeface="+mn-ea"/>
                          <a:cs typeface="Calibri"/>
                        </a:rPr>
                        <a:t>Implementation of Art.39 of SO GL and follow-up of </a:t>
                      </a:r>
                      <a:r>
                        <a:rPr lang="en-US" sz="1600" b="0" i="0" u="none" strike="noStrike" kern="1200" err="1">
                          <a:solidFill>
                            <a:srgbClr val="000000"/>
                          </a:solidFill>
                          <a:effectLst/>
                          <a:latin typeface="Calibri"/>
                          <a:ea typeface="+mn-ea"/>
                          <a:cs typeface="Calibri"/>
                        </a:rPr>
                        <a:t>RoCoF</a:t>
                      </a:r>
                      <a:r>
                        <a:rPr lang="en-US" sz="1600" b="0" i="0" u="none" strike="noStrike" kern="1200">
                          <a:solidFill>
                            <a:srgbClr val="000000"/>
                          </a:solidFill>
                          <a:effectLst/>
                          <a:latin typeface="Calibri"/>
                          <a:ea typeface="+mn-ea"/>
                          <a:cs typeface="Calibri"/>
                        </a:rPr>
                        <a:t> discussion: ACER will liaise with GC and SO ESC members to establish the Terms of References of the new Expert Group (topic: a macro-economic study is provided by TSOs for adapting system operators to a net zero emissions power system)</a:t>
                      </a:r>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600" b="0" i="0" u="none" strike="noStrike" kern="1200">
                          <a:solidFill>
                            <a:srgbClr val="000000"/>
                          </a:solidFill>
                          <a:effectLst/>
                          <a:latin typeface="Calibri"/>
                          <a:ea typeface="+mn-ea"/>
                          <a:cs typeface="Calibri"/>
                        </a:rPr>
                        <a:t>EC will initiate a consultation on a forthcoming study which the new EG under GC and SO ESC will aim to support.</a:t>
                      </a:r>
                    </a:p>
                    <a:p>
                      <a:pPr marL="0" algn="l" defTabSz="914400" rtl="0" eaLnBrk="1" fontAlgn="ctr" latinLnBrk="0" hangingPunct="1">
                        <a:buNone/>
                      </a:pPr>
                      <a:endParaRPr lang="en-US" sz="16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a:tc>
                <a:tc>
                  <a:txBody>
                    <a:bodyPr/>
                    <a:lstStyle/>
                    <a:p>
                      <a:pPr marL="0" algn="l" defTabSz="914400" rtl="0" eaLnBrk="1" fontAlgn="ctr" latinLnBrk="0" hangingPunct="1">
                        <a:buNone/>
                      </a:pPr>
                      <a:r>
                        <a:rPr lang="en-US" sz="1600" b="0" i="0" u="none" strike="noStrike" kern="1200">
                          <a:solidFill>
                            <a:srgbClr val="000000"/>
                          </a:solidFill>
                          <a:effectLst/>
                          <a:latin typeface="Calibri"/>
                          <a:ea typeface="+mn-ea"/>
                          <a:cs typeface="Calibri"/>
                        </a:rPr>
                        <a:t>Ongoing</a:t>
                      </a:r>
                    </a:p>
                  </a:txBody>
                  <a:tcPr/>
                </a:tc>
                <a:extLst>
                  <a:ext uri="{0D108BD9-81ED-4DB2-BD59-A6C34878D82A}">
                    <a16:rowId xmlns:a16="http://schemas.microsoft.com/office/drawing/2014/main" val="2011761254"/>
                  </a:ext>
                </a:extLst>
              </a:tr>
              <a:tr h="810919">
                <a:tc>
                  <a:txBody>
                    <a:bodyPr/>
                    <a:lstStyle/>
                    <a:p>
                      <a:pPr marL="0" marR="0" lvl="0" indent="0" algn="l" rtl="0" eaLnBrk="1" fontAlgn="ctr" latinLnBrk="0" hangingPunct="1">
                        <a:lnSpc>
                          <a:spcPct val="100000"/>
                        </a:lnSpc>
                        <a:spcBef>
                          <a:spcPts val="0"/>
                        </a:spcBef>
                        <a:spcAft>
                          <a:spcPts val="0"/>
                        </a:spcAft>
                        <a:buClrTx/>
                        <a:buSzTx/>
                        <a:buFontTx/>
                        <a:buNone/>
                      </a:pPr>
                      <a:r>
                        <a:rPr lang="en-GB" sz="1600"/>
                        <a:t>ACER to come back to stakeholders with additional information on the NRA request for extension of the decision on </a:t>
                      </a:r>
                      <a:r>
                        <a:rPr lang="en-GB" sz="1600" err="1"/>
                        <a:t>Tmin</a:t>
                      </a:r>
                      <a:r>
                        <a:rPr lang="en-GB" sz="1600"/>
                        <a:t> LER.</a:t>
                      </a:r>
                      <a:endParaRPr lang="en-GB" sz="1600" b="0" i="0" u="none" strike="noStrike" kern="1200">
                        <a:solidFill>
                          <a:srgbClr val="000000"/>
                        </a:solidFill>
                        <a:effectLst/>
                        <a:latin typeface="Calibri"/>
                        <a:ea typeface="+mn-ea"/>
                        <a:cs typeface="Calibri"/>
                      </a:endParaRPr>
                    </a:p>
                  </a:txBody>
                  <a:tcPr/>
                </a:tc>
                <a:tc>
                  <a:txBody>
                    <a:bodyPr/>
                    <a:lstStyle/>
                    <a:p>
                      <a:pPr marL="0" lvl="0" algn="l" rtl="0">
                        <a:buNone/>
                      </a:pPr>
                      <a:r>
                        <a:rPr lang="en-GB" sz="1600"/>
                        <a:t>Additional information is provided in the </a:t>
                      </a:r>
                      <a:r>
                        <a:rPr lang="en-GB" sz="1600">
                          <a:hlinkClick r:id="rId2"/>
                        </a:rPr>
                        <a:t>letter for the extension request</a:t>
                      </a:r>
                      <a:r>
                        <a:rPr lang="en-GB" sz="1600"/>
                        <a:t>, available in the meeting folder.</a:t>
                      </a:r>
                      <a:endParaRPr lang="en-US" sz="1600" b="0" i="0" u="none" strike="noStrike" kern="1200">
                        <a:solidFill>
                          <a:srgbClr val="000000"/>
                        </a:solidFill>
                        <a:effectLst/>
                        <a:latin typeface="Calibri"/>
                        <a:ea typeface="+mn-ea"/>
                        <a:cs typeface="Calibri"/>
                      </a:endParaRPr>
                    </a:p>
                  </a:txBody>
                  <a:tcPr/>
                </a:tc>
                <a:tc>
                  <a:txBody>
                    <a:bodyPr/>
                    <a:lstStyle/>
                    <a:p>
                      <a:pPr marL="0" lvl="0" algn="l" defTabSz="914400">
                        <a:buNone/>
                      </a:pPr>
                      <a:r>
                        <a:rPr lang="en-US" sz="1600" b="0" i="0" u="none" strike="noStrike" kern="1200" dirty="0">
                          <a:solidFill>
                            <a:srgbClr val="000000"/>
                          </a:solidFill>
                          <a:effectLst/>
                          <a:latin typeface="Calibri"/>
                          <a:ea typeface="+mn-ea"/>
                          <a:cs typeface="Calibri"/>
                        </a:rPr>
                        <a:t>Done</a:t>
                      </a:r>
                    </a:p>
                  </a:txBody>
                  <a:tcPr/>
                </a:tc>
                <a:extLst>
                  <a:ext uri="{0D108BD9-81ED-4DB2-BD59-A6C34878D82A}">
                    <a16:rowId xmlns:a16="http://schemas.microsoft.com/office/drawing/2014/main" val="2269112816"/>
                  </a:ext>
                </a:extLst>
              </a:tr>
            </a:tbl>
          </a:graphicData>
        </a:graphic>
      </p:graphicFrame>
    </p:spTree>
    <p:extLst>
      <p:ext uri="{BB962C8B-B14F-4D97-AF65-F5344CB8AC3E}">
        <p14:creationId xmlns:p14="http://schemas.microsoft.com/office/powerpoint/2010/main" val="1418729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a:xfrm>
            <a:off x="287106" y="3197946"/>
            <a:ext cx="11617788" cy="356467"/>
          </a:xfrm>
          <a:ln>
            <a:noFill/>
          </a:ln>
        </p:spPr>
        <p:txBody>
          <a:bodyPr lIns="91440" tIns="45720" rIns="91440" bIns="45720" anchor="ctr"/>
          <a:lstStyle/>
          <a:p>
            <a:r>
              <a:rPr lang="en-GB" sz="3200">
                <a:latin typeface="Calibri"/>
                <a:ea typeface="Calibri"/>
                <a:cs typeface="Calibri"/>
              </a:rPr>
              <a:t>2. Updates on the implementation actions at pan-EU level</a:t>
            </a:r>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554413"/>
            <a:ext cx="11617325" cy="1017587"/>
          </a:xfrm>
        </p:spPr>
        <p:txBody>
          <a:bodyPr>
            <a:normAutofit/>
          </a:bodyPr>
          <a:lstStyle/>
          <a:p>
            <a:endParaRPr lang="en-US" sz="2000">
              <a:solidFill>
                <a:schemeClr val="accent2"/>
              </a:solidFill>
            </a:endParaRPr>
          </a:p>
          <a:p>
            <a:r>
              <a:rPr lang="en-US" sz="2000">
                <a:solidFill>
                  <a:schemeClr val="accent2"/>
                </a:solidFill>
              </a:rPr>
              <a:t>ENTSO-E, Cherry Yuen</a:t>
            </a:r>
          </a:p>
          <a:p>
            <a:endParaRPr lang="en-GB" sz="2000">
              <a:solidFill>
                <a:schemeClr val="accent2"/>
              </a:solidFill>
            </a:endParaRPr>
          </a:p>
        </p:txBody>
      </p:sp>
    </p:spTree>
    <p:extLst>
      <p:ext uri="{BB962C8B-B14F-4D97-AF65-F5344CB8AC3E}">
        <p14:creationId xmlns:p14="http://schemas.microsoft.com/office/powerpoint/2010/main" val="4177148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97573D3-9174-406D-A6B3-270002F917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5" name="Objekt 4" hidden="1">
                        <a:extLst>
                          <a:ext uri="{FF2B5EF4-FFF2-40B4-BE49-F238E27FC236}">
                            <a16:creationId xmlns:a16="http://schemas.microsoft.com/office/drawing/2014/main" id="{D97573D3-9174-406D-A6B3-270002F91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6D7EB4-42E5-4DD1-9458-00A915AB83CF}"/>
              </a:ext>
            </a:extLst>
          </p:cNvPr>
          <p:cNvSpPr>
            <a:spLocks noGrp="1"/>
          </p:cNvSpPr>
          <p:nvPr>
            <p:ph type="title"/>
          </p:nvPr>
        </p:nvSpPr>
        <p:spPr>
          <a:xfrm>
            <a:off x="115064" y="402988"/>
            <a:ext cx="12510265" cy="1325563"/>
          </a:xfrm>
        </p:spPr>
        <p:txBody>
          <a:bodyPr vert="horz">
            <a:normAutofit/>
          </a:bodyPr>
          <a:lstStyle/>
          <a:p>
            <a:r>
              <a:rPr lang="en-US" sz="3600" b="1">
                <a:solidFill>
                  <a:srgbClr val="0F218B"/>
                </a:solidFill>
                <a:latin typeface="Calibri" panose="020F0502020204030204" pitchFamily="34" charset="0"/>
              </a:rPr>
              <a:t>Pan-European or regional deliverables 2024: SOGL/NCER</a:t>
            </a:r>
          </a:p>
        </p:txBody>
      </p:sp>
      <p:graphicFrame>
        <p:nvGraphicFramePr>
          <p:cNvPr id="3" name="Diagram 2">
            <a:extLst>
              <a:ext uri="{FF2B5EF4-FFF2-40B4-BE49-F238E27FC236}">
                <a16:creationId xmlns:a16="http://schemas.microsoft.com/office/drawing/2014/main" id="{FCC00CD2-7A17-4B72-9414-B4E04DA9BDB4}"/>
              </a:ext>
            </a:extLst>
          </p:cNvPr>
          <p:cNvGraphicFramePr/>
          <p:nvPr>
            <p:extLst>
              <p:ext uri="{D42A27DB-BD31-4B8C-83A1-F6EECF244321}">
                <p14:modId xmlns:p14="http://schemas.microsoft.com/office/powerpoint/2010/main" val="2700676524"/>
              </p:ext>
            </p:extLst>
          </p:nvPr>
        </p:nvGraphicFramePr>
        <p:xfrm>
          <a:off x="163230" y="1197144"/>
          <a:ext cx="11069701" cy="52578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extBox 3">
            <a:extLst>
              <a:ext uri="{FF2B5EF4-FFF2-40B4-BE49-F238E27FC236}">
                <a16:creationId xmlns:a16="http://schemas.microsoft.com/office/drawing/2014/main" id="{7BFBF590-0DDA-1BBD-E610-55DDC421733A}"/>
              </a:ext>
            </a:extLst>
          </p:cNvPr>
          <p:cNvSpPr txBox="1"/>
          <p:nvPr/>
        </p:nvSpPr>
        <p:spPr>
          <a:xfrm>
            <a:off x="275119" y="1258971"/>
            <a:ext cx="2648816" cy="181588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a:solidFill>
                  <a:srgbClr val="2054A5">
                    <a:lumMod val="75000"/>
                  </a:srgbClr>
                </a:solidFill>
                <a:latin typeface="Trebuchet MS"/>
              </a:rPr>
              <a:t>SO GL</a:t>
            </a:r>
            <a:r>
              <a:rPr kumimoji="0" lang="en-US" sz="2800" b="0" i="0" u="none" strike="noStrike" kern="1200" cap="none" spc="0" normalizeH="0" baseline="0" noProof="0">
                <a:ln>
                  <a:noFill/>
                </a:ln>
                <a:solidFill>
                  <a:srgbClr val="2054A5">
                    <a:lumMod val="75000"/>
                  </a:srgbClr>
                </a:solidFill>
                <a:effectLst/>
                <a:uLnTx/>
                <a:uFillTx/>
                <a:latin typeface="Trebuchet MS"/>
                <a:ea typeface="+mn-ea"/>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2054A5">
                    <a:lumMod val="75000"/>
                  </a:srgbClr>
                </a:solidFill>
                <a:effectLst/>
                <a:uLnTx/>
                <a:uFillTx/>
                <a:latin typeface="Trebuchet MS"/>
                <a:ea typeface="+mn-ea"/>
                <a:cs typeface="Calibri"/>
              </a:rPr>
              <a:t>(Article </a:t>
            </a:r>
            <a:r>
              <a:rPr lang="en-US" sz="2800">
                <a:solidFill>
                  <a:srgbClr val="2054A5">
                    <a:lumMod val="75000"/>
                  </a:srgbClr>
                </a:solidFill>
                <a:latin typeface="Trebuchet MS"/>
                <a:cs typeface="Calibri"/>
              </a:rPr>
              <a:t>75</a:t>
            </a:r>
            <a:r>
              <a:rPr kumimoji="0" lang="en-US" sz="2800" b="0" i="0" u="none" strike="noStrike" kern="1200" cap="none" spc="0" normalizeH="0" baseline="0" noProof="0">
                <a:ln>
                  <a:noFill/>
                </a:ln>
                <a:solidFill>
                  <a:srgbClr val="2054A5">
                    <a:lumMod val="75000"/>
                  </a:srgbClr>
                </a:solidFill>
                <a:effectLst/>
                <a:uLnTx/>
                <a:uFillTx/>
                <a:latin typeface="Trebuchet MS"/>
                <a:ea typeface="+mn-ea"/>
                <a:cs typeface="Calibri"/>
              </a:rPr>
              <a:t>)</a:t>
            </a:r>
          </a:p>
          <a:p>
            <a:pPr marL="457200" indent="-457200">
              <a:buFont typeface="Calibri"/>
              <a:buChar char="-"/>
              <a:defRPr/>
            </a:pPr>
            <a:r>
              <a:rPr lang="en-US" sz="2800" err="1">
                <a:solidFill>
                  <a:srgbClr val="2054A5">
                    <a:lumMod val="75000"/>
                  </a:srgbClr>
                </a:solidFill>
                <a:latin typeface="Trebuchet MS"/>
                <a:cs typeface="Calibri"/>
              </a:rPr>
              <a:t>CSAm</a:t>
            </a:r>
            <a:r>
              <a:rPr lang="en-US" sz="2800">
                <a:solidFill>
                  <a:srgbClr val="2054A5">
                    <a:lumMod val="75000"/>
                  </a:srgbClr>
                </a:solidFill>
                <a:latin typeface="Trebuchet MS"/>
                <a:cs typeface="Calibri"/>
              </a:rPr>
              <a:t> (article 44)</a:t>
            </a:r>
          </a:p>
        </p:txBody>
      </p:sp>
    </p:spTree>
    <p:extLst>
      <p:ext uri="{BB962C8B-B14F-4D97-AF65-F5344CB8AC3E}">
        <p14:creationId xmlns:p14="http://schemas.microsoft.com/office/powerpoint/2010/main" val="3219077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a:xfrm>
            <a:off x="287106" y="3197946"/>
            <a:ext cx="11617788" cy="356467"/>
          </a:xfrm>
        </p:spPr>
        <p:txBody>
          <a:bodyPr lIns="91440" tIns="45720" rIns="91440" bIns="45720" anchor="ctr"/>
          <a:lstStyle/>
          <a:p>
            <a:r>
              <a:rPr lang="en-GB" sz="3200">
                <a:latin typeface="Calibri"/>
                <a:ea typeface="Calibri"/>
                <a:cs typeface="Calibri"/>
              </a:rPr>
              <a:t>3. Report</a:t>
            </a:r>
            <a:r>
              <a:rPr lang="en-GB" sz="4800">
                <a:latin typeface="Calibri"/>
                <a:ea typeface="Calibri"/>
                <a:cs typeface="Calibri"/>
              </a:rPr>
              <a:t> </a:t>
            </a:r>
            <a:r>
              <a:rPr lang="en-GB" sz="3200">
                <a:latin typeface="Calibri"/>
                <a:ea typeface="Calibri"/>
                <a:cs typeface="Calibri"/>
              </a:rPr>
              <a:t>on CGM implementation </a:t>
            </a:r>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554413"/>
            <a:ext cx="11617325" cy="1017587"/>
          </a:xfrm>
        </p:spPr>
        <p:txBody>
          <a:bodyPr vert="horz" lIns="91440" tIns="45720" rIns="91440" bIns="45720" rtlCol="0" anchor="t">
            <a:normAutofit/>
          </a:bodyPr>
          <a:lstStyle/>
          <a:p>
            <a:endParaRPr lang="en-US" sz="2000">
              <a:solidFill>
                <a:schemeClr val="accent2"/>
              </a:solidFill>
            </a:endParaRPr>
          </a:p>
          <a:p>
            <a:r>
              <a:rPr lang="en-US" sz="2000" err="1">
                <a:solidFill>
                  <a:schemeClr val="accent2"/>
                </a:solidFill>
                <a:latin typeface="Calibri"/>
                <a:ea typeface="Calibri"/>
                <a:cs typeface="Calibri"/>
              </a:rPr>
              <a:t>Habir</a:t>
            </a:r>
            <a:r>
              <a:rPr lang="en-US" sz="2000">
                <a:solidFill>
                  <a:schemeClr val="accent2"/>
                </a:solidFill>
                <a:latin typeface="Calibri"/>
                <a:ea typeface="Calibri"/>
                <a:cs typeface="Calibri"/>
              </a:rPr>
              <a:t> Par</a:t>
            </a:r>
            <a:r>
              <a:rPr lang="en-GB" sz="2000">
                <a:solidFill>
                  <a:schemeClr val="accent2"/>
                </a:solidFill>
                <a:latin typeface="Calibri"/>
                <a:ea typeface="Calibri"/>
                <a:cs typeface="Calibri"/>
              </a:rPr>
              <a:t>é Nsangou, ENTSO-E </a:t>
            </a:r>
            <a:endParaRPr lang="en-US" sz="2000">
              <a:solidFill>
                <a:schemeClr val="accent2"/>
              </a:solidFill>
              <a:latin typeface="Calibri"/>
              <a:ea typeface="Calibri"/>
              <a:cs typeface="Calibri"/>
            </a:endParaRPr>
          </a:p>
          <a:p>
            <a:endParaRPr lang="en-GB" sz="2000">
              <a:solidFill>
                <a:schemeClr val="accent2"/>
              </a:solidFill>
            </a:endParaRPr>
          </a:p>
        </p:txBody>
      </p:sp>
    </p:spTree>
    <p:extLst>
      <p:ext uri="{BB962C8B-B14F-4D97-AF65-F5344CB8AC3E}">
        <p14:creationId xmlns:p14="http://schemas.microsoft.com/office/powerpoint/2010/main" val="2394706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66C47-E611-6F3C-54E6-30F143B45655}"/>
              </a:ext>
            </a:extLst>
          </p:cNvPr>
          <p:cNvSpPr>
            <a:spLocks noGrp="1"/>
          </p:cNvSpPr>
          <p:nvPr>
            <p:ph type="title"/>
          </p:nvPr>
        </p:nvSpPr>
        <p:spPr/>
        <p:txBody>
          <a:bodyPr/>
          <a:lstStyle/>
          <a:p>
            <a:r>
              <a:rPr lang="en-US"/>
              <a:t>CGM action plan progress</a:t>
            </a:r>
            <a:endParaRPr lang="en-GB"/>
          </a:p>
        </p:txBody>
      </p:sp>
      <p:sp>
        <p:nvSpPr>
          <p:cNvPr id="3" name="Text Placeholder 2">
            <a:extLst>
              <a:ext uri="{FF2B5EF4-FFF2-40B4-BE49-F238E27FC236}">
                <a16:creationId xmlns:a16="http://schemas.microsoft.com/office/drawing/2014/main" id="{14C93E6E-7DCB-079A-B1E2-60F80EA45984}"/>
              </a:ext>
            </a:extLst>
          </p:cNvPr>
          <p:cNvSpPr>
            <a:spLocks noGrp="1"/>
          </p:cNvSpPr>
          <p:nvPr>
            <p:ph type="body" sz="quarter" idx="12"/>
          </p:nvPr>
        </p:nvSpPr>
        <p:spPr>
          <a:xfrm>
            <a:off x="382588" y="915602"/>
            <a:ext cx="11617788" cy="442428"/>
          </a:xfrm>
        </p:spPr>
        <p:txBody>
          <a:bodyPr/>
          <a:lstStyle/>
          <a:p>
            <a:r>
              <a:rPr lang="en-GB"/>
              <a:t>CGM focus areas and successes </a:t>
            </a:r>
          </a:p>
        </p:txBody>
      </p:sp>
      <p:sp>
        <p:nvSpPr>
          <p:cNvPr id="4" name="Text Placeholder 3">
            <a:extLst>
              <a:ext uri="{FF2B5EF4-FFF2-40B4-BE49-F238E27FC236}">
                <a16:creationId xmlns:a16="http://schemas.microsoft.com/office/drawing/2014/main" id="{E7FD4004-3AF2-BAA1-D031-CE9FF9892996}"/>
              </a:ext>
            </a:extLst>
          </p:cNvPr>
          <p:cNvSpPr>
            <a:spLocks noGrp="1"/>
          </p:cNvSpPr>
          <p:nvPr>
            <p:ph type="body" sz="quarter" idx="16"/>
          </p:nvPr>
        </p:nvSpPr>
        <p:spPr>
          <a:xfrm>
            <a:off x="382588" y="1454964"/>
            <a:ext cx="11616265" cy="4703024"/>
          </a:xfrm>
        </p:spPr>
        <p:txBody>
          <a:bodyPr vert="horz" lIns="91440" tIns="45720" rIns="91440" bIns="45720" rtlCol="0" anchor="t">
            <a:noAutofit/>
          </a:bodyPr>
          <a:lstStyle/>
          <a:p>
            <a:pPr marL="342900" indent="-342900">
              <a:buFont typeface="Wingdings" panose="05000000000000000000" pitchFamily="2" charset="2"/>
              <a:buChar char="ü"/>
            </a:pPr>
            <a:r>
              <a:rPr lang="en-US" sz="1600">
                <a:latin typeface="Calibri"/>
                <a:ea typeface="Calibri"/>
                <a:cs typeface="Calibri"/>
              </a:rPr>
              <a:t>Restructuring and reorganization</a:t>
            </a:r>
          </a:p>
          <a:p>
            <a:pPr marL="742950" lvl="1" indent="-285750">
              <a:buFont typeface="Arial" panose="020B0604020202020204" pitchFamily="34" charset="0"/>
              <a:buChar char="•"/>
            </a:pPr>
            <a:r>
              <a:rPr lang="en-US" sz="1600" b="0">
                <a:latin typeface="Calibri"/>
                <a:ea typeface="Calibri"/>
                <a:cs typeface="Calibri"/>
              </a:rPr>
              <a:t>Centralized governance, streamlined decision process, establishment of a Facilitators Group</a:t>
            </a:r>
          </a:p>
          <a:p>
            <a:pPr marL="742950" lvl="1" indent="-285750">
              <a:buFont typeface="Arial" panose="020B0604020202020204" pitchFamily="34" charset="0"/>
              <a:buChar char="•"/>
            </a:pPr>
            <a:r>
              <a:rPr lang="en-US" sz="1600">
                <a:latin typeface="Calibri"/>
                <a:ea typeface="Calibri"/>
                <a:cs typeface="Calibri"/>
              </a:rPr>
              <a:t>Focusing of resources in common groups allows TSO experts to invest more time in individual activitie</a:t>
            </a:r>
            <a:r>
              <a:rPr lang="en-US" sz="1600" b="0">
                <a:latin typeface="Calibri"/>
                <a:ea typeface="Calibri"/>
                <a:cs typeface="Calibri"/>
              </a:rPr>
              <a:t>s</a:t>
            </a:r>
          </a:p>
          <a:p>
            <a:pPr marL="342900" indent="-342900">
              <a:buFont typeface="Wingdings" panose="05000000000000000000" pitchFamily="2" charset="2"/>
              <a:buChar char="ü"/>
            </a:pPr>
            <a:r>
              <a:rPr lang="en-US" sz="1600">
                <a:latin typeface="Calibri"/>
                <a:ea typeface="Calibri"/>
                <a:cs typeface="Calibri"/>
              </a:rPr>
              <a:t>Common and transparent targets</a:t>
            </a:r>
          </a:p>
          <a:p>
            <a:pPr marL="800100" lvl="1" indent="-342900">
              <a:buFont typeface="Arial" panose="020B0604020202020204" pitchFamily="34" charset="0"/>
              <a:buChar char="•"/>
            </a:pPr>
            <a:r>
              <a:rPr lang="en-US" sz="1600">
                <a:latin typeface="Calibri"/>
                <a:ea typeface="Calibri"/>
                <a:cs typeface="Calibri"/>
              </a:rPr>
              <a:t>Focus on day-ahead models and the respective questions</a:t>
            </a:r>
          </a:p>
          <a:p>
            <a:pPr marL="800100" lvl="1" indent="-342900">
              <a:buFont typeface="Arial" panose="020B0604020202020204" pitchFamily="34" charset="0"/>
              <a:buChar char="•"/>
            </a:pPr>
            <a:r>
              <a:rPr lang="en-US" sz="1600"/>
              <a:t>“Global” process quality as clear goal (as opposed to individual targets)</a:t>
            </a:r>
          </a:p>
          <a:p>
            <a:pPr marL="342900" indent="-342900">
              <a:buFont typeface="Wingdings" panose="05000000000000000000" pitchFamily="2" charset="2"/>
              <a:buChar char="ü"/>
            </a:pPr>
            <a:r>
              <a:rPr lang="en-US" sz="1600">
                <a:latin typeface="Calibri"/>
                <a:cs typeface="Calibri"/>
              </a:rPr>
              <a:t>Issue tracker tool</a:t>
            </a:r>
            <a:endParaRPr lang="en-US" sz="1600">
              <a:latin typeface="Calibri"/>
              <a:cs typeface="Calibri"/>
              <a:sym typeface="Wingdings" panose="05000000000000000000" pitchFamily="2" charset="2"/>
            </a:endParaRPr>
          </a:p>
          <a:p>
            <a:pPr marL="800100" lvl="1" indent="-342900">
              <a:buFont typeface="Arial" panose="020B0604020202020204" pitchFamily="34" charset="0"/>
              <a:buChar char="•"/>
            </a:pPr>
            <a:r>
              <a:rPr lang="en-US" sz="1600">
                <a:latin typeface="Calibri"/>
                <a:ea typeface="Calibri"/>
                <a:cs typeface="Calibri"/>
                <a:sym typeface="Wingdings" panose="05000000000000000000" pitchFamily="2" charset="2"/>
              </a:rPr>
              <a:t>“Go-live” of the IGM/CGM modelling issue tracker</a:t>
            </a:r>
          </a:p>
          <a:p>
            <a:pPr marL="800100" lvl="1" indent="-342900">
              <a:buFont typeface="Arial" panose="020B0604020202020204" pitchFamily="34" charset="0"/>
              <a:buChar char="•"/>
            </a:pPr>
            <a:r>
              <a:rPr lang="en-US" sz="1600">
                <a:latin typeface="Calibri"/>
                <a:ea typeface="Calibri"/>
                <a:cs typeface="Calibri"/>
                <a:sym typeface="Wingdings" panose="05000000000000000000" pitchFamily="2" charset="2"/>
              </a:rPr>
              <a:t>Bi-monthly IOPs to follow up on the highlighted issues</a:t>
            </a:r>
            <a:endParaRPr lang="en-US" sz="1600">
              <a:latin typeface="Calibri"/>
              <a:ea typeface="Calibri"/>
              <a:cs typeface="Calibri"/>
            </a:endParaRPr>
          </a:p>
          <a:p>
            <a:pPr marL="342900" indent="-342900">
              <a:buFont typeface="Wingdings" panose="05000000000000000000" pitchFamily="2" charset="2"/>
              <a:buChar char="ü"/>
            </a:pPr>
            <a:r>
              <a:rPr lang="en-US" sz="1600">
                <a:latin typeface="Calibri"/>
                <a:cs typeface="Calibri"/>
              </a:rPr>
              <a:t>EMF harmonization</a:t>
            </a:r>
          </a:p>
          <a:p>
            <a:pPr marL="800100" lvl="1" indent="-342900">
              <a:buFont typeface="Arial" panose="020B0604020202020204" pitchFamily="34" charset="0"/>
              <a:buChar char="•"/>
            </a:pPr>
            <a:r>
              <a:rPr lang="en-US" sz="1600">
                <a:latin typeface="Calibri"/>
                <a:ea typeface="Calibri"/>
                <a:cs typeface="Calibri"/>
                <a:sym typeface="Wingdings" panose="05000000000000000000" pitchFamily="2" charset="2"/>
              </a:rPr>
              <a:t>Extensive work to analyze the merging process and tools resulted in harmonized requirements</a:t>
            </a:r>
          </a:p>
          <a:p>
            <a:pPr marL="800100" lvl="1" indent="-342900">
              <a:buFont typeface="Arial" panose="020B0604020202020204" pitchFamily="34" charset="0"/>
              <a:buChar char="•"/>
            </a:pPr>
            <a:r>
              <a:rPr lang="en-US" sz="1600">
                <a:latin typeface="Calibri"/>
                <a:ea typeface="Calibri"/>
                <a:cs typeface="Calibri"/>
                <a:sym typeface="Wingdings" panose="05000000000000000000" pitchFamily="2" charset="2"/>
              </a:rPr>
              <a:t>Implementation of the requirements in processes</a:t>
            </a:r>
            <a:endParaRPr lang="en-US" sz="1600">
              <a:latin typeface="Calibri"/>
              <a:ea typeface="Calibri"/>
              <a:cs typeface="Calibri"/>
            </a:endParaRPr>
          </a:p>
          <a:p>
            <a:pPr marL="342900" indent="-342900">
              <a:buFont typeface="Wingdings" panose="05000000000000000000" pitchFamily="2" charset="2"/>
              <a:buChar char="ü"/>
            </a:pPr>
            <a:r>
              <a:rPr lang="en-US" sz="1600">
                <a:latin typeface="Calibri"/>
                <a:cs typeface="Calibri"/>
              </a:rPr>
              <a:t>“OPDE 2.0” -  </a:t>
            </a:r>
            <a:r>
              <a:rPr lang="en-US" sz="1600" b="0">
                <a:solidFill>
                  <a:schemeClr val="tx1"/>
                </a:solidFill>
                <a:latin typeface="Calibri"/>
                <a:cs typeface="Calibri"/>
              </a:rPr>
              <a:t>approval of the target solution architecture and business requirement specification documents</a:t>
            </a:r>
            <a:endParaRPr lang="en-US"/>
          </a:p>
          <a:p>
            <a:pPr marL="342900" indent="-342900">
              <a:buFont typeface="Wingdings,Sans-Serif" panose="05000000000000000000" pitchFamily="2" charset="2"/>
              <a:buChar char="ü"/>
            </a:pPr>
            <a:r>
              <a:rPr lang="en-US" sz="1600">
                <a:latin typeface="Calibri"/>
                <a:cs typeface="Calibri"/>
              </a:rPr>
              <a:t>Communication</a:t>
            </a:r>
          </a:p>
          <a:p>
            <a:pPr marL="800100" lvl="1" indent="-342900">
              <a:buFont typeface="Arial" panose="020B0604020202020204" pitchFamily="34" charset="0"/>
              <a:buChar char="•"/>
            </a:pPr>
            <a:r>
              <a:rPr lang="en-US" sz="1600">
                <a:latin typeface="Calibri"/>
                <a:ea typeface="Calibri"/>
                <a:cs typeface="Calibri"/>
                <a:sym typeface="Wingdings" panose="05000000000000000000" pitchFamily="2" charset="2"/>
              </a:rPr>
              <a:t>Dedicated CGM landing page supporting onboarding of CGM members, quarterly dedicated engagement with ACER and NRAs highlighting the challenges and successes of the CGM BP</a:t>
            </a:r>
          </a:p>
          <a:p>
            <a:pPr marL="800100" lvl="1" indent="-342900">
              <a:buFont typeface="Arial" panose="020B0604020202020204" pitchFamily="34" charset="0"/>
              <a:buChar char="•"/>
            </a:pPr>
            <a:r>
              <a:rPr lang="en-US" sz="1600">
                <a:latin typeface="Calibri"/>
                <a:ea typeface="Calibri"/>
                <a:cs typeface="Calibri"/>
              </a:rPr>
              <a:t>Release of the improved CGM performance dashboard showcasing progress of CGM Building process</a:t>
            </a:r>
          </a:p>
        </p:txBody>
      </p:sp>
      <p:sp>
        <p:nvSpPr>
          <p:cNvPr id="5" name="Content Placeholder 1">
            <a:extLst>
              <a:ext uri="{FF2B5EF4-FFF2-40B4-BE49-F238E27FC236}">
                <a16:creationId xmlns:a16="http://schemas.microsoft.com/office/drawing/2014/main" id="{195B5BB1-7180-215D-7518-4ABEFACB9916}"/>
              </a:ext>
            </a:extLst>
          </p:cNvPr>
          <p:cNvSpPr txBox="1">
            <a:spLocks/>
          </p:cNvSpPr>
          <p:nvPr/>
        </p:nvSpPr>
        <p:spPr>
          <a:xfrm>
            <a:off x="287866" y="6268722"/>
            <a:ext cx="10176934" cy="356467"/>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Wingdings" panose="05000000000000000000" pitchFamily="2" charset="2"/>
              <a:buChar char="ü"/>
            </a:pPr>
            <a:endParaRPr lang="en-US" sz="1400">
              <a:latin typeface="Calibri"/>
              <a:ea typeface="Calibri"/>
              <a:cs typeface="Calibri"/>
            </a:endParaRPr>
          </a:p>
        </p:txBody>
      </p:sp>
      <p:sp>
        <p:nvSpPr>
          <p:cNvPr id="9" name="Textfeld 8">
            <a:extLst>
              <a:ext uri="{FF2B5EF4-FFF2-40B4-BE49-F238E27FC236}">
                <a16:creationId xmlns:a16="http://schemas.microsoft.com/office/drawing/2014/main" id="{C1AC9406-A247-4EB4-6BC9-8E6509107729}"/>
              </a:ext>
            </a:extLst>
          </p:cNvPr>
          <p:cNvSpPr txBox="1"/>
          <p:nvPr/>
        </p:nvSpPr>
        <p:spPr>
          <a:xfrm rot="21297576">
            <a:off x="8566410" y="2201796"/>
            <a:ext cx="3346233" cy="2144435"/>
          </a:xfrm>
          <a:prstGeom prst="irregularSeal2">
            <a:avLst/>
          </a:prstGeom>
          <a:solidFill>
            <a:srgbClr val="92D050"/>
          </a:solidFill>
          <a:ln>
            <a:solidFill>
              <a:srgbClr val="009992"/>
            </a:solidFill>
          </a:ln>
          <a:effectLst>
            <a:glow rad="63500">
              <a:schemeClr val="accent2">
                <a:satMod val="175000"/>
                <a:alpha val="40000"/>
              </a:schemeClr>
            </a:glow>
            <a:outerShdw blurRad="50800" dist="38100" algn="l" rotWithShape="0">
              <a:prstClr val="black">
                <a:alpha val="40000"/>
              </a:prstClr>
            </a:outerShdw>
          </a:effectLst>
        </p:spPr>
        <p:txBody>
          <a:bodyPr wrap="square">
            <a:spAutoFit/>
          </a:bodyPr>
          <a:lstStyle/>
          <a:p>
            <a:pPr algn="ctr"/>
            <a:r>
              <a:rPr lang="en-US" sz="1400">
                <a:latin typeface="Calibri"/>
                <a:cs typeface="Calibri"/>
              </a:rPr>
              <a:t>+ Many other improvements by TSOs and RCCs!</a:t>
            </a:r>
          </a:p>
        </p:txBody>
      </p:sp>
    </p:spTree>
    <p:extLst>
      <p:ext uri="{BB962C8B-B14F-4D97-AF65-F5344CB8AC3E}">
        <p14:creationId xmlns:p14="http://schemas.microsoft.com/office/powerpoint/2010/main" val="27780836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7106" y="536007"/>
            <a:ext cx="10061779" cy="356467"/>
          </a:xfrm>
        </p:spPr>
        <p:txBody>
          <a:bodyPr lIns="91440" tIns="45720" rIns="91440" bIns="45720" anchor="ctr"/>
          <a:lstStyle/>
          <a:p>
            <a:r>
              <a:rPr lang="en-GB">
                <a:latin typeface="Calibri"/>
                <a:ea typeface="Calibri"/>
                <a:cs typeface="Calibri"/>
              </a:rPr>
              <a:t>Capacity Calculation Regions – Roadmap for go-live of CGMES based tasks</a:t>
            </a:r>
            <a:endParaRPr lang="en-GB"/>
          </a:p>
        </p:txBody>
      </p:sp>
      <p:grpSp>
        <p:nvGrpSpPr>
          <p:cNvPr id="2" name="Group 1">
            <a:extLst>
              <a:ext uri="{FF2B5EF4-FFF2-40B4-BE49-F238E27FC236}">
                <a16:creationId xmlns:a16="http://schemas.microsoft.com/office/drawing/2014/main" id="{523AD69B-3951-6010-4FD8-275876924E50}"/>
              </a:ext>
            </a:extLst>
          </p:cNvPr>
          <p:cNvGrpSpPr/>
          <p:nvPr/>
        </p:nvGrpSpPr>
        <p:grpSpPr>
          <a:xfrm>
            <a:off x="488779" y="1199904"/>
            <a:ext cx="11658624" cy="5384007"/>
            <a:chOff x="323836" y="925270"/>
            <a:chExt cx="11754863" cy="5864851"/>
          </a:xfrm>
        </p:grpSpPr>
        <p:sp>
          <p:nvSpPr>
            <p:cNvPr id="148" name="TextBox 147">
              <a:extLst>
                <a:ext uri="{FF2B5EF4-FFF2-40B4-BE49-F238E27FC236}">
                  <a16:creationId xmlns:a16="http://schemas.microsoft.com/office/drawing/2014/main" id="{D72BA106-E800-DDC9-BC85-6B688DFC42FC}"/>
                </a:ext>
              </a:extLst>
            </p:cNvPr>
            <p:cNvSpPr txBox="1"/>
            <p:nvPr/>
          </p:nvSpPr>
          <p:spPr>
            <a:xfrm>
              <a:off x="8450663" y="2885974"/>
              <a:ext cx="3628036" cy="3537035"/>
            </a:xfrm>
            <a:prstGeom prst="rect">
              <a:avLst/>
            </a:prstGeom>
            <a:solidFill>
              <a:schemeClr val="bg1"/>
            </a:solidFill>
            <a:ln>
              <a:noFill/>
            </a:ln>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sng" strike="noStrike" kern="1200" cap="none" spc="0" normalizeH="0" baseline="0" noProof="0">
                <a:ln>
                  <a:noFill/>
                </a:ln>
                <a:solidFill>
                  <a:srgbClr val="20188A"/>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sng" strike="noStrike" kern="1200" cap="none" spc="0" normalizeH="0" baseline="0" noProof="0">
                <a:ln>
                  <a:noFill/>
                </a:ln>
                <a:solidFill>
                  <a:srgbClr val="20188A"/>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sng" strike="noStrike" kern="1200" cap="none" spc="0" normalizeH="0" baseline="0" noProof="0">
                  <a:ln>
                    <a:noFill/>
                  </a:ln>
                  <a:solidFill>
                    <a:srgbClr val="20188A"/>
                  </a:solidFill>
                  <a:effectLst/>
                  <a:uLnTx/>
                  <a:uFillTx/>
                  <a:latin typeface="Arial" panose="020B0604020202020204" pitchFamily="34" charset="0"/>
                  <a:ea typeface="+mn-ea"/>
                  <a:cs typeface="Arial" panose="020B0604020202020204" pitchFamily="34" charset="0"/>
                </a:rPr>
                <a:t>NB</a:t>
              </a:r>
              <a:r>
                <a:rPr kumimoji="0" lang="en-GB" sz="900" b="1" i="0" u="sng" strike="noStrike" kern="1200" cap="none" spc="0" normalizeH="0" baseline="0" noProof="0">
                  <a:ln>
                    <a:noFill/>
                  </a:ln>
                  <a:solidFill>
                    <a:srgbClr val="0FB29A">
                      <a:lumMod val="75000"/>
                    </a:srgbClr>
                  </a:solidFill>
                  <a:effectLst/>
                  <a:uLnTx/>
                  <a:uFillTx/>
                  <a:latin typeface="Arial" panose="020B0604020202020204" pitchFamily="34" charset="0"/>
                  <a:ea typeface="+mn-ea"/>
                  <a:cs typeface="Arial" panose="020B0604020202020204" pitchFamily="34" charset="0"/>
                </a:rPr>
                <a:t> </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Nordic DA Regional Security Analysis operational since 2024. ID RSA* moved to 2027. No specific target for full  ROSC incl. RAO</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CSA HAN-DA/ID go live date within 12 months after respective Go-Live in Core &amp; Nordic CCR</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HAN DA/ID CC within 12M after application of pan-European DA/ID CGM in CGMES format in Hansa ROSC</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CE stepwise DA/ID CROSA go-live is subject to the decision whether there will be a go-live with DA CROSA only</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ITN to be merged with Core to form CE.</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SEE in the process of defining a new timeline.</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Pan-EU STA does not rely on CGMs in CGMES.</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OPC PAN-R10 - Next evolution of CIM/CGMES migration on Pan-EU level, starting with //run and switch of underlying data format</a:t>
              </a:r>
            </a:p>
          </p:txBody>
        </p:sp>
        <p:cxnSp>
          <p:nvCxnSpPr>
            <p:cNvPr id="3" name="Elbow Connector 299">
              <a:extLst>
                <a:ext uri="{FF2B5EF4-FFF2-40B4-BE49-F238E27FC236}">
                  <a16:creationId xmlns:a16="http://schemas.microsoft.com/office/drawing/2014/main" id="{30FDEC8C-7FC0-5233-570B-855C1C029990}"/>
                </a:ext>
              </a:extLst>
            </p:cNvPr>
            <p:cNvCxnSpPr>
              <a:cxnSpLocks/>
              <a:endCxn id="49" idx="3"/>
            </p:cNvCxnSpPr>
            <p:nvPr/>
          </p:nvCxnSpPr>
          <p:spPr>
            <a:xfrm rot="16200000" flipV="1">
              <a:off x="6444606" y="2965027"/>
              <a:ext cx="448118" cy="4091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Elbow Connector 96">
              <a:extLst>
                <a:ext uri="{FF2B5EF4-FFF2-40B4-BE49-F238E27FC236}">
                  <a16:creationId xmlns:a16="http://schemas.microsoft.com/office/drawing/2014/main" id="{5F535DE8-C437-BE07-88D6-F8E4765F58EE}"/>
                </a:ext>
              </a:extLst>
            </p:cNvPr>
            <p:cNvCxnSpPr>
              <a:cxnSpLocks/>
              <a:stCxn id="108" idx="1"/>
            </p:cNvCxnSpPr>
            <p:nvPr/>
          </p:nvCxnSpPr>
          <p:spPr>
            <a:xfrm rot="16200000" flipV="1">
              <a:off x="1597210" y="2886638"/>
              <a:ext cx="509201" cy="100619"/>
            </a:xfrm>
            <a:prstGeom prst="bentConnector3">
              <a:avLst>
                <a:gd name="adj1" fmla="val 98433"/>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DB56870C-87DF-5C72-4F60-E75EF1D63CAD}"/>
                </a:ext>
              </a:extLst>
            </p:cNvPr>
            <p:cNvCxnSpPr>
              <a:cxnSpLocks/>
              <a:stCxn id="95" idx="3"/>
              <a:endCxn id="127" idx="0"/>
            </p:cNvCxnSpPr>
            <p:nvPr/>
          </p:nvCxnSpPr>
          <p:spPr>
            <a:xfrm>
              <a:off x="6984709" y="2992909"/>
              <a:ext cx="13711" cy="190798"/>
            </a:xfrm>
            <a:prstGeom prst="bentConnector2">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099BBB3-E1E0-01AC-B893-B34B42ED24FF}"/>
                </a:ext>
              </a:extLst>
            </p:cNvPr>
            <p:cNvSpPr/>
            <p:nvPr/>
          </p:nvSpPr>
          <p:spPr>
            <a:xfrm>
              <a:off x="7338364" y="925270"/>
              <a:ext cx="1070298" cy="5859888"/>
            </a:xfrm>
            <a:prstGeom prst="rect">
              <a:avLst/>
            </a:prstGeom>
            <a:no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30+</a:t>
              </a:r>
            </a:p>
          </p:txBody>
        </p:sp>
        <p:sp>
          <p:nvSpPr>
            <p:cNvPr id="11" name="Rectangle 10">
              <a:extLst>
                <a:ext uri="{FF2B5EF4-FFF2-40B4-BE49-F238E27FC236}">
                  <a16:creationId xmlns:a16="http://schemas.microsoft.com/office/drawing/2014/main" id="{10054917-DBA1-D580-AA76-078BD858697B}"/>
                </a:ext>
              </a:extLst>
            </p:cNvPr>
            <p:cNvSpPr/>
            <p:nvPr/>
          </p:nvSpPr>
          <p:spPr>
            <a:xfrm rot="16200000">
              <a:off x="-169560" y="4330408"/>
              <a:ext cx="1114837" cy="128035"/>
            </a:xfrm>
            <a:prstGeom prst="rect">
              <a:avLst/>
            </a:prstGeom>
            <a:solidFill>
              <a:schemeClr val="accent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A</a:t>
              </a:r>
            </a:p>
          </p:txBody>
        </p:sp>
        <p:sp>
          <p:nvSpPr>
            <p:cNvPr id="12" name="Rectangle 11">
              <a:extLst>
                <a:ext uri="{FF2B5EF4-FFF2-40B4-BE49-F238E27FC236}">
                  <a16:creationId xmlns:a16="http://schemas.microsoft.com/office/drawing/2014/main" id="{AAE5BF74-C03B-48CC-C7B9-BABBD7DE4C71}"/>
                </a:ext>
              </a:extLst>
            </p:cNvPr>
            <p:cNvSpPr/>
            <p:nvPr/>
          </p:nvSpPr>
          <p:spPr>
            <a:xfrm>
              <a:off x="513036" y="3837010"/>
              <a:ext cx="7905940" cy="11148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64BB18AD-EBD1-0999-834F-8404022182CC}"/>
                </a:ext>
              </a:extLst>
            </p:cNvPr>
            <p:cNvSpPr/>
            <p:nvPr/>
          </p:nvSpPr>
          <p:spPr>
            <a:xfrm rot="16200000">
              <a:off x="-486409" y="5811075"/>
              <a:ext cx="1748539" cy="128035"/>
            </a:xfrm>
            <a:prstGeom prst="rect">
              <a:avLst/>
            </a:prstGeom>
            <a:solidFill>
              <a:schemeClr val="accent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PC</a:t>
              </a:r>
            </a:p>
          </p:txBody>
        </p:sp>
        <p:sp>
          <p:nvSpPr>
            <p:cNvPr id="14" name="Rectangle 13">
              <a:extLst>
                <a:ext uri="{FF2B5EF4-FFF2-40B4-BE49-F238E27FC236}">
                  <a16:creationId xmlns:a16="http://schemas.microsoft.com/office/drawing/2014/main" id="{BF972144-EDC6-A3E1-ACF8-B2BCD3640691}"/>
                </a:ext>
              </a:extLst>
            </p:cNvPr>
            <p:cNvSpPr/>
            <p:nvPr/>
          </p:nvSpPr>
          <p:spPr>
            <a:xfrm>
              <a:off x="513037" y="5000830"/>
              <a:ext cx="7905939" cy="174853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D38169AA-0A47-8835-019E-A2EFA2BD4FA7}"/>
                </a:ext>
              </a:extLst>
            </p:cNvPr>
            <p:cNvSpPr txBox="1"/>
            <p:nvPr/>
          </p:nvSpPr>
          <p:spPr>
            <a:xfrm>
              <a:off x="567186" y="6165066"/>
              <a:ext cx="954694" cy="317230"/>
            </a:xfrm>
            <a:prstGeom prst="rect">
              <a:avLst/>
            </a:prstGeom>
            <a:solidFill>
              <a:schemeClr val="bg1"/>
            </a:solidFill>
            <a:ln w="6350">
              <a:solidFill>
                <a:schemeClr val="tx1"/>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Region-specific process</a:t>
              </a:r>
            </a:p>
          </p:txBody>
        </p:sp>
        <p:sp>
          <p:nvSpPr>
            <p:cNvPr id="18" name="Rectangle 17">
              <a:extLst>
                <a:ext uri="{FF2B5EF4-FFF2-40B4-BE49-F238E27FC236}">
                  <a16:creationId xmlns:a16="http://schemas.microsoft.com/office/drawing/2014/main" id="{D0EE9F4E-1D94-F5BC-C0A9-CC779084C2D2}"/>
                </a:ext>
              </a:extLst>
            </p:cNvPr>
            <p:cNvSpPr/>
            <p:nvPr/>
          </p:nvSpPr>
          <p:spPr>
            <a:xfrm rot="16200000">
              <a:off x="-233125" y="1766651"/>
              <a:ext cx="1241960" cy="128035"/>
            </a:xfrm>
            <a:prstGeom prst="rect">
              <a:avLst/>
            </a:prstGeom>
            <a:solidFill>
              <a:schemeClr val="accent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SA</a:t>
              </a:r>
              <a:endPar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4853CFE1-A21C-94AA-0964-358F85558E42}"/>
                </a:ext>
              </a:extLst>
            </p:cNvPr>
            <p:cNvSpPr/>
            <p:nvPr/>
          </p:nvSpPr>
          <p:spPr>
            <a:xfrm>
              <a:off x="513036" y="1216408"/>
              <a:ext cx="7905940" cy="12419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1651B040-B371-073A-930F-2CC070A371DC}"/>
                </a:ext>
              </a:extLst>
            </p:cNvPr>
            <p:cNvSpPr/>
            <p:nvPr/>
          </p:nvSpPr>
          <p:spPr>
            <a:xfrm rot="16200000">
              <a:off x="-260218" y="3084950"/>
              <a:ext cx="1296144" cy="128035"/>
            </a:xfrm>
            <a:prstGeom prst="rect">
              <a:avLst/>
            </a:prstGeom>
            <a:solidFill>
              <a:schemeClr val="accent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CC</a:t>
              </a:r>
            </a:p>
          </p:txBody>
        </p:sp>
        <p:sp>
          <p:nvSpPr>
            <p:cNvPr id="21" name="Rectangle 20">
              <a:extLst>
                <a:ext uri="{FF2B5EF4-FFF2-40B4-BE49-F238E27FC236}">
                  <a16:creationId xmlns:a16="http://schemas.microsoft.com/office/drawing/2014/main" id="{C8957E48-EE9D-A550-7DF7-241B91988CBF}"/>
                </a:ext>
              </a:extLst>
            </p:cNvPr>
            <p:cNvSpPr/>
            <p:nvPr/>
          </p:nvSpPr>
          <p:spPr>
            <a:xfrm>
              <a:off x="513036" y="2500896"/>
              <a:ext cx="7905940" cy="12959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C61425AD-BD71-90D9-0F27-4ABE4C842866}"/>
                </a:ext>
              </a:extLst>
            </p:cNvPr>
            <p:cNvSpPr txBox="1"/>
            <p:nvPr/>
          </p:nvSpPr>
          <p:spPr>
            <a:xfrm>
              <a:off x="548386" y="3069328"/>
              <a:ext cx="975528" cy="437620"/>
            </a:xfrm>
            <a:prstGeom prst="rect">
              <a:avLst/>
            </a:prstGeom>
            <a:solidFill>
              <a:schemeClr val="bg1"/>
            </a:solidFill>
            <a:ln w="6350">
              <a:solidFill>
                <a:schemeClr val="tx1"/>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Regional Capacity Calcul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LT / DA / ID / B)</a:t>
              </a:r>
            </a:p>
          </p:txBody>
        </p:sp>
        <p:sp>
          <p:nvSpPr>
            <p:cNvPr id="23" name="TextBox 22">
              <a:extLst>
                <a:ext uri="{FF2B5EF4-FFF2-40B4-BE49-F238E27FC236}">
                  <a16:creationId xmlns:a16="http://schemas.microsoft.com/office/drawing/2014/main" id="{F38C3A33-F30A-BFF9-4E73-E3B6BFB2B4CE}"/>
                </a:ext>
              </a:extLst>
            </p:cNvPr>
            <p:cNvSpPr txBox="1"/>
            <p:nvPr/>
          </p:nvSpPr>
          <p:spPr>
            <a:xfrm>
              <a:off x="561019" y="1780098"/>
              <a:ext cx="955704" cy="322707"/>
            </a:xfrm>
            <a:prstGeom prst="rect">
              <a:avLst/>
            </a:prstGeom>
            <a:solidFill>
              <a:schemeClr val="bg1"/>
            </a:solidFill>
            <a:ln w="6350">
              <a:solidFill>
                <a:schemeClr val="tx1"/>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CROSA</a:t>
              </a:r>
            </a:p>
          </p:txBody>
        </p:sp>
        <p:sp>
          <p:nvSpPr>
            <p:cNvPr id="24" name="Rectangle 23">
              <a:extLst>
                <a:ext uri="{FF2B5EF4-FFF2-40B4-BE49-F238E27FC236}">
                  <a16:creationId xmlns:a16="http://schemas.microsoft.com/office/drawing/2014/main" id="{F0CF3F75-92EC-6DBD-C15A-C18DA437E60F}"/>
                </a:ext>
              </a:extLst>
            </p:cNvPr>
            <p:cNvSpPr/>
            <p:nvPr/>
          </p:nvSpPr>
          <p:spPr>
            <a:xfrm>
              <a:off x="1672595" y="930233"/>
              <a:ext cx="1070298" cy="5859888"/>
            </a:xfrm>
            <a:prstGeom prst="rect">
              <a:avLst/>
            </a:prstGeom>
            <a:no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5</a:t>
              </a:r>
            </a:p>
          </p:txBody>
        </p:sp>
        <p:sp>
          <p:nvSpPr>
            <p:cNvPr id="25" name="Rectangle 24">
              <a:extLst>
                <a:ext uri="{FF2B5EF4-FFF2-40B4-BE49-F238E27FC236}">
                  <a16:creationId xmlns:a16="http://schemas.microsoft.com/office/drawing/2014/main" id="{5D8DF333-D075-68A7-32D9-2DE383FC19F4}"/>
                </a:ext>
              </a:extLst>
            </p:cNvPr>
            <p:cNvSpPr/>
            <p:nvPr/>
          </p:nvSpPr>
          <p:spPr>
            <a:xfrm>
              <a:off x="2801173" y="925761"/>
              <a:ext cx="1070298" cy="5859888"/>
            </a:xfrm>
            <a:prstGeom prst="rect">
              <a:avLst/>
            </a:prstGeom>
            <a:no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6</a:t>
              </a:r>
            </a:p>
          </p:txBody>
        </p:sp>
        <p:sp>
          <p:nvSpPr>
            <p:cNvPr id="26" name="Rectangle 25">
              <a:extLst>
                <a:ext uri="{FF2B5EF4-FFF2-40B4-BE49-F238E27FC236}">
                  <a16:creationId xmlns:a16="http://schemas.microsoft.com/office/drawing/2014/main" id="{A7B2085A-1CEE-2A4F-A4CA-C6CFA411F2F0}"/>
                </a:ext>
              </a:extLst>
            </p:cNvPr>
            <p:cNvSpPr/>
            <p:nvPr/>
          </p:nvSpPr>
          <p:spPr>
            <a:xfrm>
              <a:off x="3932633" y="925761"/>
              <a:ext cx="1070298" cy="5859888"/>
            </a:xfrm>
            <a:prstGeom prst="rect">
              <a:avLst/>
            </a:prstGeom>
            <a:no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7</a:t>
              </a:r>
            </a:p>
          </p:txBody>
        </p:sp>
        <p:sp>
          <p:nvSpPr>
            <p:cNvPr id="27" name="Rectangle 26">
              <a:extLst>
                <a:ext uri="{FF2B5EF4-FFF2-40B4-BE49-F238E27FC236}">
                  <a16:creationId xmlns:a16="http://schemas.microsoft.com/office/drawing/2014/main" id="{6F4E0998-D0B8-C066-18DD-F6AD854A62CC}"/>
                </a:ext>
              </a:extLst>
            </p:cNvPr>
            <p:cNvSpPr/>
            <p:nvPr/>
          </p:nvSpPr>
          <p:spPr>
            <a:xfrm>
              <a:off x="5064093" y="925463"/>
              <a:ext cx="1070298" cy="5859888"/>
            </a:xfrm>
            <a:prstGeom prst="rect">
              <a:avLst/>
            </a:prstGeom>
            <a:no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8</a:t>
              </a:r>
            </a:p>
          </p:txBody>
        </p:sp>
        <p:sp>
          <p:nvSpPr>
            <p:cNvPr id="28" name="Rectangle 27">
              <a:extLst>
                <a:ext uri="{FF2B5EF4-FFF2-40B4-BE49-F238E27FC236}">
                  <a16:creationId xmlns:a16="http://schemas.microsoft.com/office/drawing/2014/main" id="{C029E564-8AF9-8904-5DB9-F8E0D50A4569}"/>
                </a:ext>
              </a:extLst>
            </p:cNvPr>
            <p:cNvSpPr/>
            <p:nvPr/>
          </p:nvSpPr>
          <p:spPr>
            <a:xfrm>
              <a:off x="6195553" y="925463"/>
              <a:ext cx="1070298" cy="5859888"/>
            </a:xfrm>
            <a:prstGeom prst="rect">
              <a:avLst/>
            </a:prstGeom>
            <a:no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9</a:t>
              </a:r>
            </a:p>
          </p:txBody>
        </p:sp>
        <p:cxnSp>
          <p:nvCxnSpPr>
            <p:cNvPr id="29" name="Straight Connector 28">
              <a:extLst>
                <a:ext uri="{FF2B5EF4-FFF2-40B4-BE49-F238E27FC236}">
                  <a16:creationId xmlns:a16="http://schemas.microsoft.com/office/drawing/2014/main" id="{EB0668CE-59F5-0876-4047-240403DC86F6}"/>
                </a:ext>
              </a:extLst>
            </p:cNvPr>
            <p:cNvCxnSpPr>
              <a:cxnSpLocks/>
            </p:cNvCxnSpPr>
            <p:nvPr/>
          </p:nvCxnSpPr>
          <p:spPr>
            <a:xfrm>
              <a:off x="1675912" y="3204312"/>
              <a:ext cx="6732750" cy="15993"/>
            </a:xfrm>
            <a:prstGeom prst="line">
              <a:avLst/>
            </a:prstGeom>
            <a:ln w="381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BA59F5F-01A8-4DF8-BB26-B62116B1D16F}"/>
                </a:ext>
              </a:extLst>
            </p:cNvPr>
            <p:cNvSpPr/>
            <p:nvPr/>
          </p:nvSpPr>
          <p:spPr>
            <a:xfrm>
              <a:off x="1149401" y="1489424"/>
              <a:ext cx="460392" cy="249067"/>
            </a:xfrm>
            <a:prstGeom prst="rect">
              <a:avLst/>
            </a:prstGeom>
            <a:solidFill>
              <a:srgbClr val="00569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BAL-DA/ID*</a:t>
              </a:r>
            </a:p>
          </p:txBody>
        </p:sp>
        <p:sp>
          <p:nvSpPr>
            <p:cNvPr id="31" name="Rectangle 30">
              <a:extLst>
                <a:ext uri="{FF2B5EF4-FFF2-40B4-BE49-F238E27FC236}">
                  <a16:creationId xmlns:a16="http://schemas.microsoft.com/office/drawing/2014/main" id="{AC71A3AC-33DA-30F9-1811-460073829DAD}"/>
                </a:ext>
              </a:extLst>
            </p:cNvPr>
            <p:cNvSpPr/>
            <p:nvPr/>
          </p:nvSpPr>
          <p:spPr>
            <a:xfrm>
              <a:off x="6787116" y="1537000"/>
              <a:ext cx="325946" cy="12383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ID</a:t>
              </a:r>
              <a:endParaRPr kumimoji="0" lang="en-GB" sz="7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endParaRPr>
            </a:p>
          </p:txBody>
        </p:sp>
        <p:sp>
          <p:nvSpPr>
            <p:cNvPr id="32" name="Rectangle 31">
              <a:extLst>
                <a:ext uri="{FF2B5EF4-FFF2-40B4-BE49-F238E27FC236}">
                  <a16:creationId xmlns:a16="http://schemas.microsoft.com/office/drawing/2014/main" id="{D4B89B41-7AF2-A46B-75A2-F8CBF2E22E7E}"/>
                </a:ext>
              </a:extLst>
            </p:cNvPr>
            <p:cNvSpPr/>
            <p:nvPr/>
          </p:nvSpPr>
          <p:spPr>
            <a:xfrm>
              <a:off x="7960959" y="1389178"/>
              <a:ext cx="438542" cy="27766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HAN-DA/ID</a:t>
              </a:r>
            </a:p>
          </p:txBody>
        </p:sp>
        <p:sp>
          <p:nvSpPr>
            <p:cNvPr id="34" name="Rectangle 33">
              <a:extLst>
                <a:ext uri="{FF2B5EF4-FFF2-40B4-BE49-F238E27FC236}">
                  <a16:creationId xmlns:a16="http://schemas.microsoft.com/office/drawing/2014/main" id="{061AE34E-E433-8AFC-BFC3-B5F9AC47A76A}"/>
                </a:ext>
              </a:extLst>
            </p:cNvPr>
            <p:cNvSpPr/>
            <p:nvPr/>
          </p:nvSpPr>
          <p:spPr>
            <a:xfrm>
              <a:off x="2878914" y="1239289"/>
              <a:ext cx="407960" cy="139586"/>
            </a:xfrm>
            <a:prstGeom prst="rect">
              <a:avLst/>
            </a:prstGeom>
            <a:solidFill>
              <a:srgbClr val="BFBFB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EE-DA</a:t>
              </a:r>
              <a:endParaRPr kumimoji="0" lang="en-GB" sz="7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5" name="Rectangle 34">
              <a:extLst>
                <a:ext uri="{FF2B5EF4-FFF2-40B4-BE49-F238E27FC236}">
                  <a16:creationId xmlns:a16="http://schemas.microsoft.com/office/drawing/2014/main" id="{5899D2E2-13CA-FF61-625B-1D533A5794E6}"/>
                </a:ext>
              </a:extLst>
            </p:cNvPr>
            <p:cNvSpPr/>
            <p:nvPr/>
          </p:nvSpPr>
          <p:spPr>
            <a:xfrm>
              <a:off x="4224602" y="1254344"/>
              <a:ext cx="376982" cy="12251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WE-DA</a:t>
              </a:r>
            </a:p>
          </p:txBody>
        </p:sp>
        <p:cxnSp>
          <p:nvCxnSpPr>
            <p:cNvPr id="36" name="Elbow Connector 165">
              <a:extLst>
                <a:ext uri="{FF2B5EF4-FFF2-40B4-BE49-F238E27FC236}">
                  <a16:creationId xmlns:a16="http://schemas.microsoft.com/office/drawing/2014/main" id="{AE082D46-20D6-51D3-29CB-278393E6AC6A}"/>
                </a:ext>
              </a:extLst>
            </p:cNvPr>
            <p:cNvCxnSpPr>
              <a:cxnSpLocks/>
              <a:endCxn id="30" idx="3"/>
            </p:cNvCxnSpPr>
            <p:nvPr/>
          </p:nvCxnSpPr>
          <p:spPr>
            <a:xfrm rot="16200000" flipV="1">
              <a:off x="1531109" y="1692643"/>
              <a:ext cx="230934" cy="73563"/>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D09B338-1E3B-6008-8029-D398091E2B4E}"/>
                </a:ext>
              </a:extLst>
            </p:cNvPr>
            <p:cNvCxnSpPr>
              <a:cxnSpLocks/>
            </p:cNvCxnSpPr>
            <p:nvPr/>
          </p:nvCxnSpPr>
          <p:spPr>
            <a:xfrm>
              <a:off x="1672595" y="1863335"/>
              <a:ext cx="6760953" cy="10308"/>
            </a:xfrm>
            <a:prstGeom prst="line">
              <a:avLst/>
            </a:prstGeom>
            <a:ln w="381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2F3959E9-8F4D-DB7C-10D7-D78DC9DEDA27}"/>
                </a:ext>
              </a:extLst>
            </p:cNvPr>
            <p:cNvSpPr/>
            <p:nvPr/>
          </p:nvSpPr>
          <p:spPr>
            <a:xfrm>
              <a:off x="1427417" y="2534510"/>
              <a:ext cx="436425" cy="221647"/>
            </a:xfrm>
            <a:prstGeom prst="rect">
              <a:avLst/>
            </a:prstGeom>
            <a:solidFill>
              <a:schemeClr val="accent6">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BAL-LT/DA/ID</a:t>
              </a:r>
            </a:p>
          </p:txBody>
        </p:sp>
        <p:cxnSp>
          <p:nvCxnSpPr>
            <p:cNvPr id="40" name="Straight Connector 39">
              <a:extLst>
                <a:ext uri="{FF2B5EF4-FFF2-40B4-BE49-F238E27FC236}">
                  <a16:creationId xmlns:a16="http://schemas.microsoft.com/office/drawing/2014/main" id="{DAD3D094-A25C-A868-E415-2072C231C57C}"/>
                </a:ext>
              </a:extLst>
            </p:cNvPr>
            <p:cNvCxnSpPr>
              <a:cxnSpLocks/>
            </p:cNvCxnSpPr>
            <p:nvPr/>
          </p:nvCxnSpPr>
          <p:spPr>
            <a:xfrm>
              <a:off x="1659321" y="6239087"/>
              <a:ext cx="6775300" cy="0"/>
            </a:xfrm>
            <a:prstGeom prst="line">
              <a:avLst/>
            </a:prstGeom>
            <a:ln w="381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997F4A3-E262-86D4-482A-9C940F555268}"/>
                </a:ext>
              </a:extLst>
            </p:cNvPr>
            <p:cNvSpPr/>
            <p:nvPr/>
          </p:nvSpPr>
          <p:spPr>
            <a:xfrm>
              <a:off x="1750351" y="6569047"/>
              <a:ext cx="397804" cy="131967"/>
            </a:xfrm>
            <a:prstGeom prst="rect">
              <a:avLst/>
            </a:prstGeom>
            <a:solidFill>
              <a:schemeClr val="accent6">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BAL-YR</a:t>
              </a:r>
            </a:p>
          </p:txBody>
        </p:sp>
        <p:cxnSp>
          <p:nvCxnSpPr>
            <p:cNvPr id="42" name="Elbow Connector 51">
              <a:extLst>
                <a:ext uri="{FF2B5EF4-FFF2-40B4-BE49-F238E27FC236}">
                  <a16:creationId xmlns:a16="http://schemas.microsoft.com/office/drawing/2014/main" id="{0AFBECB2-0D59-B2A8-5849-7DC50F1D8724}"/>
                </a:ext>
              </a:extLst>
            </p:cNvPr>
            <p:cNvCxnSpPr>
              <a:cxnSpLocks/>
              <a:endCxn id="41" idx="1"/>
            </p:cNvCxnSpPr>
            <p:nvPr/>
          </p:nvCxnSpPr>
          <p:spPr>
            <a:xfrm rot="16200000" flipH="1">
              <a:off x="1597877" y="6482557"/>
              <a:ext cx="227870" cy="77078"/>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A16FA6C-2A05-BBC9-051B-7FC1BC081DCB}"/>
                </a:ext>
              </a:extLst>
            </p:cNvPr>
            <p:cNvCxnSpPr>
              <a:cxnSpLocks/>
            </p:cNvCxnSpPr>
            <p:nvPr/>
          </p:nvCxnSpPr>
          <p:spPr>
            <a:xfrm>
              <a:off x="1686350" y="4211208"/>
              <a:ext cx="6722312" cy="0"/>
            </a:xfrm>
            <a:prstGeom prst="line">
              <a:avLst/>
            </a:prstGeom>
            <a:ln w="381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57ACC051-D36A-4A73-9601-662A4B699DE8}"/>
                </a:ext>
              </a:extLst>
            </p:cNvPr>
            <p:cNvSpPr txBox="1"/>
            <p:nvPr/>
          </p:nvSpPr>
          <p:spPr>
            <a:xfrm>
              <a:off x="561019" y="3998191"/>
              <a:ext cx="955704" cy="322707"/>
            </a:xfrm>
            <a:prstGeom prst="rect">
              <a:avLst/>
            </a:prstGeom>
            <a:solidFill>
              <a:schemeClr val="bg1"/>
            </a:solidFill>
            <a:ln w="6350">
              <a:solidFill>
                <a:schemeClr val="tx1"/>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Pan-European process</a:t>
              </a:r>
            </a:p>
          </p:txBody>
        </p:sp>
        <p:cxnSp>
          <p:nvCxnSpPr>
            <p:cNvPr id="46" name="Elbow Connector 96">
              <a:extLst>
                <a:ext uri="{FF2B5EF4-FFF2-40B4-BE49-F238E27FC236}">
                  <a16:creationId xmlns:a16="http://schemas.microsoft.com/office/drawing/2014/main" id="{6C70846B-B56E-0098-58A3-9DF88C35306D}"/>
                </a:ext>
              </a:extLst>
            </p:cNvPr>
            <p:cNvCxnSpPr>
              <a:cxnSpLocks/>
              <a:endCxn id="47" idx="3"/>
            </p:cNvCxnSpPr>
            <p:nvPr/>
          </p:nvCxnSpPr>
          <p:spPr>
            <a:xfrm rot="16200000" flipV="1">
              <a:off x="5526618" y="2847620"/>
              <a:ext cx="638618" cy="123852"/>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DCC2AD9E-F706-B06A-77BD-837C716BA267}"/>
                </a:ext>
              </a:extLst>
            </p:cNvPr>
            <p:cNvSpPr/>
            <p:nvPr/>
          </p:nvSpPr>
          <p:spPr>
            <a:xfrm>
              <a:off x="5219478" y="2518930"/>
              <a:ext cx="564523" cy="142613"/>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a:t>
              </a:r>
              <a:r>
                <a:rPr kumimoji="0" lang="en-GB" sz="800" b="1" i="0" u="none" strike="noStrike" kern="1200" cap="none" spc="0" normalizeH="0" baseline="0" noProof="0" err="1">
                  <a:ln>
                    <a:noFill/>
                  </a:ln>
                  <a:solidFill>
                    <a:srgbClr val="3A3A3F"/>
                  </a:solidFill>
                  <a:effectLst/>
                  <a:uLnTx/>
                  <a:uFillTx/>
                  <a:latin typeface="Arial Narrow" panose="020B0604020202020204" pitchFamily="34" charset="0"/>
                  <a:ea typeface="+mn-ea"/>
                  <a:cs typeface="Arial Narrow" panose="020B0604020202020204" pitchFamily="34" charset="0"/>
                </a:rPr>
                <a:t>IDCCb</a:t>
              </a:r>
              <a:endPar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endParaRPr>
            </a:p>
          </p:txBody>
        </p:sp>
        <p:sp>
          <p:nvSpPr>
            <p:cNvPr id="49" name="Rectangle 48">
              <a:extLst>
                <a:ext uri="{FF2B5EF4-FFF2-40B4-BE49-F238E27FC236}">
                  <a16:creationId xmlns:a16="http://schemas.microsoft.com/office/drawing/2014/main" id="{D4CFC6F0-E178-F926-D928-DE1DFFC3F70F}"/>
                </a:ext>
              </a:extLst>
            </p:cNvPr>
            <p:cNvSpPr/>
            <p:nvPr/>
          </p:nvSpPr>
          <p:spPr>
            <a:xfrm>
              <a:off x="6085391" y="2690347"/>
              <a:ext cx="562816" cy="142156"/>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a:t>
              </a:r>
              <a:r>
                <a:rPr kumimoji="0" lang="en-GB" sz="800" b="1" i="0" u="none" strike="noStrike" kern="1200" cap="none" spc="0" normalizeH="0" baseline="0" noProof="0" err="1">
                  <a:ln>
                    <a:noFill/>
                  </a:ln>
                  <a:solidFill>
                    <a:srgbClr val="3A3A3F"/>
                  </a:solidFill>
                  <a:effectLst/>
                  <a:uLnTx/>
                  <a:uFillTx/>
                  <a:latin typeface="Arial Narrow" panose="020B0604020202020204" pitchFamily="34" charset="0"/>
                  <a:ea typeface="+mn-ea"/>
                  <a:cs typeface="Arial Narrow" panose="020B0604020202020204" pitchFamily="34" charset="0"/>
                </a:rPr>
                <a:t>IDCCc</a:t>
              </a: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d</a:t>
              </a:r>
            </a:p>
          </p:txBody>
        </p:sp>
        <p:sp>
          <p:nvSpPr>
            <p:cNvPr id="50" name="Rectangle 49">
              <a:extLst>
                <a:ext uri="{FF2B5EF4-FFF2-40B4-BE49-F238E27FC236}">
                  <a16:creationId xmlns:a16="http://schemas.microsoft.com/office/drawing/2014/main" id="{0E907CBE-F7BA-846A-FBC1-C70FBFECCDD5}"/>
                </a:ext>
              </a:extLst>
            </p:cNvPr>
            <p:cNvSpPr/>
            <p:nvPr/>
          </p:nvSpPr>
          <p:spPr>
            <a:xfrm>
              <a:off x="1692719" y="4433947"/>
              <a:ext cx="322065" cy="131967"/>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PAN</a:t>
              </a:r>
              <a:endParaRPr kumimoji="0" lang="en-GB" sz="7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51" name="Rectangle 50">
              <a:extLst>
                <a:ext uri="{FF2B5EF4-FFF2-40B4-BE49-F238E27FC236}">
                  <a16:creationId xmlns:a16="http://schemas.microsoft.com/office/drawing/2014/main" id="{040CEE32-7A06-B810-6A83-E5CB5FB119AE}"/>
                </a:ext>
              </a:extLst>
            </p:cNvPr>
            <p:cNvSpPr/>
            <p:nvPr/>
          </p:nvSpPr>
          <p:spPr>
            <a:xfrm>
              <a:off x="5515017" y="2861261"/>
              <a:ext cx="373003" cy="23318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GRT-DA/ID/B</a:t>
              </a:r>
            </a:p>
          </p:txBody>
        </p:sp>
        <p:cxnSp>
          <p:nvCxnSpPr>
            <p:cNvPr id="52" name="Elbow Connector 115">
              <a:extLst>
                <a:ext uri="{FF2B5EF4-FFF2-40B4-BE49-F238E27FC236}">
                  <a16:creationId xmlns:a16="http://schemas.microsoft.com/office/drawing/2014/main" id="{3597131D-9068-55C3-632D-649DDF8D4E89}"/>
                </a:ext>
              </a:extLst>
            </p:cNvPr>
            <p:cNvCxnSpPr>
              <a:cxnSpLocks/>
              <a:endCxn id="51" idx="1"/>
            </p:cNvCxnSpPr>
            <p:nvPr/>
          </p:nvCxnSpPr>
          <p:spPr>
            <a:xfrm rot="5400000" flipH="1" flipV="1">
              <a:off x="5372551" y="3072832"/>
              <a:ext cx="237441" cy="47490"/>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36C03B23-FAC1-3FEF-AC04-F961504B1927}"/>
                </a:ext>
              </a:extLst>
            </p:cNvPr>
            <p:cNvSpPr/>
            <p:nvPr/>
          </p:nvSpPr>
          <p:spPr>
            <a:xfrm>
              <a:off x="2432782" y="5917574"/>
              <a:ext cx="395349" cy="10902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GRT-WK</a:t>
              </a:r>
            </a:p>
          </p:txBody>
        </p:sp>
        <p:cxnSp>
          <p:nvCxnSpPr>
            <p:cNvPr id="55" name="Elbow Connector 118">
              <a:extLst>
                <a:ext uri="{FF2B5EF4-FFF2-40B4-BE49-F238E27FC236}">
                  <a16:creationId xmlns:a16="http://schemas.microsoft.com/office/drawing/2014/main" id="{C494A7F5-32EA-76C7-1F49-0E3C55C3D312}"/>
                </a:ext>
              </a:extLst>
            </p:cNvPr>
            <p:cNvCxnSpPr>
              <a:cxnSpLocks/>
              <a:stCxn id="87" idx="0"/>
              <a:endCxn id="53" idx="1"/>
            </p:cNvCxnSpPr>
            <p:nvPr/>
          </p:nvCxnSpPr>
          <p:spPr>
            <a:xfrm rot="5400000" flipH="1" flipV="1">
              <a:off x="2296092" y="6084389"/>
              <a:ext cx="248990" cy="24389"/>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2F26F9E-501E-DE0E-F4F1-3D28305A0271}"/>
                </a:ext>
              </a:extLst>
            </p:cNvPr>
            <p:cNvSpPr/>
            <p:nvPr/>
          </p:nvSpPr>
          <p:spPr>
            <a:xfrm>
              <a:off x="1244865" y="2935396"/>
              <a:ext cx="395132" cy="13196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NOR-DA</a:t>
              </a:r>
            </a:p>
          </p:txBody>
        </p:sp>
        <p:sp>
          <p:nvSpPr>
            <p:cNvPr id="62" name="Rectangle 61">
              <a:extLst>
                <a:ext uri="{FF2B5EF4-FFF2-40B4-BE49-F238E27FC236}">
                  <a16:creationId xmlns:a16="http://schemas.microsoft.com/office/drawing/2014/main" id="{2F639327-634B-CB80-E576-90DEC25D84E4}"/>
                </a:ext>
              </a:extLst>
            </p:cNvPr>
            <p:cNvSpPr/>
            <p:nvPr/>
          </p:nvSpPr>
          <p:spPr>
            <a:xfrm>
              <a:off x="3428518" y="5405686"/>
              <a:ext cx="462099" cy="96382"/>
            </a:xfrm>
            <a:prstGeom prst="rect">
              <a:avLst/>
            </a:prstGeom>
            <a:solidFill>
              <a:srgbClr val="0F218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EE-WK</a:t>
              </a:r>
            </a:p>
          </p:txBody>
        </p:sp>
        <p:sp>
          <p:nvSpPr>
            <p:cNvPr id="63" name="Rectangle 62">
              <a:extLst>
                <a:ext uri="{FF2B5EF4-FFF2-40B4-BE49-F238E27FC236}">
                  <a16:creationId xmlns:a16="http://schemas.microsoft.com/office/drawing/2014/main" id="{6A4C533A-87CD-0BDE-A0AF-5D019FC9649C}"/>
                </a:ext>
              </a:extLst>
            </p:cNvPr>
            <p:cNvSpPr/>
            <p:nvPr/>
          </p:nvSpPr>
          <p:spPr>
            <a:xfrm>
              <a:off x="4227338" y="1407595"/>
              <a:ext cx="374246" cy="13196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WE-ID</a:t>
              </a:r>
              <a:endParaRPr kumimoji="0" lang="en-GB" sz="7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64" name="Rectangle 63">
              <a:extLst>
                <a:ext uri="{FF2B5EF4-FFF2-40B4-BE49-F238E27FC236}">
                  <a16:creationId xmlns:a16="http://schemas.microsoft.com/office/drawing/2014/main" id="{A04B7E34-0812-6839-2A59-86CA84C0D9F0}"/>
                </a:ext>
              </a:extLst>
            </p:cNvPr>
            <p:cNvSpPr/>
            <p:nvPr/>
          </p:nvSpPr>
          <p:spPr>
            <a:xfrm>
              <a:off x="3106635" y="2697234"/>
              <a:ext cx="416156" cy="15549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WE-LT</a:t>
              </a:r>
            </a:p>
          </p:txBody>
        </p:sp>
        <p:sp>
          <p:nvSpPr>
            <p:cNvPr id="65" name="Rectangle 64">
              <a:extLst>
                <a:ext uri="{FF2B5EF4-FFF2-40B4-BE49-F238E27FC236}">
                  <a16:creationId xmlns:a16="http://schemas.microsoft.com/office/drawing/2014/main" id="{85AA37A5-3246-E428-2B6A-3D92F1A82DAD}"/>
                </a:ext>
              </a:extLst>
            </p:cNvPr>
            <p:cNvSpPr/>
            <p:nvPr/>
          </p:nvSpPr>
          <p:spPr>
            <a:xfrm>
              <a:off x="3341389" y="2513031"/>
              <a:ext cx="451911" cy="154244"/>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WE-DA/ID</a:t>
              </a:r>
            </a:p>
          </p:txBody>
        </p:sp>
        <p:sp>
          <p:nvSpPr>
            <p:cNvPr id="67" name="TextBox 66">
              <a:extLst>
                <a:ext uri="{FF2B5EF4-FFF2-40B4-BE49-F238E27FC236}">
                  <a16:creationId xmlns:a16="http://schemas.microsoft.com/office/drawing/2014/main" id="{DB8FB337-4777-F56D-85CE-301F1224A90C}"/>
                </a:ext>
              </a:extLst>
            </p:cNvPr>
            <p:cNvSpPr txBox="1"/>
            <p:nvPr/>
          </p:nvSpPr>
          <p:spPr>
            <a:xfrm>
              <a:off x="561018" y="5233325"/>
              <a:ext cx="954413" cy="318604"/>
            </a:xfrm>
            <a:prstGeom prst="rect">
              <a:avLst/>
            </a:prstGeom>
            <a:solidFill>
              <a:schemeClr val="bg1"/>
            </a:solidFill>
            <a:ln w="6350">
              <a:solidFill>
                <a:schemeClr val="tx1"/>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Pan-European process</a:t>
              </a:r>
              <a:endParaRPr kumimoji="0" lang="en-GB" sz="800" b="0" i="1"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endParaRPr>
            </a:p>
          </p:txBody>
        </p:sp>
        <p:cxnSp>
          <p:nvCxnSpPr>
            <p:cNvPr id="68" name="Straight Connector 67">
              <a:extLst>
                <a:ext uri="{FF2B5EF4-FFF2-40B4-BE49-F238E27FC236}">
                  <a16:creationId xmlns:a16="http://schemas.microsoft.com/office/drawing/2014/main" id="{9A96A076-DEFC-2D47-E7D9-C5A82C4773C1}"/>
                </a:ext>
              </a:extLst>
            </p:cNvPr>
            <p:cNvCxnSpPr>
              <a:cxnSpLocks/>
            </p:cNvCxnSpPr>
            <p:nvPr/>
          </p:nvCxnSpPr>
          <p:spPr>
            <a:xfrm>
              <a:off x="1671471" y="5332898"/>
              <a:ext cx="6742768" cy="0"/>
            </a:xfrm>
            <a:prstGeom prst="line">
              <a:avLst/>
            </a:prstGeom>
            <a:ln w="381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08B1714-ABCB-7481-212E-5DA79325234B}"/>
                </a:ext>
              </a:extLst>
            </p:cNvPr>
            <p:cNvSpPr/>
            <p:nvPr/>
          </p:nvSpPr>
          <p:spPr>
            <a:xfrm>
              <a:off x="1692718" y="5168635"/>
              <a:ext cx="373565" cy="114079"/>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PAN-R6</a:t>
              </a:r>
              <a:endParaRPr kumimoji="0" lang="en-GB" sz="7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cxnSp>
          <p:nvCxnSpPr>
            <p:cNvPr id="70" name="Straight Connector 69">
              <a:extLst>
                <a:ext uri="{FF2B5EF4-FFF2-40B4-BE49-F238E27FC236}">
                  <a16:creationId xmlns:a16="http://schemas.microsoft.com/office/drawing/2014/main" id="{5A2627AA-0AF2-F150-212D-D1E606262371}"/>
                </a:ext>
              </a:extLst>
            </p:cNvPr>
            <p:cNvCxnSpPr>
              <a:cxnSpLocks/>
            </p:cNvCxnSpPr>
            <p:nvPr/>
          </p:nvCxnSpPr>
          <p:spPr>
            <a:xfrm>
              <a:off x="1678971" y="4602195"/>
              <a:ext cx="6740005" cy="0"/>
            </a:xfrm>
            <a:prstGeom prst="line">
              <a:avLst/>
            </a:prstGeom>
            <a:ln w="381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D8DE74BD-61B5-C904-E5EC-4436E8ED2771}"/>
                </a:ext>
              </a:extLst>
            </p:cNvPr>
            <p:cNvSpPr txBox="1"/>
            <p:nvPr/>
          </p:nvSpPr>
          <p:spPr>
            <a:xfrm>
              <a:off x="561019" y="4482445"/>
              <a:ext cx="955704" cy="322707"/>
            </a:xfrm>
            <a:prstGeom prst="rect">
              <a:avLst/>
            </a:prstGeom>
            <a:solidFill>
              <a:schemeClr val="bg1"/>
            </a:solidFill>
            <a:ln w="6350">
              <a:solidFill>
                <a:schemeClr val="tx1"/>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Regional</a:t>
              </a:r>
              <a:endParaRPr kumimoji="0" lang="en-GB" sz="800" b="0" i="1"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endParaRPr>
            </a:p>
          </p:txBody>
        </p:sp>
        <p:sp>
          <p:nvSpPr>
            <p:cNvPr id="72" name="Rectangle 71">
              <a:extLst>
                <a:ext uri="{FF2B5EF4-FFF2-40B4-BE49-F238E27FC236}">
                  <a16:creationId xmlns:a16="http://schemas.microsoft.com/office/drawing/2014/main" id="{92A2EBF9-D6E2-17DF-664E-547DBCEB337A}"/>
                </a:ext>
              </a:extLst>
            </p:cNvPr>
            <p:cNvSpPr/>
            <p:nvPr/>
          </p:nvSpPr>
          <p:spPr>
            <a:xfrm>
              <a:off x="1692718" y="4023999"/>
              <a:ext cx="322066" cy="151437"/>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PAN</a:t>
              </a:r>
            </a:p>
          </p:txBody>
        </p:sp>
        <p:sp>
          <p:nvSpPr>
            <p:cNvPr id="73" name="Oval 72">
              <a:extLst>
                <a:ext uri="{FF2B5EF4-FFF2-40B4-BE49-F238E27FC236}">
                  <a16:creationId xmlns:a16="http://schemas.microsoft.com/office/drawing/2014/main" id="{6A8A1B82-EE5F-23D9-E34F-9523AA969E21}"/>
                </a:ext>
              </a:extLst>
            </p:cNvPr>
            <p:cNvSpPr/>
            <p:nvPr/>
          </p:nvSpPr>
          <p:spPr>
            <a:xfrm>
              <a:off x="2280816" y="6218441"/>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74" name="Rectangle 73">
              <a:extLst>
                <a:ext uri="{FF2B5EF4-FFF2-40B4-BE49-F238E27FC236}">
                  <a16:creationId xmlns:a16="http://schemas.microsoft.com/office/drawing/2014/main" id="{F875A0DA-3F65-9BF1-C4FF-EF29AFC28E96}"/>
                </a:ext>
              </a:extLst>
            </p:cNvPr>
            <p:cNvSpPr/>
            <p:nvPr/>
          </p:nvSpPr>
          <p:spPr>
            <a:xfrm>
              <a:off x="4783307" y="1457995"/>
              <a:ext cx="322066" cy="131967"/>
            </a:xfrm>
            <a:prstGeom prst="rect">
              <a:avLst/>
            </a:prstGeom>
            <a:solidFill>
              <a:srgbClr val="BFBFB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EE-ID</a:t>
              </a:r>
            </a:p>
          </p:txBody>
        </p:sp>
        <p:cxnSp>
          <p:nvCxnSpPr>
            <p:cNvPr id="75" name="Elbow Connector 383">
              <a:extLst>
                <a:ext uri="{FF2B5EF4-FFF2-40B4-BE49-F238E27FC236}">
                  <a16:creationId xmlns:a16="http://schemas.microsoft.com/office/drawing/2014/main" id="{7C444057-3EB7-4CB0-7875-EAD1A5FB0CC6}"/>
                </a:ext>
              </a:extLst>
            </p:cNvPr>
            <p:cNvCxnSpPr>
              <a:cxnSpLocks/>
              <a:endCxn id="74" idx="1"/>
            </p:cNvCxnSpPr>
            <p:nvPr/>
          </p:nvCxnSpPr>
          <p:spPr>
            <a:xfrm rot="5400000" flipH="1" flipV="1">
              <a:off x="4594215" y="1674242"/>
              <a:ext cx="339355" cy="38830"/>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06A5B627-ADE3-ABB3-EBE3-AA64BB976EF0}"/>
                </a:ext>
              </a:extLst>
            </p:cNvPr>
            <p:cNvSpPr/>
            <p:nvPr/>
          </p:nvSpPr>
          <p:spPr>
            <a:xfrm>
              <a:off x="3432556" y="5525273"/>
              <a:ext cx="462100" cy="109713"/>
            </a:xfrm>
            <a:prstGeom prst="rect">
              <a:avLst/>
            </a:prstGeom>
            <a:solidFill>
              <a:srgbClr val="0F218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EE-YR</a:t>
              </a:r>
              <a:endParaRPr kumimoji="0" lang="en-GB" sz="7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cxnSp>
          <p:nvCxnSpPr>
            <p:cNvPr id="77" name="Elbow Connector 403">
              <a:extLst>
                <a:ext uri="{FF2B5EF4-FFF2-40B4-BE49-F238E27FC236}">
                  <a16:creationId xmlns:a16="http://schemas.microsoft.com/office/drawing/2014/main" id="{01E1E9E7-78C2-78A3-43F1-8B94ACE24066}"/>
                </a:ext>
              </a:extLst>
            </p:cNvPr>
            <p:cNvCxnSpPr>
              <a:cxnSpLocks/>
              <a:stCxn id="32" idx="1"/>
            </p:cNvCxnSpPr>
            <p:nvPr/>
          </p:nvCxnSpPr>
          <p:spPr>
            <a:xfrm rot="10800000" flipV="1">
              <a:off x="7896977" y="1528011"/>
              <a:ext cx="63983" cy="343508"/>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43DCBB9E-9A13-B194-B93E-D6061725982D}"/>
                </a:ext>
              </a:extLst>
            </p:cNvPr>
            <p:cNvSpPr/>
            <p:nvPr/>
          </p:nvSpPr>
          <p:spPr>
            <a:xfrm>
              <a:off x="5409961" y="2686099"/>
              <a:ext cx="385681" cy="13503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WE-B</a:t>
              </a:r>
            </a:p>
          </p:txBody>
        </p:sp>
        <p:sp>
          <p:nvSpPr>
            <p:cNvPr id="84" name="Rectangle 83">
              <a:extLst>
                <a:ext uri="{FF2B5EF4-FFF2-40B4-BE49-F238E27FC236}">
                  <a16:creationId xmlns:a16="http://schemas.microsoft.com/office/drawing/2014/main" id="{8BF02B33-D777-FDA4-346C-6BFA2A109792}"/>
                </a:ext>
              </a:extLst>
            </p:cNvPr>
            <p:cNvSpPr/>
            <p:nvPr/>
          </p:nvSpPr>
          <p:spPr>
            <a:xfrm>
              <a:off x="6778422" y="1254293"/>
              <a:ext cx="342529" cy="24555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GRT-DA/ID</a:t>
              </a:r>
            </a:p>
          </p:txBody>
        </p:sp>
        <p:cxnSp>
          <p:nvCxnSpPr>
            <p:cNvPr id="85" name="Elbow Connector 27">
              <a:extLst>
                <a:ext uri="{FF2B5EF4-FFF2-40B4-BE49-F238E27FC236}">
                  <a16:creationId xmlns:a16="http://schemas.microsoft.com/office/drawing/2014/main" id="{BD86FEDA-8BAF-BFA9-E543-9EB7AA434C55}"/>
                </a:ext>
              </a:extLst>
            </p:cNvPr>
            <p:cNvCxnSpPr>
              <a:cxnSpLocks/>
              <a:stCxn id="88" idx="3"/>
              <a:endCxn id="73" idx="0"/>
            </p:cNvCxnSpPr>
            <p:nvPr/>
          </p:nvCxnSpPr>
          <p:spPr>
            <a:xfrm>
              <a:off x="2258458" y="5977976"/>
              <a:ext cx="45218" cy="240465"/>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6DCBD9B5-5AAC-0FEE-EE27-AFFB28DF164F}"/>
                </a:ext>
              </a:extLst>
            </p:cNvPr>
            <p:cNvSpPr/>
            <p:nvPr/>
          </p:nvSpPr>
          <p:spPr>
            <a:xfrm>
              <a:off x="2385534" y="6221078"/>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88" name="Rectangle 87">
              <a:extLst>
                <a:ext uri="{FF2B5EF4-FFF2-40B4-BE49-F238E27FC236}">
                  <a16:creationId xmlns:a16="http://schemas.microsoft.com/office/drawing/2014/main" id="{B254E2AC-54F8-15C8-0705-63E70FCE17B8}"/>
                </a:ext>
              </a:extLst>
            </p:cNvPr>
            <p:cNvSpPr/>
            <p:nvPr/>
          </p:nvSpPr>
          <p:spPr>
            <a:xfrm>
              <a:off x="1861365" y="5920200"/>
              <a:ext cx="397093" cy="11555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GRT-YR</a:t>
              </a:r>
            </a:p>
          </p:txBody>
        </p:sp>
        <p:sp>
          <p:nvSpPr>
            <p:cNvPr id="89" name="Oval 88">
              <a:extLst>
                <a:ext uri="{FF2B5EF4-FFF2-40B4-BE49-F238E27FC236}">
                  <a16:creationId xmlns:a16="http://schemas.microsoft.com/office/drawing/2014/main" id="{24949B32-376A-154C-0AD2-760E02C72C8F}"/>
                </a:ext>
              </a:extLst>
            </p:cNvPr>
            <p:cNvSpPr/>
            <p:nvPr/>
          </p:nvSpPr>
          <p:spPr>
            <a:xfrm>
              <a:off x="1658063" y="3184475"/>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90" name="Rectangle 89">
              <a:extLst>
                <a:ext uri="{FF2B5EF4-FFF2-40B4-BE49-F238E27FC236}">
                  <a16:creationId xmlns:a16="http://schemas.microsoft.com/office/drawing/2014/main" id="{79A05CF0-4505-7599-6942-A75C741E0042}"/>
                </a:ext>
              </a:extLst>
            </p:cNvPr>
            <p:cNvSpPr/>
            <p:nvPr/>
          </p:nvSpPr>
          <p:spPr>
            <a:xfrm>
              <a:off x="1205507" y="1312893"/>
              <a:ext cx="395132" cy="13196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NOR-DA</a:t>
              </a:r>
            </a:p>
          </p:txBody>
        </p:sp>
        <p:cxnSp>
          <p:nvCxnSpPr>
            <p:cNvPr id="91" name="Elbow Connector 299">
              <a:extLst>
                <a:ext uri="{FF2B5EF4-FFF2-40B4-BE49-F238E27FC236}">
                  <a16:creationId xmlns:a16="http://schemas.microsoft.com/office/drawing/2014/main" id="{3C58C70D-8336-2F69-DD54-8A0CB336D59E}"/>
                </a:ext>
              </a:extLst>
            </p:cNvPr>
            <p:cNvCxnSpPr>
              <a:cxnSpLocks/>
            </p:cNvCxnSpPr>
            <p:nvPr/>
          </p:nvCxnSpPr>
          <p:spPr>
            <a:xfrm rot="16200000" flipV="1">
              <a:off x="1397132" y="1569685"/>
              <a:ext cx="472648" cy="91029"/>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8B269F84-9F24-4451-230A-17EF43496F52}"/>
                </a:ext>
              </a:extLst>
            </p:cNvPr>
            <p:cNvSpPr/>
            <p:nvPr/>
          </p:nvSpPr>
          <p:spPr>
            <a:xfrm>
              <a:off x="1657118" y="1844700"/>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cxnSp>
          <p:nvCxnSpPr>
            <p:cNvPr id="93" name="Connector: Elbow 92">
              <a:extLst>
                <a:ext uri="{FF2B5EF4-FFF2-40B4-BE49-F238E27FC236}">
                  <a16:creationId xmlns:a16="http://schemas.microsoft.com/office/drawing/2014/main" id="{C6AADEC9-0C9A-0422-1C51-E6673A298A87}"/>
                </a:ext>
              </a:extLst>
            </p:cNvPr>
            <p:cNvCxnSpPr>
              <a:cxnSpLocks/>
              <a:stCxn id="100" idx="1"/>
            </p:cNvCxnSpPr>
            <p:nvPr/>
          </p:nvCxnSpPr>
          <p:spPr>
            <a:xfrm rot="10800000" flipV="1">
              <a:off x="8391356" y="3021359"/>
              <a:ext cx="69635" cy="196681"/>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AE7564C5-BF6D-2445-ECE7-70BC558F3E7A}"/>
                </a:ext>
              </a:extLst>
            </p:cNvPr>
            <p:cNvCxnSpPr>
              <a:cxnSpLocks/>
              <a:stCxn id="61" idx="3"/>
            </p:cNvCxnSpPr>
            <p:nvPr/>
          </p:nvCxnSpPr>
          <p:spPr>
            <a:xfrm>
              <a:off x="1639997" y="3001380"/>
              <a:ext cx="37138" cy="193253"/>
            </a:xfrm>
            <a:prstGeom prst="bentConnector2">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BE66B5E3-4C45-2B3B-BBCD-080CF04CCA55}"/>
                </a:ext>
              </a:extLst>
            </p:cNvPr>
            <p:cNvSpPr/>
            <p:nvPr/>
          </p:nvSpPr>
          <p:spPr>
            <a:xfrm>
              <a:off x="6496941" y="2921830"/>
              <a:ext cx="487768" cy="142156"/>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a:t>
              </a:r>
              <a:r>
                <a:rPr kumimoji="0" lang="en-GB" sz="800" b="1" i="0" u="none" strike="noStrike" kern="1200" cap="none" spc="0" normalizeH="0" baseline="0" noProof="0" err="1">
                  <a:ln>
                    <a:noFill/>
                  </a:ln>
                  <a:solidFill>
                    <a:srgbClr val="3A3A3F"/>
                  </a:solidFill>
                  <a:effectLst/>
                  <a:uLnTx/>
                  <a:uFillTx/>
                  <a:latin typeface="Arial Narrow" panose="020B0604020202020204" pitchFamily="34" charset="0"/>
                  <a:ea typeface="+mn-ea"/>
                  <a:cs typeface="Arial Narrow" panose="020B0604020202020204" pitchFamily="34" charset="0"/>
                </a:rPr>
                <a:t>IDCCe</a:t>
              </a:r>
              <a:endPar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endParaRPr>
            </a:p>
          </p:txBody>
        </p:sp>
        <p:sp>
          <p:nvSpPr>
            <p:cNvPr id="96" name="Rectangle 95">
              <a:extLst>
                <a:ext uri="{FF2B5EF4-FFF2-40B4-BE49-F238E27FC236}">
                  <a16:creationId xmlns:a16="http://schemas.microsoft.com/office/drawing/2014/main" id="{1A415DB6-516C-A2A4-213C-4789E7C1EFCA}"/>
                </a:ext>
              </a:extLst>
            </p:cNvPr>
            <p:cNvSpPr/>
            <p:nvPr/>
          </p:nvSpPr>
          <p:spPr>
            <a:xfrm>
              <a:off x="5012125" y="1268047"/>
              <a:ext cx="352988" cy="13954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NOR-ID*</a:t>
              </a:r>
              <a:endParaRPr kumimoji="0" lang="en-GB" sz="9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endParaRPr>
            </a:p>
          </p:txBody>
        </p:sp>
        <p:cxnSp>
          <p:nvCxnSpPr>
            <p:cNvPr id="97" name="Elbow Connector 299">
              <a:extLst>
                <a:ext uri="{FF2B5EF4-FFF2-40B4-BE49-F238E27FC236}">
                  <a16:creationId xmlns:a16="http://schemas.microsoft.com/office/drawing/2014/main" id="{1D40DCFE-C271-AF32-3BEA-F02693E2B8B6}"/>
                </a:ext>
              </a:extLst>
            </p:cNvPr>
            <p:cNvCxnSpPr>
              <a:cxnSpLocks/>
              <a:stCxn id="122" idx="0"/>
              <a:endCxn id="98" idx="3"/>
            </p:cNvCxnSpPr>
            <p:nvPr/>
          </p:nvCxnSpPr>
          <p:spPr>
            <a:xfrm rot="16200000" flipV="1">
              <a:off x="5628143" y="1582707"/>
              <a:ext cx="423430" cy="7082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C93D7C25-3D5C-6EFD-5D2E-11F27A53CBF3}"/>
                </a:ext>
              </a:extLst>
            </p:cNvPr>
            <p:cNvSpPr/>
            <p:nvPr/>
          </p:nvSpPr>
          <p:spPr>
            <a:xfrm>
              <a:off x="5442394" y="1330863"/>
              <a:ext cx="362052" cy="15108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DA</a:t>
              </a:r>
              <a:endParaRPr kumimoji="0" lang="en-GB" sz="7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endParaRPr>
            </a:p>
          </p:txBody>
        </p:sp>
        <p:sp>
          <p:nvSpPr>
            <p:cNvPr id="100" name="Rectangle 99">
              <a:extLst>
                <a:ext uri="{FF2B5EF4-FFF2-40B4-BE49-F238E27FC236}">
                  <a16:creationId xmlns:a16="http://schemas.microsoft.com/office/drawing/2014/main" id="{74488BC3-6554-86B3-00DC-13C9926CF683}"/>
                </a:ext>
              </a:extLst>
            </p:cNvPr>
            <p:cNvSpPr/>
            <p:nvPr/>
          </p:nvSpPr>
          <p:spPr>
            <a:xfrm>
              <a:off x="8460991" y="2910427"/>
              <a:ext cx="439832" cy="22186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HAN-DA/ID</a:t>
              </a:r>
            </a:p>
          </p:txBody>
        </p:sp>
        <p:cxnSp>
          <p:nvCxnSpPr>
            <p:cNvPr id="103" name="Elbow Connector 96">
              <a:extLst>
                <a:ext uri="{FF2B5EF4-FFF2-40B4-BE49-F238E27FC236}">
                  <a16:creationId xmlns:a16="http://schemas.microsoft.com/office/drawing/2014/main" id="{6384DE48-1AFF-BF49-97AF-6A62D666B6B9}"/>
                </a:ext>
              </a:extLst>
            </p:cNvPr>
            <p:cNvCxnSpPr>
              <a:cxnSpLocks/>
            </p:cNvCxnSpPr>
            <p:nvPr/>
          </p:nvCxnSpPr>
          <p:spPr>
            <a:xfrm rot="16200000" flipV="1">
              <a:off x="3325339" y="2971871"/>
              <a:ext cx="414276" cy="14779"/>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Elbow Connector 299">
              <a:extLst>
                <a:ext uri="{FF2B5EF4-FFF2-40B4-BE49-F238E27FC236}">
                  <a16:creationId xmlns:a16="http://schemas.microsoft.com/office/drawing/2014/main" id="{57C4B928-9D02-6750-9B6D-0859D122E61A}"/>
                </a:ext>
              </a:extLst>
            </p:cNvPr>
            <p:cNvCxnSpPr>
              <a:cxnSpLocks/>
              <a:endCxn id="96" idx="1"/>
            </p:cNvCxnSpPr>
            <p:nvPr/>
          </p:nvCxnSpPr>
          <p:spPr>
            <a:xfrm rot="5400000" flipH="1" flipV="1">
              <a:off x="4708025" y="1566832"/>
              <a:ext cx="533110" cy="75089"/>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92E774AE-606B-D457-F0EE-FC0C8984D44D}"/>
                </a:ext>
              </a:extLst>
            </p:cNvPr>
            <p:cNvSpPr/>
            <p:nvPr/>
          </p:nvSpPr>
          <p:spPr>
            <a:xfrm>
              <a:off x="1743500" y="6395241"/>
              <a:ext cx="397804" cy="131967"/>
            </a:xfrm>
            <a:prstGeom prst="rect">
              <a:avLst/>
            </a:prstGeom>
            <a:solidFill>
              <a:schemeClr val="accent6">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BAL- WK</a:t>
              </a:r>
            </a:p>
          </p:txBody>
        </p:sp>
        <p:cxnSp>
          <p:nvCxnSpPr>
            <p:cNvPr id="106" name="Elbow Connector 51">
              <a:extLst>
                <a:ext uri="{FF2B5EF4-FFF2-40B4-BE49-F238E27FC236}">
                  <a16:creationId xmlns:a16="http://schemas.microsoft.com/office/drawing/2014/main" id="{B08CC78A-A76C-FB07-D886-83277966624D}"/>
                </a:ext>
              </a:extLst>
            </p:cNvPr>
            <p:cNvCxnSpPr>
              <a:cxnSpLocks/>
              <a:endCxn id="105" idx="1"/>
            </p:cNvCxnSpPr>
            <p:nvPr/>
          </p:nvCxnSpPr>
          <p:spPr>
            <a:xfrm rot="16200000" flipH="1">
              <a:off x="1596439" y="6314164"/>
              <a:ext cx="227870" cy="66252"/>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07C6D410-BDCD-6640-9E7C-AFE364319C8D}"/>
                </a:ext>
              </a:extLst>
            </p:cNvPr>
            <p:cNvSpPr/>
            <p:nvPr/>
          </p:nvSpPr>
          <p:spPr>
            <a:xfrm>
              <a:off x="1654894" y="6200285"/>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08" name="Oval 107">
              <a:extLst>
                <a:ext uri="{FF2B5EF4-FFF2-40B4-BE49-F238E27FC236}">
                  <a16:creationId xmlns:a16="http://schemas.microsoft.com/office/drawing/2014/main" id="{DF9CCAF3-A3DD-FF92-23FE-7D1CB367A426}"/>
                </a:ext>
              </a:extLst>
            </p:cNvPr>
            <p:cNvSpPr/>
            <p:nvPr/>
          </p:nvSpPr>
          <p:spPr>
            <a:xfrm>
              <a:off x="1895424" y="3184853"/>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cxnSp>
          <p:nvCxnSpPr>
            <p:cNvPr id="109" name="Elbow Connector 165">
              <a:extLst>
                <a:ext uri="{FF2B5EF4-FFF2-40B4-BE49-F238E27FC236}">
                  <a16:creationId xmlns:a16="http://schemas.microsoft.com/office/drawing/2014/main" id="{945BFE9B-2945-CC9C-CB57-B7788E4470DD}"/>
                </a:ext>
              </a:extLst>
            </p:cNvPr>
            <p:cNvCxnSpPr>
              <a:cxnSpLocks/>
              <a:endCxn id="63" idx="1"/>
            </p:cNvCxnSpPr>
            <p:nvPr/>
          </p:nvCxnSpPr>
          <p:spPr>
            <a:xfrm rot="5400000" flipH="1" flipV="1">
              <a:off x="4006689" y="1623796"/>
              <a:ext cx="370866" cy="70431"/>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Elbow Connector 120">
              <a:extLst>
                <a:ext uri="{FF2B5EF4-FFF2-40B4-BE49-F238E27FC236}">
                  <a16:creationId xmlns:a16="http://schemas.microsoft.com/office/drawing/2014/main" id="{AC55239F-5B21-7E22-5259-B81930E2EF6A}"/>
                </a:ext>
              </a:extLst>
            </p:cNvPr>
            <p:cNvCxnSpPr>
              <a:cxnSpLocks/>
              <a:endCxn id="34" idx="1"/>
            </p:cNvCxnSpPr>
            <p:nvPr/>
          </p:nvCxnSpPr>
          <p:spPr>
            <a:xfrm rot="5400000" flipH="1" flipV="1">
              <a:off x="2584709" y="1557843"/>
              <a:ext cx="542966" cy="45444"/>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Elbow Connector 120">
              <a:extLst>
                <a:ext uri="{FF2B5EF4-FFF2-40B4-BE49-F238E27FC236}">
                  <a16:creationId xmlns:a16="http://schemas.microsoft.com/office/drawing/2014/main" id="{3A0CBC54-913A-801C-F31C-D158CC2F63C1}"/>
                </a:ext>
              </a:extLst>
            </p:cNvPr>
            <p:cNvCxnSpPr>
              <a:cxnSpLocks/>
              <a:endCxn id="84" idx="1"/>
            </p:cNvCxnSpPr>
            <p:nvPr/>
          </p:nvCxnSpPr>
          <p:spPr>
            <a:xfrm rot="5400000" flipH="1" flipV="1">
              <a:off x="6494481" y="1604343"/>
              <a:ext cx="511211" cy="5667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F2ED0C84-3C8E-C8EA-9B54-C8D4568053E7}"/>
                </a:ext>
              </a:extLst>
            </p:cNvPr>
            <p:cNvSpPr/>
            <p:nvPr/>
          </p:nvSpPr>
          <p:spPr>
            <a:xfrm>
              <a:off x="2676600" y="1840211"/>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13" name="Oval 112">
              <a:extLst>
                <a:ext uri="{FF2B5EF4-FFF2-40B4-BE49-F238E27FC236}">
                  <a16:creationId xmlns:a16="http://schemas.microsoft.com/office/drawing/2014/main" id="{802AA6DA-1568-0327-0BFA-48EE3D1D5F5C}"/>
                </a:ext>
              </a:extLst>
            </p:cNvPr>
            <p:cNvSpPr/>
            <p:nvPr/>
          </p:nvSpPr>
          <p:spPr>
            <a:xfrm>
              <a:off x="4717374" y="1840288"/>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14" name="Oval 113">
              <a:extLst>
                <a:ext uri="{FF2B5EF4-FFF2-40B4-BE49-F238E27FC236}">
                  <a16:creationId xmlns:a16="http://schemas.microsoft.com/office/drawing/2014/main" id="{552C62A8-EF5E-C008-E47F-6C1D227B01F4}"/>
                </a:ext>
              </a:extLst>
            </p:cNvPr>
            <p:cNvSpPr/>
            <p:nvPr/>
          </p:nvSpPr>
          <p:spPr>
            <a:xfrm>
              <a:off x="3518653" y="3187840"/>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cxnSp>
          <p:nvCxnSpPr>
            <p:cNvPr id="115" name="Elbow Connector 118">
              <a:extLst>
                <a:ext uri="{FF2B5EF4-FFF2-40B4-BE49-F238E27FC236}">
                  <a16:creationId xmlns:a16="http://schemas.microsoft.com/office/drawing/2014/main" id="{5025AABE-39F2-41FE-7DF6-719916906DEE}"/>
                </a:ext>
              </a:extLst>
            </p:cNvPr>
            <p:cNvCxnSpPr>
              <a:cxnSpLocks/>
              <a:stCxn id="116" idx="0"/>
              <a:endCxn id="76" idx="1"/>
            </p:cNvCxnSpPr>
            <p:nvPr/>
          </p:nvCxnSpPr>
          <p:spPr>
            <a:xfrm rot="5400000" flipH="1" flipV="1">
              <a:off x="3098803" y="5851780"/>
              <a:ext cx="605402" cy="6210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D89281F8-EA94-C89E-0E26-221E2D5CCC83}"/>
                </a:ext>
              </a:extLst>
            </p:cNvPr>
            <p:cNvSpPr/>
            <p:nvPr/>
          </p:nvSpPr>
          <p:spPr>
            <a:xfrm>
              <a:off x="3347593" y="6185532"/>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cxnSp>
          <p:nvCxnSpPr>
            <p:cNvPr id="117" name="Elbow Connector 118">
              <a:extLst>
                <a:ext uri="{FF2B5EF4-FFF2-40B4-BE49-F238E27FC236}">
                  <a16:creationId xmlns:a16="http://schemas.microsoft.com/office/drawing/2014/main" id="{E0919F5C-1B2A-F2A0-5FD2-9F8086AA2EB8}"/>
                </a:ext>
              </a:extLst>
            </p:cNvPr>
            <p:cNvCxnSpPr>
              <a:cxnSpLocks/>
              <a:stCxn id="116" idx="0"/>
              <a:endCxn id="62" idx="1"/>
            </p:cNvCxnSpPr>
            <p:nvPr/>
          </p:nvCxnSpPr>
          <p:spPr>
            <a:xfrm rot="5400000" flipH="1" flipV="1">
              <a:off x="3033658" y="5790673"/>
              <a:ext cx="731655" cy="58065"/>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1D55A4D6-65D2-041B-F13D-A3A6CCFCE9A4}"/>
                </a:ext>
              </a:extLst>
            </p:cNvPr>
            <p:cNvCxnSpPr>
              <a:cxnSpLocks/>
              <a:stCxn id="65" idx="3"/>
            </p:cNvCxnSpPr>
            <p:nvPr/>
          </p:nvCxnSpPr>
          <p:spPr>
            <a:xfrm>
              <a:off x="3793300" y="2590154"/>
              <a:ext cx="66252" cy="597298"/>
            </a:xfrm>
            <a:prstGeom prst="bentConnector2">
              <a:avLst/>
            </a:prstGeom>
            <a:ln/>
          </p:spPr>
          <p:style>
            <a:lnRef idx="1">
              <a:schemeClr val="dk1"/>
            </a:lnRef>
            <a:fillRef idx="0">
              <a:schemeClr val="dk1"/>
            </a:fillRef>
            <a:effectRef idx="0">
              <a:schemeClr val="dk1"/>
            </a:effectRef>
            <a:fontRef idx="minor">
              <a:schemeClr val="tx1"/>
            </a:fontRef>
          </p:style>
        </p:cxnSp>
        <p:cxnSp>
          <p:nvCxnSpPr>
            <p:cNvPr id="119" name="Elbow Connector 25">
              <a:extLst>
                <a:ext uri="{FF2B5EF4-FFF2-40B4-BE49-F238E27FC236}">
                  <a16:creationId xmlns:a16="http://schemas.microsoft.com/office/drawing/2014/main" id="{67FED671-464C-28FD-A8FE-F6A33A482B4E}"/>
                </a:ext>
              </a:extLst>
            </p:cNvPr>
            <p:cNvCxnSpPr>
              <a:cxnSpLocks/>
            </p:cNvCxnSpPr>
            <p:nvPr/>
          </p:nvCxnSpPr>
          <p:spPr>
            <a:xfrm>
              <a:off x="5269337" y="2906892"/>
              <a:ext cx="56940" cy="313775"/>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2575E4BF-318C-2221-E77C-E5A530875FEF}"/>
                </a:ext>
              </a:extLst>
            </p:cNvPr>
            <p:cNvSpPr/>
            <p:nvPr/>
          </p:nvSpPr>
          <p:spPr>
            <a:xfrm>
              <a:off x="5302738" y="3195737"/>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cxnSp>
          <p:nvCxnSpPr>
            <p:cNvPr id="121" name="Elbow Connector 299">
              <a:extLst>
                <a:ext uri="{FF2B5EF4-FFF2-40B4-BE49-F238E27FC236}">
                  <a16:creationId xmlns:a16="http://schemas.microsoft.com/office/drawing/2014/main" id="{A99E6905-2F62-D1E0-0E95-CB7764D50953}"/>
                </a:ext>
              </a:extLst>
            </p:cNvPr>
            <p:cNvCxnSpPr>
              <a:cxnSpLocks/>
            </p:cNvCxnSpPr>
            <p:nvPr/>
          </p:nvCxnSpPr>
          <p:spPr>
            <a:xfrm rot="5400000" flipH="1" flipV="1">
              <a:off x="6634412" y="1702249"/>
              <a:ext cx="244334" cy="65341"/>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Oval 121">
              <a:extLst>
                <a:ext uri="{FF2B5EF4-FFF2-40B4-BE49-F238E27FC236}">
                  <a16:creationId xmlns:a16="http://schemas.microsoft.com/office/drawing/2014/main" id="{0D3C5CC4-5D67-7C32-6D60-EB3FEB729E88}"/>
                </a:ext>
              </a:extLst>
            </p:cNvPr>
            <p:cNvSpPr/>
            <p:nvPr/>
          </p:nvSpPr>
          <p:spPr>
            <a:xfrm>
              <a:off x="5852410" y="1829834"/>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23" name="Oval 122">
              <a:extLst>
                <a:ext uri="{FF2B5EF4-FFF2-40B4-BE49-F238E27FC236}">
                  <a16:creationId xmlns:a16="http://schemas.microsoft.com/office/drawing/2014/main" id="{AD14A535-EE2B-4036-2227-C8E71746AEBB}"/>
                </a:ext>
              </a:extLst>
            </p:cNvPr>
            <p:cNvSpPr/>
            <p:nvPr/>
          </p:nvSpPr>
          <p:spPr>
            <a:xfrm>
              <a:off x="6702566" y="1843852"/>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25" name="Rectangle 124">
              <a:extLst>
                <a:ext uri="{FF2B5EF4-FFF2-40B4-BE49-F238E27FC236}">
                  <a16:creationId xmlns:a16="http://schemas.microsoft.com/office/drawing/2014/main" id="{749A247F-1F1F-1109-AD58-E8177E47CEA9}"/>
                </a:ext>
              </a:extLst>
            </p:cNvPr>
            <p:cNvSpPr/>
            <p:nvPr/>
          </p:nvSpPr>
          <p:spPr>
            <a:xfrm>
              <a:off x="8473595" y="2510014"/>
              <a:ext cx="417625" cy="120786"/>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2030+</a:t>
              </a:r>
            </a:p>
          </p:txBody>
        </p:sp>
        <p:sp>
          <p:nvSpPr>
            <p:cNvPr id="126" name="Oval 125">
              <a:extLst>
                <a:ext uri="{FF2B5EF4-FFF2-40B4-BE49-F238E27FC236}">
                  <a16:creationId xmlns:a16="http://schemas.microsoft.com/office/drawing/2014/main" id="{CBA5D6B9-CC84-D0B9-3D20-04D2B622376B}"/>
                </a:ext>
              </a:extLst>
            </p:cNvPr>
            <p:cNvSpPr/>
            <p:nvPr/>
          </p:nvSpPr>
          <p:spPr>
            <a:xfrm>
              <a:off x="5884901" y="3193604"/>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27" name="Oval 126">
              <a:extLst>
                <a:ext uri="{FF2B5EF4-FFF2-40B4-BE49-F238E27FC236}">
                  <a16:creationId xmlns:a16="http://schemas.microsoft.com/office/drawing/2014/main" id="{534FABA6-953D-6F55-860E-7A9A9E485D6A}"/>
                </a:ext>
              </a:extLst>
            </p:cNvPr>
            <p:cNvSpPr/>
            <p:nvPr/>
          </p:nvSpPr>
          <p:spPr>
            <a:xfrm>
              <a:off x="6975560" y="3183707"/>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28" name="Oval 127">
              <a:extLst>
                <a:ext uri="{FF2B5EF4-FFF2-40B4-BE49-F238E27FC236}">
                  <a16:creationId xmlns:a16="http://schemas.microsoft.com/office/drawing/2014/main" id="{CC6C739C-AE67-9560-D59E-BCD142CA99BA}"/>
                </a:ext>
              </a:extLst>
            </p:cNvPr>
            <p:cNvSpPr/>
            <p:nvPr/>
          </p:nvSpPr>
          <p:spPr>
            <a:xfrm>
              <a:off x="6663137" y="3181452"/>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cxnSp>
          <p:nvCxnSpPr>
            <p:cNvPr id="129" name="Conector: angular 22">
              <a:extLst>
                <a:ext uri="{FF2B5EF4-FFF2-40B4-BE49-F238E27FC236}">
                  <a16:creationId xmlns:a16="http://schemas.microsoft.com/office/drawing/2014/main" id="{1DE93AA0-E33B-B52E-0F82-2C18D0F22868}"/>
                </a:ext>
              </a:extLst>
            </p:cNvPr>
            <p:cNvCxnSpPr>
              <a:cxnSpLocks/>
            </p:cNvCxnSpPr>
            <p:nvPr/>
          </p:nvCxnSpPr>
          <p:spPr>
            <a:xfrm>
              <a:off x="5786038" y="2753357"/>
              <a:ext cx="121881" cy="429936"/>
            </a:xfrm>
            <a:prstGeom prst="bentConnector2">
              <a:avLst/>
            </a:prstGeom>
          </p:spPr>
          <p:style>
            <a:lnRef idx="1">
              <a:schemeClr val="dk1"/>
            </a:lnRef>
            <a:fillRef idx="0">
              <a:schemeClr val="dk1"/>
            </a:fillRef>
            <a:effectRef idx="0">
              <a:schemeClr val="dk1"/>
            </a:effectRef>
            <a:fontRef idx="minor">
              <a:schemeClr val="tx1"/>
            </a:fontRef>
          </p:style>
        </p:cxnSp>
        <p:sp>
          <p:nvSpPr>
            <p:cNvPr id="130" name="Oval 129">
              <a:extLst>
                <a:ext uri="{FF2B5EF4-FFF2-40B4-BE49-F238E27FC236}">
                  <a16:creationId xmlns:a16="http://schemas.microsoft.com/office/drawing/2014/main" id="{F2699611-812E-5ED4-66E4-0EF378F01A34}"/>
                </a:ext>
              </a:extLst>
            </p:cNvPr>
            <p:cNvSpPr/>
            <p:nvPr/>
          </p:nvSpPr>
          <p:spPr>
            <a:xfrm>
              <a:off x="4134048" y="1838598"/>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31" name="Rectangle 130">
              <a:extLst>
                <a:ext uri="{FF2B5EF4-FFF2-40B4-BE49-F238E27FC236}">
                  <a16:creationId xmlns:a16="http://schemas.microsoft.com/office/drawing/2014/main" id="{B3F03688-A550-DE06-C049-73884CCFE881}"/>
                </a:ext>
              </a:extLst>
            </p:cNvPr>
            <p:cNvSpPr/>
            <p:nvPr/>
          </p:nvSpPr>
          <p:spPr>
            <a:xfrm>
              <a:off x="8471459" y="2652704"/>
              <a:ext cx="419761" cy="240947"/>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L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BT</a:t>
              </a:r>
            </a:p>
          </p:txBody>
        </p:sp>
        <p:sp>
          <p:nvSpPr>
            <p:cNvPr id="133" name="Rectangle 132">
              <a:extLst>
                <a:ext uri="{FF2B5EF4-FFF2-40B4-BE49-F238E27FC236}">
                  <a16:creationId xmlns:a16="http://schemas.microsoft.com/office/drawing/2014/main" id="{A37832D3-E701-CC47-2A6E-4EFC16EA0FBE}"/>
                </a:ext>
              </a:extLst>
            </p:cNvPr>
            <p:cNvSpPr/>
            <p:nvPr/>
          </p:nvSpPr>
          <p:spPr>
            <a:xfrm>
              <a:off x="7686535" y="2737583"/>
              <a:ext cx="410641" cy="15027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DA</a:t>
              </a:r>
            </a:p>
          </p:txBody>
        </p:sp>
        <p:cxnSp>
          <p:nvCxnSpPr>
            <p:cNvPr id="134" name="Elbow Connector 383">
              <a:extLst>
                <a:ext uri="{FF2B5EF4-FFF2-40B4-BE49-F238E27FC236}">
                  <a16:creationId xmlns:a16="http://schemas.microsoft.com/office/drawing/2014/main" id="{CE903BE7-4661-01F2-EECA-0059CD152B62}"/>
                </a:ext>
              </a:extLst>
            </p:cNvPr>
            <p:cNvCxnSpPr>
              <a:cxnSpLocks/>
              <a:stCxn id="135" idx="0"/>
              <a:endCxn id="133" idx="3"/>
            </p:cNvCxnSpPr>
            <p:nvPr/>
          </p:nvCxnSpPr>
          <p:spPr>
            <a:xfrm rot="16200000" flipV="1">
              <a:off x="7947140" y="2962755"/>
              <a:ext cx="370060" cy="69988"/>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135" name="Oval 134">
              <a:extLst>
                <a:ext uri="{FF2B5EF4-FFF2-40B4-BE49-F238E27FC236}">
                  <a16:creationId xmlns:a16="http://schemas.microsoft.com/office/drawing/2014/main" id="{3492A40E-F609-E523-432A-EB42E21C1DA5}"/>
                </a:ext>
              </a:extLst>
            </p:cNvPr>
            <p:cNvSpPr/>
            <p:nvPr/>
          </p:nvSpPr>
          <p:spPr>
            <a:xfrm>
              <a:off x="8144304" y="3182780"/>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36" name="Rectangle 135">
              <a:extLst>
                <a:ext uri="{FF2B5EF4-FFF2-40B4-BE49-F238E27FC236}">
                  <a16:creationId xmlns:a16="http://schemas.microsoft.com/office/drawing/2014/main" id="{FC85BB7C-0C4F-09EE-48A5-F13F3705E9D7}"/>
                </a:ext>
              </a:extLst>
            </p:cNvPr>
            <p:cNvSpPr/>
            <p:nvPr/>
          </p:nvSpPr>
          <p:spPr>
            <a:xfrm>
              <a:off x="1205507" y="1136366"/>
              <a:ext cx="395132" cy="13196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s.2024</a:t>
              </a:r>
            </a:p>
          </p:txBody>
        </p:sp>
        <p:sp>
          <p:nvSpPr>
            <p:cNvPr id="137" name="Rectangle 136">
              <a:extLst>
                <a:ext uri="{FF2B5EF4-FFF2-40B4-BE49-F238E27FC236}">
                  <a16:creationId xmlns:a16="http://schemas.microsoft.com/office/drawing/2014/main" id="{5189984A-CD9D-1E1A-9972-BA2CF346BE9F}"/>
                </a:ext>
              </a:extLst>
            </p:cNvPr>
            <p:cNvSpPr/>
            <p:nvPr/>
          </p:nvSpPr>
          <p:spPr>
            <a:xfrm>
              <a:off x="1244409" y="2774891"/>
              <a:ext cx="395132" cy="13196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s.2024</a:t>
              </a:r>
            </a:p>
          </p:txBody>
        </p:sp>
        <p:sp>
          <p:nvSpPr>
            <p:cNvPr id="139" name="Rectangle 138">
              <a:extLst>
                <a:ext uri="{FF2B5EF4-FFF2-40B4-BE49-F238E27FC236}">
                  <a16:creationId xmlns:a16="http://schemas.microsoft.com/office/drawing/2014/main" id="{67D2C777-1C07-B9E3-004D-FB8FB06AD6C3}"/>
                </a:ext>
              </a:extLst>
            </p:cNvPr>
            <p:cNvSpPr/>
            <p:nvPr/>
          </p:nvSpPr>
          <p:spPr>
            <a:xfrm>
              <a:off x="4925932" y="2845766"/>
              <a:ext cx="339300" cy="139392"/>
            </a:xfrm>
            <a:prstGeom prst="rect">
              <a:avLst/>
            </a:prstGeom>
            <a:solidFill>
              <a:schemeClr val="accent6">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BAL-B</a:t>
              </a:r>
            </a:p>
          </p:txBody>
        </p:sp>
        <p:sp>
          <p:nvSpPr>
            <p:cNvPr id="140" name="Rectangle 139">
              <a:extLst>
                <a:ext uri="{FF2B5EF4-FFF2-40B4-BE49-F238E27FC236}">
                  <a16:creationId xmlns:a16="http://schemas.microsoft.com/office/drawing/2014/main" id="{4FBA3404-4D4A-2639-652F-F1E606BA39A4}"/>
                </a:ext>
              </a:extLst>
            </p:cNvPr>
            <p:cNvSpPr/>
            <p:nvPr/>
          </p:nvSpPr>
          <p:spPr>
            <a:xfrm>
              <a:off x="1692718" y="3854264"/>
              <a:ext cx="322066" cy="151437"/>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2024</a:t>
              </a:r>
            </a:p>
          </p:txBody>
        </p:sp>
        <p:sp>
          <p:nvSpPr>
            <p:cNvPr id="141" name="Rectangle 140">
              <a:extLst>
                <a:ext uri="{FF2B5EF4-FFF2-40B4-BE49-F238E27FC236}">
                  <a16:creationId xmlns:a16="http://schemas.microsoft.com/office/drawing/2014/main" id="{BB39AB46-238F-1C56-59A6-34D5298B7A21}"/>
                </a:ext>
              </a:extLst>
            </p:cNvPr>
            <p:cNvSpPr/>
            <p:nvPr/>
          </p:nvSpPr>
          <p:spPr>
            <a:xfrm>
              <a:off x="1690288" y="4258018"/>
              <a:ext cx="322066" cy="151437"/>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2024</a:t>
              </a:r>
            </a:p>
          </p:txBody>
        </p:sp>
        <p:sp>
          <p:nvSpPr>
            <p:cNvPr id="142" name="Rectangle 141">
              <a:extLst>
                <a:ext uri="{FF2B5EF4-FFF2-40B4-BE49-F238E27FC236}">
                  <a16:creationId xmlns:a16="http://schemas.microsoft.com/office/drawing/2014/main" id="{73A6826F-6988-05DB-AF28-51FB66BF7021}"/>
                </a:ext>
              </a:extLst>
            </p:cNvPr>
            <p:cNvSpPr/>
            <p:nvPr/>
          </p:nvSpPr>
          <p:spPr>
            <a:xfrm>
              <a:off x="1696580" y="5036340"/>
              <a:ext cx="369703" cy="95216"/>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2024</a:t>
              </a:r>
            </a:p>
          </p:txBody>
        </p:sp>
        <p:cxnSp>
          <p:nvCxnSpPr>
            <p:cNvPr id="144" name="Elbow Connector 383">
              <a:extLst>
                <a:ext uri="{FF2B5EF4-FFF2-40B4-BE49-F238E27FC236}">
                  <a16:creationId xmlns:a16="http://schemas.microsoft.com/office/drawing/2014/main" id="{59BAB7C2-D4D5-1BC1-2D19-B11F962B10A9}"/>
                </a:ext>
              </a:extLst>
            </p:cNvPr>
            <p:cNvCxnSpPr>
              <a:cxnSpLocks/>
              <a:endCxn id="131" idx="1"/>
            </p:cNvCxnSpPr>
            <p:nvPr/>
          </p:nvCxnSpPr>
          <p:spPr>
            <a:xfrm rot="5400000" flipH="1" flipV="1">
              <a:off x="8217551" y="2942514"/>
              <a:ext cx="423245" cy="84572"/>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9AE47D5B-DADC-77B2-9EA9-29B15D91DB3B}"/>
                </a:ext>
              </a:extLst>
            </p:cNvPr>
            <p:cNvSpPr/>
            <p:nvPr/>
          </p:nvSpPr>
          <p:spPr>
            <a:xfrm>
              <a:off x="8377636" y="3189069"/>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46" name="Oval 145">
              <a:extLst>
                <a:ext uri="{FF2B5EF4-FFF2-40B4-BE49-F238E27FC236}">
                  <a16:creationId xmlns:a16="http://schemas.microsoft.com/office/drawing/2014/main" id="{3DC05B4E-EAEA-E272-6B7D-3A3E7380958A}"/>
                </a:ext>
              </a:extLst>
            </p:cNvPr>
            <p:cNvSpPr/>
            <p:nvPr/>
          </p:nvSpPr>
          <p:spPr>
            <a:xfrm>
              <a:off x="7873513" y="1851489"/>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47" name="Oval 146">
              <a:extLst>
                <a:ext uri="{FF2B5EF4-FFF2-40B4-BE49-F238E27FC236}">
                  <a16:creationId xmlns:a16="http://schemas.microsoft.com/office/drawing/2014/main" id="{46CCEA0C-CBAC-A9BC-3E11-4B7E82383FB3}"/>
                </a:ext>
              </a:extLst>
            </p:cNvPr>
            <p:cNvSpPr/>
            <p:nvPr/>
          </p:nvSpPr>
          <p:spPr>
            <a:xfrm>
              <a:off x="5443085" y="3193604"/>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57" name="Oval 56">
              <a:extLst>
                <a:ext uri="{FF2B5EF4-FFF2-40B4-BE49-F238E27FC236}">
                  <a16:creationId xmlns:a16="http://schemas.microsoft.com/office/drawing/2014/main" id="{61BB43B2-3463-3DD7-EE7E-0E1EE6C39249}"/>
                </a:ext>
              </a:extLst>
            </p:cNvPr>
            <p:cNvSpPr/>
            <p:nvPr/>
          </p:nvSpPr>
          <p:spPr>
            <a:xfrm>
              <a:off x="3836960" y="3181809"/>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01" name="Oval 100">
              <a:extLst>
                <a:ext uri="{FF2B5EF4-FFF2-40B4-BE49-F238E27FC236}">
                  <a16:creationId xmlns:a16="http://schemas.microsoft.com/office/drawing/2014/main" id="{2968BEC6-68D8-4271-A4D2-6CC1108851CE}"/>
                </a:ext>
              </a:extLst>
            </p:cNvPr>
            <p:cNvSpPr/>
            <p:nvPr/>
          </p:nvSpPr>
          <p:spPr>
            <a:xfrm>
              <a:off x="2807922" y="1841674"/>
              <a:ext cx="45719" cy="45719"/>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grpSp>
      <p:sp>
        <p:nvSpPr>
          <p:cNvPr id="149" name="Rectangle: Rounded Corners 8">
            <a:extLst>
              <a:ext uri="{FF2B5EF4-FFF2-40B4-BE49-F238E27FC236}">
                <a16:creationId xmlns:a16="http://schemas.microsoft.com/office/drawing/2014/main" id="{22AABB2C-218A-C3F3-9C9A-E8658328B6F7}"/>
              </a:ext>
            </a:extLst>
          </p:cNvPr>
          <p:cNvSpPr/>
          <p:nvPr/>
        </p:nvSpPr>
        <p:spPr>
          <a:xfrm>
            <a:off x="10655301" y="62570"/>
            <a:ext cx="1492102" cy="457861"/>
          </a:xfrm>
          <a:prstGeom prst="roundRect">
            <a:avLst/>
          </a:prstGeom>
          <a:solidFill>
            <a:srgbClr val="92D050"/>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a:ea typeface="Calibri"/>
                <a:cs typeface="Calibri"/>
              </a:rPr>
              <a:t>Last update February  2026</a:t>
            </a:r>
          </a:p>
        </p:txBody>
      </p:sp>
      <p:sp>
        <p:nvSpPr>
          <p:cNvPr id="5" name="Rectangle 4">
            <a:extLst>
              <a:ext uri="{FF2B5EF4-FFF2-40B4-BE49-F238E27FC236}">
                <a16:creationId xmlns:a16="http://schemas.microsoft.com/office/drawing/2014/main" id="{CFFBAE8D-A463-5956-332A-D3E2D07F72E6}"/>
              </a:ext>
            </a:extLst>
          </p:cNvPr>
          <p:cNvSpPr/>
          <p:nvPr/>
        </p:nvSpPr>
        <p:spPr>
          <a:xfrm>
            <a:off x="7476676" y="1609725"/>
            <a:ext cx="323277" cy="13894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E-Full</a:t>
            </a:r>
            <a:endParaRPr kumimoji="0" lang="en-GB" sz="7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endParaRPr>
          </a:p>
        </p:txBody>
      </p:sp>
      <p:cxnSp>
        <p:nvCxnSpPr>
          <p:cNvPr id="7" name="Elbow Connector 120">
            <a:extLst>
              <a:ext uri="{FF2B5EF4-FFF2-40B4-BE49-F238E27FC236}">
                <a16:creationId xmlns:a16="http://schemas.microsoft.com/office/drawing/2014/main" id="{03CCC708-FA1C-F624-F837-01A3FD5F3E77}"/>
              </a:ext>
            </a:extLst>
          </p:cNvPr>
          <p:cNvCxnSpPr>
            <a:cxnSpLocks/>
          </p:cNvCxnSpPr>
          <p:nvPr/>
        </p:nvCxnSpPr>
        <p:spPr>
          <a:xfrm rot="5400000" flipH="1" flipV="1">
            <a:off x="7250492" y="1812167"/>
            <a:ext cx="395667" cy="56701"/>
          </a:xfrm>
          <a:prstGeom prst="bentConnector3">
            <a:avLst>
              <a:gd name="adj1" fmla="val 9975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0A771CE-EAEA-4CE8-BF3F-E6359AA93522}"/>
              </a:ext>
            </a:extLst>
          </p:cNvPr>
          <p:cNvSpPr/>
          <p:nvPr/>
        </p:nvSpPr>
        <p:spPr>
          <a:xfrm>
            <a:off x="7960615" y="5768720"/>
            <a:ext cx="517853" cy="12114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WE-</a:t>
            </a:r>
            <a:r>
              <a:rPr kumimoji="0" lang="en-GB" sz="800" b="1" i="0" u="none" strike="noStrike" kern="1200" cap="none" spc="0" normalizeH="0" baseline="0" noProof="0" err="1">
                <a:ln>
                  <a:noFill/>
                </a:ln>
                <a:solidFill>
                  <a:srgbClr val="FFFFFF"/>
                </a:solidFill>
                <a:effectLst/>
                <a:uLnTx/>
                <a:uFillTx/>
                <a:latin typeface="Arial Narrow" panose="020B0604020202020204" pitchFamily="34" charset="0"/>
                <a:ea typeface="+mn-ea"/>
                <a:cs typeface="Arial Narrow" panose="020B0604020202020204" pitchFamily="34" charset="0"/>
              </a:rPr>
              <a:t>CorNet</a:t>
            </a:r>
            <a:endPar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3" name="Rectangle 32">
            <a:extLst>
              <a:ext uri="{FF2B5EF4-FFF2-40B4-BE49-F238E27FC236}">
                <a16:creationId xmlns:a16="http://schemas.microsoft.com/office/drawing/2014/main" id="{F3369837-DFA1-5963-F12D-093408A5F0CD}"/>
              </a:ext>
            </a:extLst>
          </p:cNvPr>
          <p:cNvSpPr/>
          <p:nvPr/>
        </p:nvSpPr>
        <p:spPr>
          <a:xfrm>
            <a:off x="7955618" y="5461211"/>
            <a:ext cx="517852" cy="130747"/>
          </a:xfrm>
          <a:prstGeom prst="rect">
            <a:avLst/>
          </a:prstGeom>
          <a:solidFill>
            <a:srgbClr val="F7A43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COR-</a:t>
            </a:r>
            <a:r>
              <a:rPr kumimoji="0" lang="en-GB" sz="800" b="1" i="0" u="none" strike="noStrike" kern="1200" cap="none" spc="0" normalizeH="0" baseline="0" noProof="0" err="1">
                <a:ln>
                  <a:noFill/>
                </a:ln>
                <a:solidFill>
                  <a:srgbClr val="3A3A3F"/>
                </a:solidFill>
                <a:effectLst/>
                <a:uLnTx/>
                <a:uFillTx/>
                <a:latin typeface="Arial Narrow" panose="020B0604020202020204" pitchFamily="34" charset="0"/>
                <a:ea typeface="+mn-ea"/>
                <a:cs typeface="Arial Narrow" panose="020B0604020202020204" pitchFamily="34" charset="0"/>
              </a:rPr>
              <a:t>CorNet</a:t>
            </a:r>
            <a:endPar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endParaRPr>
          </a:p>
        </p:txBody>
      </p:sp>
      <p:sp>
        <p:nvSpPr>
          <p:cNvPr id="45" name="Rectangle 44">
            <a:extLst>
              <a:ext uri="{FF2B5EF4-FFF2-40B4-BE49-F238E27FC236}">
                <a16:creationId xmlns:a16="http://schemas.microsoft.com/office/drawing/2014/main" id="{4D05E83A-2AA3-7C68-2FDC-37F4E58EE8B2}"/>
              </a:ext>
            </a:extLst>
          </p:cNvPr>
          <p:cNvSpPr/>
          <p:nvPr/>
        </p:nvSpPr>
        <p:spPr>
          <a:xfrm>
            <a:off x="7959272" y="5613611"/>
            <a:ext cx="517853" cy="121802"/>
          </a:xfrm>
          <a:prstGeom prst="rect">
            <a:avLst/>
          </a:prstGeom>
          <a:solidFill>
            <a:srgbClr val="96B7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rPr>
              <a:t>ITN-</a:t>
            </a:r>
            <a:r>
              <a:rPr kumimoji="0" lang="en-GB" sz="800" b="1" i="0" u="none" strike="noStrike" kern="1200" cap="none" spc="0" normalizeH="0" baseline="0" noProof="0" err="1">
                <a:ln>
                  <a:noFill/>
                </a:ln>
                <a:solidFill>
                  <a:srgbClr val="3A3A3F"/>
                </a:solidFill>
                <a:effectLst/>
                <a:uLnTx/>
                <a:uFillTx/>
                <a:latin typeface="Arial Narrow" panose="020B0604020202020204" pitchFamily="34" charset="0"/>
                <a:ea typeface="+mn-ea"/>
                <a:cs typeface="Arial Narrow" panose="020B0604020202020204" pitchFamily="34" charset="0"/>
              </a:rPr>
              <a:t>CorNet</a:t>
            </a:r>
            <a:endParaRPr kumimoji="0" lang="en-GB" sz="800" b="1" i="0" u="none" strike="noStrike" kern="1200" cap="none" spc="0" normalizeH="0" baseline="0" noProof="0">
              <a:ln>
                <a:noFill/>
              </a:ln>
              <a:solidFill>
                <a:srgbClr val="3A3A3F"/>
              </a:solidFill>
              <a:effectLst/>
              <a:uLnTx/>
              <a:uFillTx/>
              <a:latin typeface="Arial Narrow" panose="020B0604020202020204" pitchFamily="34" charset="0"/>
              <a:ea typeface="+mn-ea"/>
              <a:cs typeface="Arial Narrow" panose="020B0604020202020204" pitchFamily="34" charset="0"/>
            </a:endParaRPr>
          </a:p>
        </p:txBody>
      </p:sp>
      <p:cxnSp>
        <p:nvCxnSpPr>
          <p:cNvPr id="59" name="Elbow Connector 49">
            <a:extLst>
              <a:ext uri="{FF2B5EF4-FFF2-40B4-BE49-F238E27FC236}">
                <a16:creationId xmlns:a16="http://schemas.microsoft.com/office/drawing/2014/main" id="{890BD124-2BA9-B7FA-5D88-B46F8CC39152}"/>
              </a:ext>
            </a:extLst>
          </p:cNvPr>
          <p:cNvCxnSpPr>
            <a:cxnSpLocks/>
            <a:endCxn id="45" idx="3"/>
          </p:cNvCxnSpPr>
          <p:nvPr/>
        </p:nvCxnSpPr>
        <p:spPr>
          <a:xfrm rot="16200000" flipV="1">
            <a:off x="8296570" y="5855068"/>
            <a:ext cx="390819" cy="29707"/>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Elbow Connector 64">
            <a:extLst>
              <a:ext uri="{FF2B5EF4-FFF2-40B4-BE49-F238E27FC236}">
                <a16:creationId xmlns:a16="http://schemas.microsoft.com/office/drawing/2014/main" id="{43F43D64-68FA-17F8-8F95-B4101FE857A4}"/>
              </a:ext>
            </a:extLst>
          </p:cNvPr>
          <p:cNvCxnSpPr>
            <a:cxnSpLocks/>
            <a:endCxn id="16" idx="3"/>
          </p:cNvCxnSpPr>
          <p:nvPr/>
        </p:nvCxnSpPr>
        <p:spPr>
          <a:xfrm rot="16200000" flipV="1">
            <a:off x="8374631" y="5933131"/>
            <a:ext cx="236038" cy="28363"/>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8" name="Elbow Connector 49">
            <a:extLst>
              <a:ext uri="{FF2B5EF4-FFF2-40B4-BE49-F238E27FC236}">
                <a16:creationId xmlns:a16="http://schemas.microsoft.com/office/drawing/2014/main" id="{C68CDBDC-9C23-B476-A074-00A750B4E107}"/>
              </a:ext>
            </a:extLst>
          </p:cNvPr>
          <p:cNvCxnSpPr>
            <a:cxnSpLocks/>
            <a:endCxn id="33" idx="3"/>
          </p:cNvCxnSpPr>
          <p:nvPr/>
        </p:nvCxnSpPr>
        <p:spPr>
          <a:xfrm rot="16200000" flipV="1">
            <a:off x="8229385" y="5770671"/>
            <a:ext cx="521535" cy="33364"/>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22CF96AE-0D6C-BD0E-41D4-62BBFD0CE5A3}"/>
              </a:ext>
            </a:extLst>
          </p:cNvPr>
          <p:cNvSpPr/>
          <p:nvPr/>
        </p:nvSpPr>
        <p:spPr>
          <a:xfrm>
            <a:off x="8489124" y="6035741"/>
            <a:ext cx="45345" cy="41971"/>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
        <p:nvSpPr>
          <p:cNvPr id="157" name="Rectangle 156">
            <a:extLst>
              <a:ext uri="{FF2B5EF4-FFF2-40B4-BE49-F238E27FC236}">
                <a16:creationId xmlns:a16="http://schemas.microsoft.com/office/drawing/2014/main" id="{0A1A504A-2BB7-2B84-C73A-83D725799A70}"/>
              </a:ext>
            </a:extLst>
          </p:cNvPr>
          <p:cNvSpPr/>
          <p:nvPr/>
        </p:nvSpPr>
        <p:spPr>
          <a:xfrm>
            <a:off x="2470756" y="5080103"/>
            <a:ext cx="382511" cy="105730"/>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PAN-R10</a:t>
            </a:r>
          </a:p>
        </p:txBody>
      </p:sp>
      <p:sp>
        <p:nvSpPr>
          <p:cNvPr id="159" name="TextBox 158">
            <a:extLst>
              <a:ext uri="{FF2B5EF4-FFF2-40B4-BE49-F238E27FC236}">
                <a16:creationId xmlns:a16="http://schemas.microsoft.com/office/drawing/2014/main" id="{B75DEE85-8C7A-DAEC-302F-BAEC015AC723}"/>
              </a:ext>
            </a:extLst>
          </p:cNvPr>
          <p:cNvSpPr txBox="1"/>
          <p:nvPr/>
        </p:nvSpPr>
        <p:spPr>
          <a:xfrm>
            <a:off x="8758836" y="1134154"/>
            <a:ext cx="1773697" cy="1384995"/>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1200" b="0" i="0" u="sng" strike="noStrike" kern="1200" cap="none" spc="0" normalizeH="0" baseline="0" noProof="0">
                <a:ln>
                  <a:noFill/>
                </a:ln>
                <a:solidFill>
                  <a:srgbClr val="20188A"/>
                </a:solidFill>
                <a:effectLst/>
                <a:uLnTx/>
                <a:uFillTx/>
                <a:latin typeface="Arial" panose="020B0604020202020204" pitchFamily="34" charset="0"/>
                <a:ea typeface="+mn-ea"/>
                <a:cs typeface="Arial" panose="020B0604020202020204" pitchFamily="34" charset="0"/>
              </a:rPr>
              <a:t>TIMEFRAMES</a:t>
            </a:r>
            <a:endParaRPr kumimoji="0" lang="en-GB" sz="3200" b="0" i="0" u="sng" strike="noStrike" kern="1200" cap="none" spc="0" normalizeH="0" baseline="0" noProof="0">
              <a:ln>
                <a:noFill/>
              </a:ln>
              <a:solidFill>
                <a:srgbClr val="20188A"/>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LT = Long Term (YR, MO)</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YR = Year-Ahead</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WK = Week-Ahead (3D to 7D)</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2D = Two days-ahead</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DA = Day-Ahead</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ID = Intraday</a:t>
            </a:r>
          </a:p>
        </p:txBody>
      </p:sp>
      <p:sp>
        <p:nvSpPr>
          <p:cNvPr id="163" name="TextBox 162">
            <a:extLst>
              <a:ext uri="{FF2B5EF4-FFF2-40B4-BE49-F238E27FC236}">
                <a16:creationId xmlns:a16="http://schemas.microsoft.com/office/drawing/2014/main" id="{6BF748E1-A270-F254-1CF2-B6C2B323B07D}"/>
              </a:ext>
            </a:extLst>
          </p:cNvPr>
          <p:cNvSpPr txBox="1"/>
          <p:nvPr/>
        </p:nvSpPr>
        <p:spPr>
          <a:xfrm>
            <a:off x="10532533" y="1134154"/>
            <a:ext cx="1583265" cy="1938992"/>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1200" b="0" i="0" u="sng" strike="noStrike" kern="1200" cap="none" spc="0" normalizeH="0" baseline="0" noProof="0">
                <a:ln>
                  <a:noFill/>
                </a:ln>
                <a:solidFill>
                  <a:srgbClr val="20188A"/>
                </a:solidFill>
                <a:effectLst/>
                <a:uLnTx/>
                <a:uFillTx/>
                <a:latin typeface="Arial" panose="020B0604020202020204" pitchFamily="34" charset="0"/>
                <a:ea typeface="+mn-ea"/>
                <a:cs typeface="Arial" panose="020B0604020202020204" pitchFamily="34" charset="0"/>
              </a:rPr>
              <a:t>REGIONS</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BAL = Baltic</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COR = Core</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CE = Central Europe</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GRT = GRIT</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HAN = Hansa</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ITN = Italy North</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NOR = Nordic</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PAN = Pan-European /common delivery</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SEE = South East Europe</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A3A3F"/>
                </a:solidFill>
                <a:effectLst/>
                <a:uLnTx/>
                <a:uFillTx/>
                <a:latin typeface="Arial" panose="020B0604020202020204" pitchFamily="34" charset="0"/>
                <a:ea typeface="+mn-ea"/>
                <a:cs typeface="Arial" panose="020B0604020202020204" pitchFamily="34" charset="0"/>
              </a:rPr>
              <a:t>SWE = South West Europe</a:t>
            </a:r>
          </a:p>
        </p:txBody>
      </p:sp>
      <p:cxnSp>
        <p:nvCxnSpPr>
          <p:cNvPr id="81" name="Elbow Connector 165">
            <a:extLst>
              <a:ext uri="{FF2B5EF4-FFF2-40B4-BE49-F238E27FC236}">
                <a16:creationId xmlns:a16="http://schemas.microsoft.com/office/drawing/2014/main" id="{C31F0148-F756-EF19-928F-874C235DFFBB}"/>
              </a:ext>
            </a:extLst>
          </p:cNvPr>
          <p:cNvCxnSpPr>
            <a:cxnSpLocks/>
            <a:endCxn id="35" idx="1"/>
          </p:cNvCxnSpPr>
          <p:nvPr/>
        </p:nvCxnSpPr>
        <p:spPr>
          <a:xfrm rot="5400000" flipH="1" flipV="1">
            <a:off x="4083980" y="1764723"/>
            <a:ext cx="480118" cy="67140"/>
          </a:xfrm>
          <a:prstGeom prst="bentConnector2">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28B15EF3-010F-4FDD-6AFA-91FF5D265B60}"/>
              </a:ext>
            </a:extLst>
          </p:cNvPr>
          <p:cNvSpPr/>
          <p:nvPr/>
        </p:nvSpPr>
        <p:spPr>
          <a:xfrm>
            <a:off x="5041609" y="2038351"/>
            <a:ext cx="45345" cy="41971"/>
          </a:xfrm>
          <a:prstGeom prst="ellipse">
            <a:avLst/>
          </a:prstGeom>
          <a:solidFill>
            <a:schemeClr val="bg1"/>
          </a:solidFill>
          <a:ln w="31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3378386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q0I.oRjjW30_pgUEWB_FQ"/>
</p:tagLst>
</file>

<file path=ppt/theme/theme1.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10.xml><?xml version="1.0" encoding="utf-8"?>
<a:theme xmlns:a="http://schemas.openxmlformats.org/drawingml/2006/main" name="8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9B78231-BE7B-1A46-90BB-EF0882821398}" vid="{9E3D5E57-3828-B144-A39F-2BEE5BAE535E}"/>
    </a:ext>
  </a:extLst>
</a:theme>
</file>

<file path=ppt/theme/theme11.xml><?xml version="1.0" encoding="utf-8"?>
<a:theme xmlns:a="http://schemas.openxmlformats.org/drawingml/2006/main" name="5_ENTSO-E Content">
  <a:themeElements>
    <a:clrScheme name="Custom 3">
      <a:dk1>
        <a:srgbClr val="7F7F7F"/>
      </a:dk1>
      <a:lt1>
        <a:srgbClr val="FFFFFF"/>
      </a:lt1>
      <a:dk2>
        <a:srgbClr val="000000"/>
      </a:dk2>
      <a:lt2>
        <a:srgbClr val="E7E6E6"/>
      </a:lt2>
      <a:accent1>
        <a:srgbClr val="04276E"/>
      </a:accent1>
      <a:accent2>
        <a:srgbClr val="0FB29A"/>
      </a:accent2>
      <a:accent3>
        <a:srgbClr val="FF4D00"/>
      </a:accent3>
      <a:accent4>
        <a:srgbClr val="FDC400"/>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B3A98F9B-A3FE-FF41-91B7-9FC6C5C34F6E}"/>
    </a:ext>
  </a:extLst>
</a:theme>
</file>

<file path=ppt/theme/theme3.xml><?xml version="1.0" encoding="utf-8"?>
<a:theme xmlns:a="http://schemas.openxmlformats.org/drawingml/2006/main" name="7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4.xml><?xml version="1.0" encoding="utf-8"?>
<a:theme xmlns:a="http://schemas.openxmlformats.org/drawingml/2006/main" name="3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9B78231-BE7B-1A46-90BB-EF0882821398}" vid="{9E3D5E57-3828-B144-A39F-2BEE5BAE535E}"/>
    </a:ext>
  </a:extLst>
</a:theme>
</file>

<file path=ppt/theme/theme5.xml><?xml version="1.0" encoding="utf-8"?>
<a:theme xmlns:a="http://schemas.openxmlformats.org/drawingml/2006/main" name="Kantoorthema">
  <a:themeElements>
    <a:clrScheme name="DSO ENTITY">
      <a:dk1>
        <a:srgbClr val="2C3051"/>
      </a:dk1>
      <a:lt1>
        <a:srgbClr val="FFFFFF"/>
      </a:lt1>
      <a:dk2>
        <a:srgbClr val="D86533"/>
      </a:dk2>
      <a:lt2>
        <a:srgbClr val="C1E0F7"/>
      </a:lt2>
      <a:accent1>
        <a:srgbClr val="902C57"/>
      </a:accent1>
      <a:accent2>
        <a:srgbClr val="ED7D31"/>
      </a:accent2>
      <a:accent3>
        <a:srgbClr val="C1E0F7"/>
      </a:accent3>
      <a:accent4>
        <a:srgbClr val="E9EAE9"/>
      </a:accent4>
      <a:accent5>
        <a:srgbClr val="CFD1D2"/>
      </a:accent5>
      <a:accent6>
        <a:srgbClr val="000000"/>
      </a:accent6>
      <a:hlink>
        <a:srgbClr val="D86533"/>
      </a:hlink>
      <a:folHlink>
        <a:srgbClr val="902C5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PT template 2022_DSO Entity.pptx" id="{4B0688D3-1828-4F51-9FF7-EB8A2A604693}" vid="{12A210DA-5586-4C30-8B75-FE052EA9612F}"/>
    </a:ext>
  </a:extLst>
</a:theme>
</file>

<file path=ppt/theme/theme6.xml><?xml version="1.0" encoding="utf-8"?>
<a:theme xmlns:a="http://schemas.openxmlformats.org/drawingml/2006/main" name="1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399146C8-DCE8-F245-A93F-AF34774DA1F6}"/>
    </a:ext>
  </a:extLst>
</a:theme>
</file>

<file path=ppt/theme/theme7.xml><?xml version="1.0" encoding="utf-8"?>
<a:theme xmlns:a="http://schemas.openxmlformats.org/drawingml/2006/main" name="4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8.xml><?xml version="1.0" encoding="utf-8"?>
<a:theme xmlns:a="http://schemas.openxmlformats.org/drawingml/2006/main" name="11_ENTSO-E Content">
  <a:themeElements>
    <a:clrScheme name="Custom 3">
      <a:dk1>
        <a:srgbClr val="7F7F7F"/>
      </a:dk1>
      <a:lt1>
        <a:srgbClr val="FFFFFF"/>
      </a:lt1>
      <a:dk2>
        <a:srgbClr val="000000"/>
      </a:dk2>
      <a:lt2>
        <a:srgbClr val="E7E6E6"/>
      </a:lt2>
      <a:accent1>
        <a:srgbClr val="04276E"/>
      </a:accent1>
      <a:accent2>
        <a:srgbClr val="0FB29A"/>
      </a:accent2>
      <a:accent3>
        <a:srgbClr val="FF4D00"/>
      </a:accent3>
      <a:accent4>
        <a:srgbClr val="FDC400"/>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9.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ENTSO-E Meeting" ma:contentTypeID="0x010100C6222E8C7549E44ABFB53771BE29FC47010088D77CC345444D4D92757211067A4CDF" ma:contentTypeVersion="16" ma:contentTypeDescription="" ma:contentTypeScope="" ma:versionID="99a0925fdf4f7a2b9a95e40c48a98025">
  <xsd:schema xmlns:xsd="http://www.w3.org/2001/XMLSchema" xmlns:xs="http://www.w3.org/2001/XMLSchema" xmlns:p="http://schemas.microsoft.com/office/2006/metadata/properties" xmlns:ns2="468d517b-1bce-4eac-b032-1e8ed9aee539" xmlns:ns3="c4694fc3-6400-40b0-882e-c49c17811b1f" targetNamespace="http://schemas.microsoft.com/office/2006/metadata/properties" ma:root="true" ma:fieldsID="8c239d1ea09d110be3c0fb1b2c8e92fe" ns2:_="" ns3:_="">
    <xsd:import namespace="468d517b-1bce-4eac-b032-1e8ed9aee539"/>
    <xsd:import namespace="c4694fc3-6400-40b0-882e-c49c17811b1f"/>
    <xsd:element name="properties">
      <xsd:complexType>
        <xsd:sequence>
          <xsd:element name="documentManagement">
            <xsd:complexType>
              <xsd:all>
                <xsd:element ref="ns2:Open_x0020_to_x0020_ACER" minOccurs="0"/>
                <xsd:element ref="ns2:Open_x0020_to_x0020_EC" minOccurs="0"/>
                <xsd:element ref="ns3:Document_x0020_Type" minOccurs="0"/>
                <xsd:element ref="ns3:Work_x0020_Area" minOccurs="0"/>
                <xsd:element ref="ns3:Business_x0020_Record" minOccurs="0"/>
                <xsd:element ref="ns3:Meeting" minOccurs="0"/>
                <xsd:element ref="ns3:Approval_x0020_Level" minOccurs="0"/>
                <xsd:element ref="ns2:o9b5552cd29f405b8612d2920cb859c4" minOccurs="0"/>
                <xsd:element ref="ns2:TaxKeywordTaxHTField" minOccurs="0"/>
                <xsd:element ref="ns2:TaxCatchAll" minOccurs="0"/>
                <xsd:element ref="ns2:a11881793d4943049370f281afa2b378" minOccurs="0"/>
                <xsd:element ref="ns2:i85e4520245b48aa896a2e6f400e83f6" minOccurs="0"/>
                <xsd:element ref="ns2:TaxCatchAllLabel"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8d517b-1bce-4eac-b032-1e8ed9aee539" elementFormDefault="qualified">
    <xsd:import namespace="http://schemas.microsoft.com/office/2006/documentManagement/types"/>
    <xsd:import namespace="http://schemas.microsoft.com/office/infopath/2007/PartnerControls"/>
    <xsd:element name="Open_x0020_to_x0020_ACER" ma:index="5" nillable="true" ma:displayName="Open to ACER" ma:default="0" ma:description="This field should indicate if, from a business point of view, there is acceptance to share the data or document with ACER. In case the data or document is not open to ACER and there is a request from ACER, the legal basis for this request needs to be assessed by ENTSO-E Legal Section." ma:internalName="Open_x0020_to_x0020_ACER">
      <xsd:simpleType>
        <xsd:restriction base="dms:Boolean"/>
      </xsd:simpleType>
    </xsd:element>
    <xsd:element name="Open_x0020_to_x0020_EC" ma:index="6" nillable="true" ma:displayName="Open to EC" ma:default="0" ma:description="This field should indicate if, from a business point of view, there is acceptance to share the data or document with the EC. In case the data or document is not open to the EC and there is a request from the EC, the legal basis for this request needs to be assessed by ENTSO-E Legal Section." ma:internalName="Open_x0020_to_x0020_EC">
      <xsd:simpleType>
        <xsd:restriction base="dms:Boolean"/>
      </xsd:simpleType>
    </xsd:element>
    <xsd:element name="o9b5552cd29f405b8612d2920cb859c4" ma:index="13" nillable="true" ma:taxonomy="true" ma:internalName="o9b5552cd29f405b8612d2920cb859c4" ma:taxonomyFieldName="Data_x0020_Classification" ma:displayName="Data Classification" ma:readOnly="false" ma:default="" ma:fieldId="{89b5552c-d29f-405b-8612-d2920cb859c4}" ma:sspId="4cd3b652-8a69-4fed-aca4-c18feaf75a6a" ma:termSetId="f267277d-b1ca-40dc-b3b7-9fcb29df41c9" ma:anchorId="00000000-0000-0000-0000-000000000000" ma:open="false" ma:isKeyword="false">
      <xsd:complexType>
        <xsd:sequence>
          <xsd:element ref="pc:Terms" minOccurs="0" maxOccurs="1"/>
        </xsd:sequence>
      </xsd:complexType>
    </xsd:element>
    <xsd:element name="TaxKeywordTaxHTField" ma:index="14" nillable="true" ma:taxonomy="true" ma:internalName="TaxKeywordTaxHTField" ma:taxonomyFieldName="TaxKeyword" ma:displayName="Document Tags" ma:fieldId="{23f27201-bee3-471e-b2e7-b64fd8b7ca38}" ma:taxonomyMulti="true" ma:sspId="fcdef86c-4677-4709-934c-6d62ad25b5e0" ma:termSetId="00000000-0000-0000-0000-000000000000" ma:anchorId="00000000-0000-0000-0000-000000000000" ma:open="true" ma:isKeyword="true">
      <xsd:complexType>
        <xsd:sequence>
          <xsd:element ref="pc:Terms" minOccurs="0" maxOccurs="1"/>
        </xsd:sequence>
      </xsd:complexType>
    </xsd:element>
    <xsd:element name="TaxCatchAll" ma:index="15" nillable="true" ma:displayName="Taxonomy Catch All Column" ma:description="" ma:hidden="true" ma:list="{9048899c-89d3-4577-b41b-3e1c16bcc50d}" ma:internalName="TaxCatchAll" ma:showField="CatchAllData" ma:web="468d517b-1bce-4eac-b032-1e8ed9aee539">
      <xsd:complexType>
        <xsd:complexContent>
          <xsd:extension base="dms:MultiChoiceLookup">
            <xsd:sequence>
              <xsd:element name="Value" type="dms:Lookup" maxOccurs="unbounded" minOccurs="0" nillable="true"/>
            </xsd:sequence>
          </xsd:extension>
        </xsd:complexContent>
      </xsd:complexType>
    </xsd:element>
    <xsd:element name="a11881793d4943049370f281afa2b378" ma:index="21" nillable="true" ma:taxonomy="true" ma:internalName="a11881793d4943049370f281afa2b378" ma:taxonomyFieldName="Data_x0020_Origin" ma:displayName="Data Origin" ma:readOnly="false" ma:default="" ma:fieldId="{a1188179-3d49-4304-9370-f281afa2b378}" ma:sspId="4cd3b652-8a69-4fed-aca4-c18feaf75a6a" ma:termSetId="f4629155-a70f-42bb-b675-7f569b493951" ma:anchorId="00000000-0000-0000-0000-000000000000" ma:open="false" ma:isKeyword="false">
      <xsd:complexType>
        <xsd:sequence>
          <xsd:element ref="pc:Terms" minOccurs="0" maxOccurs="1"/>
        </xsd:sequence>
      </xsd:complexType>
    </xsd:element>
    <xsd:element name="i85e4520245b48aa896a2e6f400e83f6" ma:index="23" nillable="true" ma:taxonomy="true" ma:internalName="i85e4520245b48aa896a2e6f400e83f6" ma:taxonomyFieldName="Level_x0020_of_x0020_Disclosure" ma:displayName="Level of Disclosure" ma:default="" ma:fieldId="{285e4520-245b-48aa-896a-2e6f400e83f6}" ma:sspId="4cd3b652-8a69-4fed-aca4-c18feaf75a6a" ma:termSetId="5dc650b0-e16f-4420-8810-a3b73a7e4abc" ma:anchorId="00000000-0000-0000-0000-000000000000" ma:open="false" ma:isKeyword="false">
      <xsd:complexType>
        <xsd:sequence>
          <xsd:element ref="pc:Terms" minOccurs="0" maxOccurs="1"/>
        </xsd:sequence>
      </xsd:complexType>
    </xsd:element>
    <xsd:element name="TaxCatchAllLabel" ma:index="24" nillable="true" ma:displayName="Taxonomy Catch All Column1" ma:description="" ma:hidden="true" ma:list="{9048899c-89d3-4577-b41b-3e1c16bcc50d}" ma:internalName="TaxCatchAllLabel" ma:readOnly="true" ma:showField="CatchAllDataLabel" ma:web="468d517b-1bce-4eac-b032-1e8ed9aee539">
      <xsd:complexType>
        <xsd:complexContent>
          <xsd:extension base="dms:MultiChoiceLookup">
            <xsd:sequence>
              <xsd:element name="Value" type="dms:Lookup" maxOccurs="unbounded" minOccurs="0" nillable="true"/>
            </xsd:sequence>
          </xsd:extension>
        </xsd:complexContent>
      </xsd:complexType>
    </xsd:element>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4694fc3-6400-40b0-882e-c49c17811b1f" elementFormDefault="qualified">
    <xsd:import namespace="http://schemas.microsoft.com/office/2006/documentManagement/types"/>
    <xsd:import namespace="http://schemas.microsoft.com/office/infopath/2007/PartnerControls"/>
    <xsd:element name="Document_x0020_Type" ma:index="7" nillable="true" ma:displayName="Document Type" ma:indexed="true" ma:list="{5da3ea55-dd34-4ecc-ae33-4f843abe06cd}" ma:internalName="Document_x0020_Type" ma:readOnly="false" ma:showField="Title" ma:web="468d517b-1bce-4eac-b032-1e8ed9aee539">
      <xsd:simpleType>
        <xsd:restriction base="dms:Lookup"/>
      </xsd:simpleType>
    </xsd:element>
    <xsd:element name="Work_x0020_Area" ma:index="9" nillable="true" ma:displayName="Work Area" ma:indexed="true" ma:list="{b3044a2e-1f78-4242-b383-6b52b2a6b16d}" ma:internalName="Work_x0020_Area" ma:readOnly="false" ma:showField="Title" ma:web="468d517b-1bce-4eac-b032-1e8ed9aee539">
      <xsd:simpleType>
        <xsd:restriction base="dms:Lookup"/>
      </xsd:simpleType>
    </xsd:element>
    <xsd:element name="Business_x0020_Record" ma:index="10" nillable="true" ma:displayName="Business Record" ma:indexed="true" ma:list="{1da6bc77-eb8b-4374-95da-a53ff3102d35}" ma:internalName="Business_x0020_Record" ma:readOnly="false" ma:showField="Title" ma:web="468d517b-1bce-4eac-b032-1e8ed9aee539">
      <xsd:simpleType>
        <xsd:restriction base="dms:Lookup"/>
      </xsd:simpleType>
    </xsd:element>
    <xsd:element name="Meeting" ma:index="11" nillable="true" ma:displayName="Meeting" ma:internalName="Meeting">
      <xsd:simpleType>
        <xsd:restriction base="dms:Text">
          <xsd:maxLength value="255"/>
        </xsd:restriction>
      </xsd:simpleType>
    </xsd:element>
    <xsd:element name="Approval_x0020_Level" ma:index="12" nillable="true" ma:displayName="Approval Level" ma:indexed="true" ma:list="{ff966062-7577-44b3-a4cd-adfa46957c67}" ma:internalName="Approval_x0020_Level" ma:showField="Title" ma:web="468d517b-1bce-4eac-b032-1e8ed9aee539">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i85e4520245b48aa896a2e6f400e83f6 xmlns="468d517b-1bce-4eac-b032-1e8ed9aee539">
      <Terms xmlns="http://schemas.microsoft.com/office/infopath/2007/PartnerControls">
        <TermInfo xmlns="http://schemas.microsoft.com/office/infopath/2007/PartnerControls">
          <TermName xmlns="http://schemas.microsoft.com/office/infopath/2007/PartnerControls">Category 1</TermName>
          <TermId xmlns="http://schemas.microsoft.com/office/infopath/2007/PartnerControls">fab12757-0d75-4e85-891e-c2a2aab152fe</TermId>
        </TermInfo>
      </Terms>
    </i85e4520245b48aa896a2e6f400e83f6>
    <a11881793d4943049370f281afa2b378 xmlns="468d517b-1bce-4eac-b032-1e8ed9aee539">
      <Terms xmlns="http://schemas.microsoft.com/office/infopath/2007/PartnerControls">
        <TermInfo xmlns="http://schemas.microsoft.com/office/infopath/2007/PartnerControls">
          <TermName xmlns="http://schemas.microsoft.com/office/infopath/2007/PartnerControls">Entso-E</TermName>
          <TermId xmlns="http://schemas.microsoft.com/office/infopath/2007/PartnerControls">8b8da1a5-4bab-488a-80fd-9db3fbf777b9</TermId>
        </TermInfo>
      </Terms>
    </a11881793d4943049370f281afa2b378>
    <Business_x0020_Record xmlns="c4694fc3-6400-40b0-882e-c49c17811b1f" xsi:nil="true"/>
    <TaxKeywordTaxHTField xmlns="468d517b-1bce-4eac-b032-1e8ed9aee539">
      <Terms xmlns="http://schemas.microsoft.com/office/infopath/2007/PartnerControls"/>
    </TaxKeywordTaxHTField>
    <Open_x0020_to_x0020_EC xmlns="468d517b-1bce-4eac-b032-1e8ed9aee539">false</Open_x0020_to_x0020_EC>
    <o9b5552cd29f405b8612d2920cb859c4 xmlns="468d517b-1bce-4eac-b032-1e8ed9aee539">
      <Terms xmlns="http://schemas.microsoft.com/office/infopath/2007/PartnerControls">
        <TermInfo xmlns="http://schemas.microsoft.com/office/infopath/2007/PartnerControls">
          <TermName xmlns="http://schemas.microsoft.com/office/infopath/2007/PartnerControls">Open within ENTSO-E only</TermName>
          <TermId xmlns="http://schemas.microsoft.com/office/infopath/2007/PartnerControls">9abc0ec8-f4dc-4890-bc00-2ed7d301575a</TermId>
        </TermInfo>
      </Terms>
    </o9b5552cd29f405b8612d2920cb859c4>
    <Meeting xmlns="c4694fc3-6400-40b0-882e-c49c17811b1f">240626</Meeting>
    <Approval_x0020_Level xmlns="c4694fc3-6400-40b0-882e-c49c17811b1f" xsi:nil="true"/>
    <Work_x0020_Area xmlns="c4694fc3-6400-40b0-882e-c49c17811b1f">105</Work_x0020_Area>
    <Document_x0020_Type xmlns="c4694fc3-6400-40b0-882e-c49c17811b1f">125</Document_x0020_Type>
    <TaxCatchAll xmlns="468d517b-1bce-4eac-b032-1e8ed9aee539">
      <Value>4022</Value>
      <Value>4021</Value>
      <Value>4019</Value>
    </TaxCatchAll>
    <Open_x0020_to_x0020_ACER xmlns="468d517b-1bce-4eac-b032-1e8ed9aee539">false</Open_x0020_to_x0020_ACER>
  </documentManagement>
</p:properties>
</file>

<file path=customXml/itemProps1.xml><?xml version="1.0" encoding="utf-8"?>
<ds:datastoreItem xmlns:ds="http://schemas.openxmlformats.org/officeDocument/2006/customXml" ds:itemID="{6C9AF336-7A0B-4291-A9B6-24020BC61B12}">
  <ds:schemaRefs>
    <ds:schemaRef ds:uri="http://schemas.microsoft.com/sharepoint/v3/contenttype/forms"/>
  </ds:schemaRefs>
</ds:datastoreItem>
</file>

<file path=customXml/itemProps2.xml><?xml version="1.0" encoding="utf-8"?>
<ds:datastoreItem xmlns:ds="http://schemas.openxmlformats.org/officeDocument/2006/customXml" ds:itemID="{1AD437EC-F694-4B55-9CF7-40ECF4A9A982}">
  <ds:schemaRefs>
    <ds:schemaRef ds:uri="468d517b-1bce-4eac-b032-1e8ed9aee539"/>
    <ds:schemaRef ds:uri="c4694fc3-6400-40b0-882e-c49c17811b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9787E21-4174-4349-A2CE-A2095337F93B}">
  <ds:schemaRefs>
    <ds:schemaRef ds:uri="468d517b-1bce-4eac-b032-1e8ed9aee539"/>
    <ds:schemaRef ds:uri="c4694fc3-6400-40b0-882e-c49c17811b1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22c8c8a3-66f2-43ac-a16c-90612a5f5b89}" enabled="1" method="Privileged" siteId="{eccd734e-7022-4709-aba5-a5dd77929e27}" contentBits="0" removed="0"/>
</clbl:labelList>
</file>

<file path=docProps/app.xml><?xml version="1.0" encoding="utf-8"?>
<Properties xmlns="http://schemas.openxmlformats.org/officeDocument/2006/extended-properties" xmlns:vt="http://schemas.openxmlformats.org/officeDocument/2006/docPropsVTypes">
  <TotalTime>0</TotalTime>
  <Words>2674</Words>
  <Application>Microsoft Office PowerPoint</Application>
  <PresentationFormat>Widescreen</PresentationFormat>
  <Paragraphs>395</Paragraphs>
  <Slides>37</Slides>
  <Notes>3</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2</vt:i4>
      </vt:variant>
      <vt:variant>
        <vt:lpstr>Slide Titles</vt:lpstr>
      </vt:variant>
      <vt:variant>
        <vt:i4>37</vt:i4>
      </vt:variant>
    </vt:vector>
  </HeadingPairs>
  <TitlesOfParts>
    <vt:vector size="68" baseType="lpstr">
      <vt:lpstr>Aptos</vt:lpstr>
      <vt:lpstr>Arial</vt:lpstr>
      <vt:lpstr>Arial Narrow</vt:lpstr>
      <vt:lpstr>Arial,Sans-Serif</vt:lpstr>
      <vt:lpstr>Avenir</vt:lpstr>
      <vt:lpstr>Avenir Black</vt:lpstr>
      <vt:lpstr>Avenir Book</vt:lpstr>
      <vt:lpstr>Avenir LT Std 55 Roman</vt:lpstr>
      <vt:lpstr>Avenir Medium</vt:lpstr>
      <vt:lpstr>Avenir Next LT Pro Demi</vt:lpstr>
      <vt:lpstr>Calibri</vt:lpstr>
      <vt:lpstr>Century Gothic</vt:lpstr>
      <vt:lpstr>Courier New</vt:lpstr>
      <vt:lpstr>Segoe UI</vt:lpstr>
      <vt:lpstr>Trebuchet MS</vt:lpstr>
      <vt:lpstr>Wingdings</vt:lpstr>
      <vt:lpstr>Wingdings,Sans-Serif</vt:lpstr>
      <vt:lpstr>WordVisiCarriageReturn_MSFontService</vt:lpstr>
      <vt:lpstr>2_ENTSO-E Content</vt:lpstr>
      <vt:lpstr>2_ENTSO-E Cover</vt:lpstr>
      <vt:lpstr>7_ENTSO-E Content</vt:lpstr>
      <vt:lpstr>3_ENTSO-E Content</vt:lpstr>
      <vt:lpstr>Kantoorthema</vt:lpstr>
      <vt:lpstr>1_ENTSO-E Cover</vt:lpstr>
      <vt:lpstr>4_ENTSO-E Content</vt:lpstr>
      <vt:lpstr>11_ENTSO-E Content</vt:lpstr>
      <vt:lpstr>2_ENTSO-E Content</vt:lpstr>
      <vt:lpstr>8_ENTSO-E Content</vt:lpstr>
      <vt:lpstr>5_ENTSO-E Content</vt:lpstr>
      <vt:lpstr>think-cell Folie</vt:lpstr>
      <vt:lpstr>Diapositive think-cell</vt:lpstr>
      <vt:lpstr>System Operation European Stakeholder Committee</vt:lpstr>
      <vt:lpstr>Agenda</vt:lpstr>
      <vt:lpstr>1. Review of actions</vt:lpstr>
      <vt:lpstr>TOP. 1 - Review of actions SO ESC</vt:lpstr>
      <vt:lpstr>2. Updates on the implementation actions at pan-EU level</vt:lpstr>
      <vt:lpstr>Pan-European or regional deliverables 2024: SOGL/NCER</vt:lpstr>
      <vt:lpstr>3. Report on CGM implementation </vt:lpstr>
      <vt:lpstr>CGM action plan progress</vt:lpstr>
      <vt:lpstr>Capacity Calculation Regions – Roadmap for go-live of CGMES based tasks</vt:lpstr>
      <vt:lpstr>4. Frequency related topics </vt:lpstr>
      <vt:lpstr>PowerPoint Presentation</vt:lpstr>
      <vt:lpstr>5. Update from the DSO Entity </vt:lpstr>
      <vt:lpstr>ESC SO 3th March 2026  EU DSO Entity  Florentien Benedict     </vt:lpstr>
      <vt:lpstr>Agenda Topics </vt:lpstr>
      <vt:lpstr>1. Views and Recommendations on the 2026 ICS Methodology (1/3)</vt:lpstr>
      <vt:lpstr>1. Views and Recommendations on the 2026 ICS Methodology (2/3)</vt:lpstr>
      <vt:lpstr>1. Views and Recommendations on the 2026 ICS Methodology (3/3)</vt:lpstr>
      <vt:lpstr>2. Updates on DSO Entity works on Iberian black out (1/3) </vt:lpstr>
      <vt:lpstr>2. Updates on DSO Entity works on Iberian black out (2/3) </vt:lpstr>
      <vt:lpstr>2. Updates on DSO Entity works on Iberian black out (3/3) </vt:lpstr>
      <vt:lpstr>3. Recommendations for SOGL (1/1) </vt:lpstr>
      <vt:lpstr>3. Recommendations for E&amp;R (1/1) </vt:lpstr>
      <vt:lpstr>Thank you for your attention Questions? Please contact us!</vt:lpstr>
      <vt:lpstr>6. ENTSO-E's preparatory work for SO GL2.0</vt:lpstr>
      <vt:lpstr>Introduction</vt:lpstr>
      <vt:lpstr>ENTSO-E Key Areas for SOGL revision</vt:lpstr>
      <vt:lpstr>ENTSO-E Preparatory work – Overarching timeline</vt:lpstr>
      <vt:lpstr>7. ICS Methodology</vt:lpstr>
      <vt:lpstr>Incident Classification Scale</vt:lpstr>
      <vt:lpstr>8. Update on DfDs </vt:lpstr>
      <vt:lpstr>ESC: Deterministic Frequency Deviations (DFDs) in CE</vt:lpstr>
      <vt:lpstr>9. AOB </vt:lpstr>
      <vt:lpstr>10. Czech Republic Incident Investigation </vt:lpstr>
      <vt:lpstr>4 July 2025 incident in Czech Republic</vt:lpstr>
      <vt:lpstr>Evolution of system conditions during the event</vt:lpstr>
      <vt:lpstr>Restoration process</vt:lpstr>
      <vt:lpstr>Next steps of the Expert pane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em Operation European Stakeholder Committee</dc:title>
  <dc:creator>lazaros exizidis</dc:creator>
  <cp:keywords/>
  <cp:lastModifiedBy>Gamze Dogan</cp:lastModifiedBy>
  <cp:revision>4</cp:revision>
  <dcterms:created xsi:type="dcterms:W3CDTF">2020-03-12T14:54:32Z</dcterms:created>
  <dcterms:modified xsi:type="dcterms:W3CDTF">2026-02-24T15:2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222E8C7549E44ABFB53771BE29FC47010088D77CC345444D4D92757211067A4CDF</vt:lpwstr>
  </property>
  <property fmtid="{D5CDD505-2E9C-101B-9397-08002B2CF9AE}" pid="3" name="TaxKeyword">
    <vt:lpwstr/>
  </property>
  <property fmtid="{D5CDD505-2E9C-101B-9397-08002B2CF9AE}" pid="4" name="Level of Disclosure">
    <vt:lpwstr>4022;#Category 1|fab12757-0d75-4e85-891e-c2a2aab152fe</vt:lpwstr>
  </property>
  <property fmtid="{D5CDD505-2E9C-101B-9397-08002B2CF9AE}" pid="5" name="Data Classification">
    <vt:lpwstr>4019;#Open within ENTSO-E only|9abc0ec8-f4dc-4890-bc00-2ed7d301575a</vt:lpwstr>
  </property>
  <property fmtid="{D5CDD505-2E9C-101B-9397-08002B2CF9AE}" pid="6" name="Data Origin">
    <vt:lpwstr>4021;#Entso-E|8b8da1a5-4bab-488a-80fd-9db3fbf777b9</vt:lpwstr>
  </property>
  <property fmtid="{D5CDD505-2E9C-101B-9397-08002B2CF9AE}" pid="7" name="ClassificationContentMarkingFooterLocations">
    <vt:lpwstr>ENTSO-E Cover:6\2_ENTSO-E Content:3\3_ENTSO-E Content:3\2_ENTSO-E Cover:6\2_ENTSO-E Content:3\4_ENTSO-E Content:3\5_ENTSO-E Content:4\6_ENTSO-E Content:3\PSE szablon prezentacji:5\7_ENTSO-E Content:4\8_ENTSO-E Content:4\10_ENTSO-E Content:3\11_ENTSO-E Con</vt:lpwstr>
  </property>
  <property fmtid="{D5CDD505-2E9C-101B-9397-08002B2CF9AE}" pid="8" name="ClassificationContentMarkingFooterText">
    <vt:lpwstr>ISC - Uso INTERNO / INTERNAL Use</vt:lpwstr>
  </property>
  <property fmtid="{D5CDD505-2E9C-101B-9397-08002B2CF9AE}" pid="9" name="MSIP_Label_26326a25-05b5-4156-bd4d-89acce8cd3b1_Enabled">
    <vt:lpwstr>True</vt:lpwstr>
  </property>
  <property fmtid="{D5CDD505-2E9C-101B-9397-08002B2CF9AE}" pid="10" name="MSIP_Label_26326a25-05b5-4156-bd4d-89acce8cd3b1_SiteId">
    <vt:lpwstr>7ffbeccf-0c1b-496c-8978-89209c2d375d</vt:lpwstr>
  </property>
  <property fmtid="{D5CDD505-2E9C-101B-9397-08002B2CF9AE}" pid="11" name="MSIP_Label_26326a25-05b5-4156-bd4d-89acce8cd3b1_SetDate">
    <vt:lpwstr>2026-02-03T11:05:03Z</vt:lpwstr>
  </property>
  <property fmtid="{D5CDD505-2E9C-101B-9397-08002B2CF9AE}" pid="12" name="MSIP_Label_26326a25-05b5-4156-bd4d-89acce8cd3b1_Name">
    <vt:lpwstr>Open within ENTSO-E</vt:lpwstr>
  </property>
  <property fmtid="{D5CDD505-2E9C-101B-9397-08002B2CF9AE}" pid="13" name="MSIP_Label_26326a25-05b5-4156-bd4d-89acce8cd3b1_ActionId">
    <vt:lpwstr>f8a8046b-c0c9-4889-b53a-23963916e618</vt:lpwstr>
  </property>
  <property fmtid="{D5CDD505-2E9C-101B-9397-08002B2CF9AE}" pid="14" name="MSIP_Label_26326a25-05b5-4156-bd4d-89acce8cd3b1_Removed">
    <vt:lpwstr>False</vt:lpwstr>
  </property>
  <property fmtid="{D5CDD505-2E9C-101B-9397-08002B2CF9AE}" pid="15" name="MSIP_Label_26326a25-05b5-4156-bd4d-89acce8cd3b1_Extended_MSFT_Method">
    <vt:lpwstr>Standard</vt:lpwstr>
  </property>
  <property fmtid="{D5CDD505-2E9C-101B-9397-08002B2CF9AE}" pid="16" name="Sensitivity">
    <vt:lpwstr>Open within ENTSO-E</vt:lpwstr>
  </property>
</Properties>
</file>